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notesSlides/notesSlide7.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9.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tags/tag80.xml" ContentType="application/vnd.openxmlformats-officedocument.presentationml.tags+xml"/>
  <Override PartName="/ppt/notesSlides/notesSlide10.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11.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12.xml" ContentType="application/vnd.openxmlformats-officedocument.presentationml.notesSlid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charts/chart8.xml" ContentType="application/vnd.openxmlformats-officedocument.drawingml.chart+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13.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charts/chart10.xml" ContentType="application/vnd.openxmlformats-officedocument.drawingml.chart+xml"/>
  <Override PartName="/ppt/tags/tag146.xml" ContentType="application/vnd.openxmlformats-officedocument.presentationml.tags+xml"/>
  <Override PartName="/ppt/notesSlides/notesSlide14.xml" ContentType="application/vnd.openxmlformats-officedocument.presentationml.notesSlide+xml"/>
  <Override PartName="/ppt/tags/tag147.xml" ContentType="application/vnd.openxmlformats-officedocument.presentationml.tags+xml"/>
  <Override PartName="/ppt/notesSlides/notesSlide15.xml" ContentType="application/vnd.openxmlformats-officedocument.presentationml.notesSlide+xml"/>
  <Override PartName="/ppt/tags/tag148.xml" ContentType="application/vnd.openxmlformats-officedocument.presentationml.tags+xml"/>
  <Override PartName="/ppt/notesSlides/notesSlide16.xml" ContentType="application/vnd.openxmlformats-officedocument.presentationml.notesSlide+xml"/>
  <Override PartName="/ppt/tags/tag149.xml" ContentType="application/vnd.openxmlformats-officedocument.presentationml.tags+xml"/>
  <Override PartName="/ppt/notesSlides/notesSlide17.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18.xml" ContentType="application/vnd.openxmlformats-officedocument.presentationml.notesSlide+xml"/>
  <Override PartName="/ppt/charts/chart11.xml" ContentType="application/vnd.openxmlformats-officedocument.drawingml.chart+xml"/>
  <Override PartName="/ppt/charts/style6.xml" ContentType="application/vnd.ms-office.chartstyle+xml"/>
  <Override PartName="/ppt/charts/colors6.xml" ContentType="application/vnd.ms-office.chartcolorstyle+xml"/>
  <Override PartName="/ppt/charts/chart12.xml" ContentType="application/vnd.openxmlformats-officedocument.drawingml.chart+xml"/>
  <Override PartName="/ppt/tags/tag167.xml" ContentType="application/vnd.openxmlformats-officedocument.presentationml.tags+xml"/>
  <Override PartName="/ppt/notesSlides/notesSlide19.xml" ContentType="application/vnd.openxmlformats-officedocument.presentationml.notesSlide+xml"/>
  <Override PartName="/ppt/tags/tag168.xml" ContentType="application/vnd.openxmlformats-officedocument.presentationml.tags+xml"/>
  <Override PartName="/ppt/notesSlides/notesSlide20.xml" ContentType="application/vnd.openxmlformats-officedocument.presentationml.notesSlide+xml"/>
  <Override PartName="/ppt/tags/tag169.xml" ContentType="application/vnd.openxmlformats-officedocument.presentationml.tags+xml"/>
  <Override PartName="/ppt/notesSlides/notesSlide21.xml" ContentType="application/vnd.openxmlformats-officedocument.presentationml.notesSlide+xml"/>
  <Override PartName="/ppt/tags/tag170.xml" ContentType="application/vnd.openxmlformats-officedocument.presentationml.tags+xml"/>
  <Override PartName="/ppt/notesSlides/notesSlide22.xml" ContentType="application/vnd.openxmlformats-officedocument.presentationml.notesSlide+xml"/>
  <Override PartName="/ppt/tags/tag171.xml" ContentType="application/vnd.openxmlformats-officedocument.presentationml.tags+xml"/>
  <Override PartName="/ppt/notesSlides/notesSlide23.xml" ContentType="application/vnd.openxmlformats-officedocument.presentationml.notesSlide+xml"/>
  <Override PartName="/ppt/tags/tag172.xml" ContentType="application/vnd.openxmlformats-officedocument.presentationml.tags+xml"/>
  <Override PartName="/ppt/notesSlides/notesSlide24.xml" ContentType="application/vnd.openxmlformats-officedocument.presentationml.notesSlide+xml"/>
  <Override PartName="/ppt/tags/tag173.xml" ContentType="application/vnd.openxmlformats-officedocument.presentationml.tags+xml"/>
  <Override PartName="/ppt/notesSlides/notesSlide25.xml" ContentType="application/vnd.openxmlformats-officedocument.presentationml.notesSlide+xml"/>
  <Override PartName="/ppt/tags/tag174.xml" ContentType="application/vnd.openxmlformats-officedocument.presentationml.tags+xml"/>
  <Override PartName="/ppt/notesSlides/notesSlide26.xml" ContentType="application/vnd.openxmlformats-officedocument.presentationml.notesSlide+xml"/>
  <Override PartName="/ppt/tags/tag175.xml" ContentType="application/vnd.openxmlformats-officedocument.presentationml.tags+xml"/>
  <Override PartName="/ppt/notesSlides/notesSlide27.xml" ContentType="application/vnd.openxmlformats-officedocument.presentationml.notesSlide+xml"/>
  <Override PartName="/ppt/tags/tag176.xml" ContentType="application/vnd.openxmlformats-officedocument.presentationml.tags+xml"/>
  <Override PartName="/ppt/notesSlides/notesSlide28.xml" ContentType="application/vnd.openxmlformats-officedocument.presentationml.notesSlide+xml"/>
  <Override PartName="/ppt/tags/tag177.xml" ContentType="application/vnd.openxmlformats-officedocument.presentationml.tags+xml"/>
  <Override PartName="/ppt/notesSlides/notesSlide29.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notesSlides/notesSlide3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5"/>
  </p:notesMasterIdLst>
  <p:sldIdLst>
    <p:sldId id="261" r:id="rId5"/>
    <p:sldId id="260" r:id="rId6"/>
    <p:sldId id="341" r:id="rId7"/>
    <p:sldId id="342" r:id="rId8"/>
    <p:sldId id="349" r:id="rId9"/>
    <p:sldId id="350" r:id="rId10"/>
    <p:sldId id="345" r:id="rId11"/>
    <p:sldId id="378" r:id="rId12"/>
    <p:sldId id="379" r:id="rId13"/>
    <p:sldId id="352" r:id="rId14"/>
    <p:sldId id="376" r:id="rId15"/>
    <p:sldId id="377" r:id="rId16"/>
    <p:sldId id="380" r:id="rId17"/>
    <p:sldId id="375" r:id="rId18"/>
    <p:sldId id="372" r:id="rId19"/>
    <p:sldId id="382" r:id="rId20"/>
    <p:sldId id="373" r:id="rId21"/>
    <p:sldId id="381" r:id="rId22"/>
    <p:sldId id="383" r:id="rId23"/>
    <p:sldId id="384" r:id="rId24"/>
    <p:sldId id="357" r:id="rId25"/>
    <p:sldId id="385" r:id="rId26"/>
    <p:sldId id="386" r:id="rId27"/>
    <p:sldId id="387" r:id="rId28"/>
    <p:sldId id="348" r:id="rId29"/>
    <p:sldId id="361" r:id="rId30"/>
    <p:sldId id="362" r:id="rId31"/>
    <p:sldId id="363" r:id="rId32"/>
    <p:sldId id="374" r:id="rId33"/>
    <p:sldId id="257" r:id="rId34"/>
  </p:sldIdLst>
  <p:sldSz cx="12192000" cy="6858000"/>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C8F"/>
    <a:srgbClr val="5A3E1C"/>
    <a:srgbClr val="F1F1F1"/>
    <a:srgbClr val="F2F2F2"/>
    <a:srgbClr val="F98700"/>
    <a:srgbClr val="7F7F7F"/>
    <a:srgbClr val="E8E5E2"/>
    <a:srgbClr val="464646"/>
    <a:srgbClr val="0057A4"/>
    <a:srgbClr val="86CC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C76EA98-9B1A-4F2F-9A6E-876FE3C87E8A}" v="35241" dt="2025-06-27T11:06:36.7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 Jordan" userId="30755697-3be4-4efa-ad5c-ca2e4102b45a" providerId="ADAL" clId="{4864474C-12F9-4B8D-8347-AD25EEBB02C8}"/>
    <pc:docChg chg="undo custSel addSld delSld modSld sldOrd modMainMaster modNotesMaster">
      <pc:chgData name="Alex Jordan" userId="30755697-3be4-4efa-ad5c-ca2e4102b45a" providerId="ADAL" clId="{4864474C-12F9-4B8D-8347-AD25EEBB02C8}" dt="2025-06-18T16:15:12.799" v="18005"/>
      <pc:docMkLst>
        <pc:docMk/>
      </pc:docMkLst>
      <pc:sldChg chg="modNotes">
        <pc:chgData name="Alex Jordan" userId="30755697-3be4-4efa-ad5c-ca2e4102b45a" providerId="ADAL" clId="{4864474C-12F9-4B8D-8347-AD25EEBB02C8}" dt="2025-06-18T10:23:20.663" v="7211" actId="947"/>
        <pc:sldMkLst>
          <pc:docMk/>
          <pc:sldMk cId="2104718785" sldId="257"/>
        </pc:sldMkLst>
      </pc:sldChg>
      <pc:sldChg chg="modSp mod modNotes">
        <pc:chgData name="Alex Jordan" userId="30755697-3be4-4efa-ad5c-ca2e4102b45a" providerId="ADAL" clId="{4864474C-12F9-4B8D-8347-AD25EEBB02C8}" dt="2025-06-18T10:23:21.760" v="7821"/>
        <pc:sldMkLst>
          <pc:docMk/>
          <pc:sldMk cId="1748772267" sldId="260"/>
        </pc:sldMkLst>
        <pc:spChg chg="mod">
          <ac:chgData name="Alex Jordan" userId="30755697-3be4-4efa-ad5c-ca2e4102b45a" providerId="ADAL" clId="{4864474C-12F9-4B8D-8347-AD25EEBB02C8}" dt="2025-06-18T10:23:20.674" v="7212" actId="790"/>
          <ac:spMkLst>
            <pc:docMk/>
            <pc:sldMk cId="1748772267" sldId="260"/>
            <ac:spMk id="3" creationId="{B77C6521-ED8B-43DA-D42E-8CA3C6BFA3BD}"/>
          </ac:spMkLst>
        </pc:spChg>
        <pc:spChg chg="mod">
          <ac:chgData name="Alex Jordan" userId="30755697-3be4-4efa-ad5c-ca2e4102b45a" providerId="ADAL" clId="{4864474C-12F9-4B8D-8347-AD25EEBB02C8}" dt="2025-06-18T10:23:20.674" v="7212" actId="790"/>
          <ac:spMkLst>
            <pc:docMk/>
            <pc:sldMk cId="1748772267" sldId="260"/>
            <ac:spMk id="20" creationId="{F874D2E3-ACF9-F52D-9D47-0E91A8CC4017}"/>
          </ac:spMkLst>
        </pc:spChg>
        <pc:spChg chg="mod">
          <ac:chgData name="Alex Jordan" userId="30755697-3be4-4efa-ad5c-ca2e4102b45a" providerId="ADAL" clId="{4864474C-12F9-4B8D-8347-AD25EEBB02C8}" dt="2025-06-18T10:23:20.674" v="7212" actId="790"/>
          <ac:spMkLst>
            <pc:docMk/>
            <pc:sldMk cId="1748772267" sldId="260"/>
            <ac:spMk id="23" creationId="{BFFFED33-FA2B-7593-9DA7-DA9EB182C486}"/>
          </ac:spMkLst>
        </pc:spChg>
        <pc:spChg chg="mod">
          <ac:chgData name="Alex Jordan" userId="30755697-3be4-4efa-ad5c-ca2e4102b45a" providerId="ADAL" clId="{4864474C-12F9-4B8D-8347-AD25EEBB02C8}" dt="2025-06-18T10:23:20.674" v="7212" actId="790"/>
          <ac:spMkLst>
            <pc:docMk/>
            <pc:sldMk cId="1748772267" sldId="260"/>
            <ac:spMk id="25" creationId="{A29C96BA-9F36-CFAF-30AB-A504520B332B}"/>
          </ac:spMkLst>
        </pc:spChg>
        <pc:spChg chg="mod">
          <ac:chgData name="Alex Jordan" userId="30755697-3be4-4efa-ad5c-ca2e4102b45a" providerId="ADAL" clId="{4864474C-12F9-4B8D-8347-AD25EEBB02C8}" dt="2025-06-18T10:23:20.674" v="7212" actId="790"/>
          <ac:spMkLst>
            <pc:docMk/>
            <pc:sldMk cId="1748772267" sldId="260"/>
            <ac:spMk id="26" creationId="{2B7F8A65-3487-1ECE-2ED9-8D0457115135}"/>
          </ac:spMkLst>
        </pc:spChg>
        <pc:graphicFrameChg chg="mod">
          <ac:chgData name="Alex Jordan" userId="30755697-3be4-4efa-ad5c-ca2e4102b45a" providerId="ADAL" clId="{4864474C-12F9-4B8D-8347-AD25EEBB02C8}" dt="2025-06-18T10:23:21.760" v="7821"/>
          <ac:graphicFrameMkLst>
            <pc:docMk/>
            <pc:sldMk cId="1748772267" sldId="260"/>
            <ac:graphicFrameMk id="2" creationId="{98CEF388-CB26-5330-A118-63041B9D3917}"/>
          </ac:graphicFrameMkLst>
        </pc:graphicFrameChg>
        <pc:picChg chg="mod">
          <ac:chgData name="Alex Jordan" userId="30755697-3be4-4efa-ad5c-ca2e4102b45a" providerId="ADAL" clId="{4864474C-12F9-4B8D-8347-AD25EEBB02C8}" dt="2025-06-18T07:55:16.371" v="47" actId="207"/>
          <ac:picMkLst>
            <pc:docMk/>
            <pc:sldMk cId="1748772267" sldId="260"/>
            <ac:picMk id="8" creationId="{4502B408-3FCE-EEAD-C135-41E515B55B1B}"/>
          </ac:picMkLst>
        </pc:picChg>
      </pc:sldChg>
      <pc:sldChg chg="modSp mod modNotes">
        <pc:chgData name="Alex Jordan" userId="30755697-3be4-4efa-ad5c-ca2e4102b45a" providerId="ADAL" clId="{4864474C-12F9-4B8D-8347-AD25EEBB02C8}" dt="2025-06-18T10:23:21.756" v="7815"/>
        <pc:sldMkLst>
          <pc:docMk/>
          <pc:sldMk cId="1103344515" sldId="261"/>
        </pc:sldMkLst>
        <pc:spChg chg="mod">
          <ac:chgData name="Alex Jordan" userId="30755697-3be4-4efa-ad5c-ca2e4102b45a" providerId="ADAL" clId="{4864474C-12F9-4B8D-8347-AD25EEBB02C8}" dt="2025-06-18T10:23:20.674" v="7212" actId="790"/>
          <ac:spMkLst>
            <pc:docMk/>
            <pc:sldMk cId="1103344515" sldId="261"/>
            <ac:spMk id="2" creationId="{8578FE43-6388-31D4-4132-C9A5934693F1}"/>
          </ac:spMkLst>
        </pc:spChg>
        <pc:spChg chg="mod">
          <ac:chgData name="Alex Jordan" userId="30755697-3be4-4efa-ad5c-ca2e4102b45a" providerId="ADAL" clId="{4864474C-12F9-4B8D-8347-AD25EEBB02C8}" dt="2025-06-18T10:23:20.674" v="7212" actId="790"/>
          <ac:spMkLst>
            <pc:docMk/>
            <pc:sldMk cId="1103344515" sldId="261"/>
            <ac:spMk id="3" creationId="{E62870D2-BD04-7C36-ECAD-A42F5410710A}"/>
          </ac:spMkLst>
        </pc:spChg>
        <pc:spChg chg="mod">
          <ac:chgData name="Alex Jordan" userId="30755697-3be4-4efa-ad5c-ca2e4102b45a" providerId="ADAL" clId="{4864474C-12F9-4B8D-8347-AD25EEBB02C8}" dt="2025-06-18T10:23:20.674" v="7212" actId="790"/>
          <ac:spMkLst>
            <pc:docMk/>
            <pc:sldMk cId="1103344515" sldId="261"/>
            <ac:spMk id="4" creationId="{3B173936-1223-96C8-CD2C-1F0D5E885859}"/>
          </ac:spMkLst>
        </pc:spChg>
        <pc:graphicFrameChg chg="mod">
          <ac:chgData name="Alex Jordan" userId="30755697-3be4-4efa-ad5c-ca2e4102b45a" providerId="ADAL" clId="{4864474C-12F9-4B8D-8347-AD25EEBB02C8}" dt="2025-06-18T10:23:21.756" v="7815"/>
          <ac:graphicFrameMkLst>
            <pc:docMk/>
            <pc:sldMk cId="1103344515" sldId="261"/>
            <ac:graphicFrameMk id="6" creationId="{83FB4019-A778-1531-5BED-D7A38506D4DB}"/>
          </ac:graphicFrameMkLst>
        </pc:graphicFrameChg>
      </pc:sldChg>
      <pc:sldChg chg="addSp delSp modSp mod modNotes">
        <pc:chgData name="Alex Jordan" userId="30755697-3be4-4efa-ad5c-ca2e4102b45a" providerId="ADAL" clId="{4864474C-12F9-4B8D-8347-AD25EEBB02C8}" dt="2025-06-18T11:00:49.506" v="11213"/>
        <pc:sldMkLst>
          <pc:docMk/>
          <pc:sldMk cId="1604288582" sldId="341"/>
        </pc:sldMkLst>
        <pc:spChg chg="mod">
          <ac:chgData name="Alex Jordan" userId="30755697-3be4-4efa-ad5c-ca2e4102b45a" providerId="ADAL" clId="{4864474C-12F9-4B8D-8347-AD25EEBB02C8}" dt="2025-06-18T11:00:49.289" v="10966" actId="948"/>
          <ac:spMkLst>
            <pc:docMk/>
            <pc:sldMk cId="1604288582" sldId="341"/>
            <ac:spMk id="2" creationId="{63F43E43-FBC1-AA34-3EEF-93B656DA04EC}"/>
          </ac:spMkLst>
        </pc:spChg>
        <pc:spChg chg="mod">
          <ac:chgData name="Alex Jordan" userId="30755697-3be4-4efa-ad5c-ca2e4102b45a" providerId="ADAL" clId="{4864474C-12F9-4B8D-8347-AD25EEBB02C8}" dt="2025-06-18T10:23:20.674" v="7212" actId="790"/>
          <ac:spMkLst>
            <pc:docMk/>
            <pc:sldMk cId="1604288582" sldId="341"/>
            <ac:spMk id="18" creationId="{D55906D9-CA06-342A-88D4-2AAA55B5948F}"/>
          </ac:spMkLst>
        </pc:spChg>
        <pc:spChg chg="add mod">
          <ac:chgData name="Alex Jordan" userId="30755697-3be4-4efa-ad5c-ca2e4102b45a" providerId="ADAL" clId="{4864474C-12F9-4B8D-8347-AD25EEBB02C8}" dt="2025-06-18T10:23:20.674" v="7212" actId="790"/>
          <ac:spMkLst>
            <pc:docMk/>
            <pc:sldMk cId="1604288582" sldId="341"/>
            <ac:spMk id="20" creationId="{DADBEA66-02CB-CCD6-94EC-59A4F70D40CB}"/>
          </ac:spMkLst>
        </pc:spChg>
        <pc:spChg chg="add mod">
          <ac:chgData name="Alex Jordan" userId="30755697-3be4-4efa-ad5c-ca2e4102b45a" providerId="ADAL" clId="{4864474C-12F9-4B8D-8347-AD25EEBB02C8}" dt="2025-06-18T10:23:20.674" v="7212" actId="790"/>
          <ac:spMkLst>
            <pc:docMk/>
            <pc:sldMk cId="1604288582" sldId="341"/>
            <ac:spMk id="21" creationId="{26198737-8EFB-A057-1F2C-C0A6FF5E9808}"/>
          </ac:spMkLst>
        </pc:spChg>
        <pc:spChg chg="add mod">
          <ac:chgData name="Alex Jordan" userId="30755697-3be4-4efa-ad5c-ca2e4102b45a" providerId="ADAL" clId="{4864474C-12F9-4B8D-8347-AD25EEBB02C8}" dt="2025-06-18T10:23:20.674" v="7212" actId="790"/>
          <ac:spMkLst>
            <pc:docMk/>
            <pc:sldMk cId="1604288582" sldId="341"/>
            <ac:spMk id="22" creationId="{098EF744-2950-3EEB-AE54-D670AD607B59}"/>
          </ac:spMkLst>
        </pc:spChg>
        <pc:spChg chg="add mod">
          <ac:chgData name="Alex Jordan" userId="30755697-3be4-4efa-ad5c-ca2e4102b45a" providerId="ADAL" clId="{4864474C-12F9-4B8D-8347-AD25EEBB02C8}" dt="2025-06-18T10:23:20.674" v="7212" actId="790"/>
          <ac:spMkLst>
            <pc:docMk/>
            <pc:sldMk cId="1604288582" sldId="341"/>
            <ac:spMk id="23" creationId="{82FB8B80-44D3-2173-F1DD-762D57EDF7C2}"/>
          </ac:spMkLst>
        </pc:spChg>
        <pc:spChg chg="add mod">
          <ac:chgData name="Alex Jordan" userId="30755697-3be4-4efa-ad5c-ca2e4102b45a" providerId="ADAL" clId="{4864474C-12F9-4B8D-8347-AD25EEBB02C8}" dt="2025-06-18T10:23:20.674" v="7212" actId="790"/>
          <ac:spMkLst>
            <pc:docMk/>
            <pc:sldMk cId="1604288582" sldId="341"/>
            <ac:spMk id="24" creationId="{BEB7A3F5-DF1A-26C5-DAE1-10D251BEC0CB}"/>
          </ac:spMkLst>
        </pc:spChg>
        <pc:graphicFrameChg chg="mod">
          <ac:chgData name="Alex Jordan" userId="30755697-3be4-4efa-ad5c-ca2e4102b45a" providerId="ADAL" clId="{4864474C-12F9-4B8D-8347-AD25EEBB02C8}" dt="2025-06-18T11:00:49.506" v="11213"/>
          <ac:graphicFrameMkLst>
            <pc:docMk/>
            <pc:sldMk cId="1604288582" sldId="341"/>
            <ac:graphicFrameMk id="7" creationId="{BB2A0297-9EF9-3F7B-F98E-FCBA6CE05ACD}"/>
          </ac:graphicFrameMkLst>
        </pc:graphicFrameChg>
      </pc:sldChg>
      <pc:sldChg chg="addSp delSp modSp mod modNotes">
        <pc:chgData name="Alex Jordan" userId="30755697-3be4-4efa-ad5c-ca2e4102b45a" providerId="ADAL" clId="{4864474C-12F9-4B8D-8347-AD25EEBB02C8}" dt="2025-06-18T11:00:49.506" v="11217"/>
        <pc:sldMkLst>
          <pc:docMk/>
          <pc:sldMk cId="3486213310" sldId="342"/>
        </pc:sldMkLst>
        <pc:spChg chg="mod">
          <ac:chgData name="Alex Jordan" userId="30755697-3be4-4efa-ad5c-ca2e4102b45a" providerId="ADAL" clId="{4864474C-12F9-4B8D-8347-AD25EEBB02C8}" dt="2025-06-18T11:00:49.308" v="10987" actId="948"/>
          <ac:spMkLst>
            <pc:docMk/>
            <pc:sldMk cId="3486213310" sldId="342"/>
            <ac:spMk id="2" creationId="{1921E439-F149-27E1-9605-8A2384282463}"/>
          </ac:spMkLst>
        </pc:spChg>
        <pc:spChg chg="add mod">
          <ac:chgData name="Alex Jordan" userId="30755697-3be4-4efa-ad5c-ca2e4102b45a" providerId="ADAL" clId="{4864474C-12F9-4B8D-8347-AD25EEBB02C8}" dt="2025-06-18T10:23:20.674" v="7212" actId="790"/>
          <ac:spMkLst>
            <pc:docMk/>
            <pc:sldMk cId="3486213310" sldId="342"/>
            <ac:spMk id="4" creationId="{EF1B93E4-196D-6B48-5D92-49A37E92C56F}"/>
          </ac:spMkLst>
        </pc:spChg>
        <pc:spChg chg="add mod">
          <ac:chgData name="Alex Jordan" userId="30755697-3be4-4efa-ad5c-ca2e4102b45a" providerId="ADAL" clId="{4864474C-12F9-4B8D-8347-AD25EEBB02C8}" dt="2025-06-18T10:23:20.674" v="7212" actId="790"/>
          <ac:spMkLst>
            <pc:docMk/>
            <pc:sldMk cId="3486213310" sldId="342"/>
            <ac:spMk id="5" creationId="{28032BB8-AA0D-CF8A-24F3-C498D7F55745}"/>
          </ac:spMkLst>
        </pc:spChg>
        <pc:spChg chg="add mod">
          <ac:chgData name="Alex Jordan" userId="30755697-3be4-4efa-ad5c-ca2e4102b45a" providerId="ADAL" clId="{4864474C-12F9-4B8D-8347-AD25EEBB02C8}" dt="2025-06-18T10:23:20.026" v="6393" actId="947"/>
          <ac:spMkLst>
            <pc:docMk/>
            <pc:sldMk cId="3486213310" sldId="342"/>
            <ac:spMk id="6" creationId="{D0D37932-561F-9A0D-6784-5725675062B9}"/>
          </ac:spMkLst>
        </pc:spChg>
        <pc:spChg chg="add mod">
          <ac:chgData name="Alex Jordan" userId="30755697-3be4-4efa-ad5c-ca2e4102b45a" providerId="ADAL" clId="{4864474C-12F9-4B8D-8347-AD25EEBB02C8}" dt="2025-06-18T10:23:20.674" v="7212" actId="790"/>
          <ac:spMkLst>
            <pc:docMk/>
            <pc:sldMk cId="3486213310" sldId="342"/>
            <ac:spMk id="8" creationId="{6DFB0C58-E1F9-3AAF-D714-30CE407C0E54}"/>
          </ac:spMkLst>
        </pc:spChg>
        <pc:spChg chg="add mod">
          <ac:chgData name="Alex Jordan" userId="30755697-3be4-4efa-ad5c-ca2e4102b45a" providerId="ADAL" clId="{4864474C-12F9-4B8D-8347-AD25EEBB02C8}" dt="2025-06-18T10:23:20.029" v="6397" actId="947"/>
          <ac:spMkLst>
            <pc:docMk/>
            <pc:sldMk cId="3486213310" sldId="342"/>
            <ac:spMk id="9" creationId="{E3A76D93-8F86-F69F-3900-86B0A502E799}"/>
          </ac:spMkLst>
        </pc:spChg>
        <pc:spChg chg="add mod">
          <ac:chgData name="Alex Jordan" userId="30755697-3be4-4efa-ad5c-ca2e4102b45a" providerId="ADAL" clId="{4864474C-12F9-4B8D-8347-AD25EEBB02C8}" dt="2025-06-18T10:23:20.060" v="6435" actId="947"/>
          <ac:spMkLst>
            <pc:docMk/>
            <pc:sldMk cId="3486213310" sldId="342"/>
            <ac:spMk id="48" creationId="{F59D1154-16B1-CE67-CC3C-522E0F0BEB45}"/>
          </ac:spMkLst>
        </pc:spChg>
        <pc:graphicFrameChg chg="mod">
          <ac:chgData name="Alex Jordan" userId="30755697-3be4-4efa-ad5c-ca2e4102b45a" providerId="ADAL" clId="{4864474C-12F9-4B8D-8347-AD25EEBB02C8}" dt="2025-06-18T11:00:49.506" v="11217"/>
          <ac:graphicFrameMkLst>
            <pc:docMk/>
            <pc:sldMk cId="3486213310" sldId="342"/>
            <ac:graphicFrameMk id="7" creationId="{6E225D20-A38B-D5A4-88C2-69A51FF8B712}"/>
          </ac:graphicFrameMkLst>
        </pc:graphicFrameChg>
      </pc:sldChg>
      <pc:sldChg chg="addSp delSp modSp add del mod">
        <pc:chgData name="Alex Jordan" userId="30755697-3be4-4efa-ad5c-ca2e4102b45a" providerId="ADAL" clId="{4864474C-12F9-4B8D-8347-AD25EEBB02C8}" dt="2025-06-18T08:51:56.702" v="1326" actId="47"/>
        <pc:sldMkLst>
          <pc:docMk/>
          <pc:sldMk cId="2464986958" sldId="343"/>
        </pc:sldMkLst>
      </pc:sldChg>
      <pc:sldChg chg="addSp delSp modSp add del mod">
        <pc:chgData name="Alex Jordan" userId="30755697-3be4-4efa-ad5c-ca2e4102b45a" providerId="ADAL" clId="{4864474C-12F9-4B8D-8347-AD25EEBB02C8}" dt="2025-06-18T09:22:59.206" v="3080" actId="47"/>
        <pc:sldMkLst>
          <pc:docMk/>
          <pc:sldMk cId="3865464029" sldId="344"/>
        </pc:sldMkLst>
      </pc:sldChg>
      <pc:sldChg chg="addSp delSp modSp add mod modNotes">
        <pc:chgData name="Alex Jordan" userId="30755697-3be4-4efa-ad5c-ca2e4102b45a" providerId="ADAL" clId="{4864474C-12F9-4B8D-8347-AD25EEBB02C8}" dt="2025-06-18T11:00:49.517" v="11225"/>
        <pc:sldMkLst>
          <pc:docMk/>
          <pc:sldMk cId="3994138954" sldId="345"/>
        </pc:sldMkLst>
        <pc:spChg chg="mod ord">
          <ac:chgData name="Alex Jordan" userId="30755697-3be4-4efa-ad5c-ca2e4102b45a" providerId="ADAL" clId="{4864474C-12F9-4B8D-8347-AD25EEBB02C8}" dt="2025-06-18T11:00:49.339" v="11029" actId="948"/>
          <ac:spMkLst>
            <pc:docMk/>
            <pc:sldMk cId="3994138954" sldId="345"/>
            <ac:spMk id="2" creationId="{A9DDF508-4C4E-A454-EFF9-D2F00049D758}"/>
          </ac:spMkLst>
        </pc:spChg>
        <pc:spChg chg="mod ord">
          <ac:chgData name="Alex Jordan" userId="30755697-3be4-4efa-ad5c-ca2e4102b45a" providerId="ADAL" clId="{4864474C-12F9-4B8D-8347-AD25EEBB02C8}" dt="2025-06-18T10:23:20.192" v="6605" actId="947"/>
          <ac:spMkLst>
            <pc:docMk/>
            <pc:sldMk cId="3994138954" sldId="345"/>
            <ac:spMk id="4" creationId="{B42B097B-6E1F-3401-D48C-F65316497794}"/>
          </ac:spMkLst>
        </pc:spChg>
        <pc:spChg chg="mod ord">
          <ac:chgData name="Alex Jordan" userId="30755697-3be4-4efa-ad5c-ca2e4102b45a" providerId="ADAL" clId="{4864474C-12F9-4B8D-8347-AD25EEBB02C8}" dt="2025-06-18T10:23:20.674" v="7212" actId="790"/>
          <ac:spMkLst>
            <pc:docMk/>
            <pc:sldMk cId="3994138954" sldId="345"/>
            <ac:spMk id="5" creationId="{49BC056C-631E-84DE-069F-0B3A91086484}"/>
          </ac:spMkLst>
        </pc:spChg>
        <pc:spChg chg="mod ord">
          <ac:chgData name="Alex Jordan" userId="30755697-3be4-4efa-ad5c-ca2e4102b45a" providerId="ADAL" clId="{4864474C-12F9-4B8D-8347-AD25EEBB02C8}" dt="2025-06-18T10:23:20.195" v="6609" actId="947"/>
          <ac:spMkLst>
            <pc:docMk/>
            <pc:sldMk cId="3994138954" sldId="345"/>
            <ac:spMk id="6" creationId="{E6455735-E469-7B1A-62B0-7C9BE11E23AD}"/>
          </ac:spMkLst>
        </pc:spChg>
        <pc:spChg chg="mod ord">
          <ac:chgData name="Alex Jordan" userId="30755697-3be4-4efa-ad5c-ca2e4102b45a" providerId="ADAL" clId="{4864474C-12F9-4B8D-8347-AD25EEBB02C8}" dt="2025-06-18T10:23:20.197" v="6611" actId="947"/>
          <ac:spMkLst>
            <pc:docMk/>
            <pc:sldMk cId="3994138954" sldId="345"/>
            <ac:spMk id="8" creationId="{78DE1035-7B85-CD57-1BD6-B6694DB7265B}"/>
          </ac:spMkLst>
        </pc:spChg>
        <pc:spChg chg="mod ord">
          <ac:chgData name="Alex Jordan" userId="30755697-3be4-4efa-ad5c-ca2e4102b45a" providerId="ADAL" clId="{4864474C-12F9-4B8D-8347-AD25EEBB02C8}" dt="2025-06-18T10:23:20.198" v="6613" actId="947"/>
          <ac:spMkLst>
            <pc:docMk/>
            <pc:sldMk cId="3994138954" sldId="345"/>
            <ac:spMk id="9" creationId="{38F5E937-158F-EC93-0BAF-CB8FCD4B8B1A}"/>
          </ac:spMkLst>
        </pc:spChg>
        <pc:spChg chg="add mod ord">
          <ac:chgData name="Alex Jordan" userId="30755697-3be4-4efa-ad5c-ca2e4102b45a" providerId="ADAL" clId="{4864474C-12F9-4B8D-8347-AD25EEBB02C8}" dt="2025-06-18T10:43:14.065" v="8067" actId="20577"/>
          <ac:spMkLst>
            <pc:docMk/>
            <pc:sldMk cId="3994138954" sldId="345"/>
            <ac:spMk id="38" creationId="{7D190BF5-560A-90D4-FBF6-05618B41318C}"/>
          </ac:spMkLst>
        </pc:spChg>
        <pc:graphicFrameChg chg="mod">
          <ac:chgData name="Alex Jordan" userId="30755697-3be4-4efa-ad5c-ca2e4102b45a" providerId="ADAL" clId="{4864474C-12F9-4B8D-8347-AD25EEBB02C8}" dt="2025-06-18T11:00:49.517" v="11225"/>
          <ac:graphicFrameMkLst>
            <pc:docMk/>
            <pc:sldMk cId="3994138954" sldId="345"/>
            <ac:graphicFrameMk id="7" creationId="{D829C86A-31EE-4F77-6F9F-A8AF646BD7C2}"/>
          </ac:graphicFrameMkLst>
        </pc:graphicFrameChg>
      </pc:sldChg>
      <pc:sldChg chg="addSp delSp modSp add del mod modNotes">
        <pc:chgData name="Alex Jordan" userId="30755697-3be4-4efa-ad5c-ca2e4102b45a" providerId="ADAL" clId="{4864474C-12F9-4B8D-8347-AD25EEBB02C8}" dt="2025-06-18T14:14:45.555" v="15383" actId="47"/>
        <pc:sldMkLst>
          <pc:docMk/>
          <pc:sldMk cId="2658710944" sldId="346"/>
        </pc:sldMkLst>
      </pc:sldChg>
      <pc:sldChg chg="addSp delSp modSp add mod modNotes">
        <pc:chgData name="Alex Jordan" userId="30755697-3be4-4efa-ad5c-ca2e4102b45a" providerId="ADAL" clId="{4864474C-12F9-4B8D-8347-AD25EEBB02C8}" dt="2025-06-18T13:39:16.731" v="14317"/>
        <pc:sldMkLst>
          <pc:docMk/>
          <pc:sldMk cId="1054010972" sldId="347"/>
        </pc:sldMkLst>
        <pc:spChg chg="mod">
          <ac:chgData name="Alex Jordan" userId="30755697-3be4-4efa-ad5c-ca2e4102b45a" providerId="ADAL" clId="{4864474C-12F9-4B8D-8347-AD25EEBB02C8}" dt="2025-06-18T12:55:03.001" v="11647" actId="948"/>
          <ac:spMkLst>
            <pc:docMk/>
            <pc:sldMk cId="1054010972" sldId="347"/>
            <ac:spMk id="2" creationId="{8B30ADA6-0D2A-BF99-8515-E9E9E3F92899}"/>
          </ac:spMkLst>
        </pc:spChg>
        <pc:spChg chg="mod">
          <ac:chgData name="Alex Jordan" userId="30755697-3be4-4efa-ad5c-ca2e4102b45a" providerId="ADAL" clId="{4864474C-12F9-4B8D-8347-AD25EEBB02C8}" dt="2025-06-18T10:23:20.674" v="7212" actId="790"/>
          <ac:spMkLst>
            <pc:docMk/>
            <pc:sldMk cId="1054010972" sldId="347"/>
            <ac:spMk id="4" creationId="{CDE99A79-8AB3-CA9B-D7D9-12E200B3488F}"/>
          </ac:spMkLst>
        </pc:spChg>
        <pc:spChg chg="mod">
          <ac:chgData name="Alex Jordan" userId="30755697-3be4-4efa-ad5c-ca2e4102b45a" providerId="ADAL" clId="{4864474C-12F9-4B8D-8347-AD25EEBB02C8}" dt="2025-06-18T10:23:20.674" v="7212" actId="790"/>
          <ac:spMkLst>
            <pc:docMk/>
            <pc:sldMk cId="1054010972" sldId="347"/>
            <ac:spMk id="5" creationId="{F1F6A37F-50BF-DCB7-0242-41D843655760}"/>
          </ac:spMkLst>
        </pc:spChg>
        <pc:spChg chg="mod">
          <ac:chgData name="Alex Jordan" userId="30755697-3be4-4efa-ad5c-ca2e4102b45a" providerId="ADAL" clId="{4864474C-12F9-4B8D-8347-AD25EEBB02C8}" dt="2025-06-18T10:23:20.674" v="7212" actId="790"/>
          <ac:spMkLst>
            <pc:docMk/>
            <pc:sldMk cId="1054010972" sldId="347"/>
            <ac:spMk id="6" creationId="{352CFCF8-7E61-1ADB-C4DD-C08A4399256A}"/>
          </ac:spMkLst>
        </pc:spChg>
        <pc:spChg chg="mod">
          <ac:chgData name="Alex Jordan" userId="30755697-3be4-4efa-ad5c-ca2e4102b45a" providerId="ADAL" clId="{4864474C-12F9-4B8D-8347-AD25EEBB02C8}" dt="2025-06-18T10:23:20.674" v="7212" actId="790"/>
          <ac:spMkLst>
            <pc:docMk/>
            <pc:sldMk cId="1054010972" sldId="347"/>
            <ac:spMk id="8" creationId="{3246AF8B-E99F-898B-A2FD-855157EB077E}"/>
          </ac:spMkLst>
        </pc:spChg>
        <pc:spChg chg="mod">
          <ac:chgData name="Alex Jordan" userId="30755697-3be4-4efa-ad5c-ca2e4102b45a" providerId="ADAL" clId="{4864474C-12F9-4B8D-8347-AD25EEBB02C8}" dt="2025-06-18T10:23:20.674" v="7212" actId="790"/>
          <ac:spMkLst>
            <pc:docMk/>
            <pc:sldMk cId="1054010972" sldId="347"/>
            <ac:spMk id="9" creationId="{8D50FBBD-C291-0DBB-0839-59E388429C43}"/>
          </ac:spMkLst>
        </pc:spChg>
        <pc:spChg chg="add mod">
          <ac:chgData name="Alex Jordan" userId="30755697-3be4-4efa-ad5c-ca2e4102b45a" providerId="ADAL" clId="{4864474C-12F9-4B8D-8347-AD25EEBB02C8}" dt="2025-06-18T13:39:16.731" v="14317"/>
          <ac:spMkLst>
            <pc:docMk/>
            <pc:sldMk cId="1054010972" sldId="347"/>
            <ac:spMk id="40" creationId="{0D8883FC-7DC2-8844-3259-E95561AB4A1C}"/>
          </ac:spMkLst>
        </pc:spChg>
        <pc:graphicFrameChg chg="mod">
          <ac:chgData name="Alex Jordan" userId="30755697-3be4-4efa-ad5c-ca2e4102b45a" providerId="ADAL" clId="{4864474C-12F9-4B8D-8347-AD25EEBB02C8}" dt="2025-06-18T12:55:03.018" v="11671"/>
          <ac:graphicFrameMkLst>
            <pc:docMk/>
            <pc:sldMk cId="1054010972" sldId="347"/>
            <ac:graphicFrameMk id="7" creationId="{CA28E6BF-5BBA-4A9A-8E55-401E89D05FFC}"/>
          </ac:graphicFrameMkLst>
        </pc:graphicFrameChg>
        <pc:picChg chg="add mod">
          <ac:chgData name="Alex Jordan" userId="30755697-3be4-4efa-ad5c-ca2e4102b45a" providerId="ADAL" clId="{4864474C-12F9-4B8D-8347-AD25EEBB02C8}" dt="2025-06-18T12:52:37.576" v="11556" actId="1076"/>
          <ac:picMkLst>
            <pc:docMk/>
            <pc:sldMk cId="1054010972" sldId="347"/>
            <ac:picMk id="26" creationId="{2B4BFA8F-A085-1B34-01DF-256F6E2907C0}"/>
          </ac:picMkLst>
        </pc:picChg>
        <pc:picChg chg="add mod">
          <ac:chgData name="Alex Jordan" userId="30755697-3be4-4efa-ad5c-ca2e4102b45a" providerId="ADAL" clId="{4864474C-12F9-4B8D-8347-AD25EEBB02C8}" dt="2025-06-18T12:53:40.448" v="11604" actId="1038"/>
          <ac:picMkLst>
            <pc:docMk/>
            <pc:sldMk cId="1054010972" sldId="347"/>
            <ac:picMk id="34" creationId="{089628CB-65D5-6CE7-9ADC-BC2CB1B21F22}"/>
          </ac:picMkLst>
        </pc:picChg>
        <pc:picChg chg="add mod">
          <ac:chgData name="Alex Jordan" userId="30755697-3be4-4efa-ad5c-ca2e4102b45a" providerId="ADAL" clId="{4864474C-12F9-4B8D-8347-AD25EEBB02C8}" dt="2025-06-18T12:52:41.304" v="11557" actId="1076"/>
          <ac:picMkLst>
            <pc:docMk/>
            <pc:sldMk cId="1054010972" sldId="347"/>
            <ac:picMk id="36" creationId="{1C31B410-B9C1-BCE1-91C1-2D453E97E41C}"/>
          </ac:picMkLst>
        </pc:picChg>
        <pc:picChg chg="add mod">
          <ac:chgData name="Alex Jordan" userId="30755697-3be4-4efa-ad5c-ca2e4102b45a" providerId="ADAL" clId="{4864474C-12F9-4B8D-8347-AD25EEBB02C8}" dt="2025-06-18T12:53:40.448" v="11604" actId="1038"/>
          <ac:picMkLst>
            <pc:docMk/>
            <pc:sldMk cId="1054010972" sldId="347"/>
            <ac:picMk id="38" creationId="{4F901E0B-B487-FC0C-B6DA-59E2162D0DBD}"/>
          </ac:picMkLst>
        </pc:picChg>
      </pc:sldChg>
      <pc:sldChg chg="addSp delSp modSp add mod modNotes">
        <pc:chgData name="Alex Jordan" userId="30755697-3be4-4efa-ad5c-ca2e4102b45a" providerId="ADAL" clId="{4864474C-12F9-4B8D-8347-AD25EEBB02C8}" dt="2025-06-18T13:20:46.273" v="12964" actId="478"/>
        <pc:sldMkLst>
          <pc:docMk/>
          <pc:sldMk cId="2164014164" sldId="348"/>
        </pc:sldMkLst>
        <pc:spChg chg="mod">
          <ac:chgData name="Alex Jordan" userId="30755697-3be4-4efa-ad5c-ca2e4102b45a" providerId="ADAL" clId="{4864474C-12F9-4B8D-8347-AD25EEBB02C8}" dt="2025-06-18T12:56:38.250" v="11839" actId="948"/>
          <ac:spMkLst>
            <pc:docMk/>
            <pc:sldMk cId="2164014164" sldId="348"/>
            <ac:spMk id="2" creationId="{8A87C2FC-705B-BDE4-0F25-D5018E16EC69}"/>
          </ac:spMkLst>
        </pc:spChg>
        <pc:spChg chg="mod">
          <ac:chgData name="Alex Jordan" userId="30755697-3be4-4efa-ad5c-ca2e4102b45a" providerId="ADAL" clId="{4864474C-12F9-4B8D-8347-AD25EEBB02C8}" dt="2025-06-18T10:23:20.674" v="7212" actId="790"/>
          <ac:spMkLst>
            <pc:docMk/>
            <pc:sldMk cId="2164014164" sldId="348"/>
            <ac:spMk id="4" creationId="{D8BEB1B5-47B8-75FC-F6B3-77657DB11046}"/>
          </ac:spMkLst>
        </pc:spChg>
        <pc:spChg chg="mod">
          <ac:chgData name="Alex Jordan" userId="30755697-3be4-4efa-ad5c-ca2e4102b45a" providerId="ADAL" clId="{4864474C-12F9-4B8D-8347-AD25EEBB02C8}" dt="2025-06-18T10:23:20.674" v="7212" actId="790"/>
          <ac:spMkLst>
            <pc:docMk/>
            <pc:sldMk cId="2164014164" sldId="348"/>
            <ac:spMk id="5" creationId="{6841FE57-875A-151B-96E7-0DF98C69CED6}"/>
          </ac:spMkLst>
        </pc:spChg>
        <pc:spChg chg="mod">
          <ac:chgData name="Alex Jordan" userId="30755697-3be4-4efa-ad5c-ca2e4102b45a" providerId="ADAL" clId="{4864474C-12F9-4B8D-8347-AD25EEBB02C8}" dt="2025-06-18T10:23:20.674" v="7212" actId="790"/>
          <ac:spMkLst>
            <pc:docMk/>
            <pc:sldMk cId="2164014164" sldId="348"/>
            <ac:spMk id="6" creationId="{9FA18B21-8DB7-3B54-8A19-6E7115563319}"/>
          </ac:spMkLst>
        </pc:spChg>
        <pc:spChg chg="mod">
          <ac:chgData name="Alex Jordan" userId="30755697-3be4-4efa-ad5c-ca2e4102b45a" providerId="ADAL" clId="{4864474C-12F9-4B8D-8347-AD25EEBB02C8}" dt="2025-06-18T10:23:20.674" v="7212" actId="790"/>
          <ac:spMkLst>
            <pc:docMk/>
            <pc:sldMk cId="2164014164" sldId="348"/>
            <ac:spMk id="8" creationId="{4B0F6A68-A2CA-079B-5BC9-F7E1E9C39553}"/>
          </ac:spMkLst>
        </pc:spChg>
        <pc:spChg chg="mod">
          <ac:chgData name="Alex Jordan" userId="30755697-3be4-4efa-ad5c-ca2e4102b45a" providerId="ADAL" clId="{4864474C-12F9-4B8D-8347-AD25EEBB02C8}" dt="2025-06-18T10:23:20.674" v="7212" actId="790"/>
          <ac:spMkLst>
            <pc:docMk/>
            <pc:sldMk cId="2164014164" sldId="348"/>
            <ac:spMk id="9" creationId="{5CF1EF65-28D2-A890-94F2-1B7523358D43}"/>
          </ac:spMkLst>
        </pc:spChg>
        <pc:spChg chg="add mod">
          <ac:chgData name="Alex Jordan" userId="30755697-3be4-4efa-ad5c-ca2e4102b45a" providerId="ADAL" clId="{4864474C-12F9-4B8D-8347-AD25EEBB02C8}" dt="2025-06-18T13:13:03.729" v="12840" actId="20577"/>
          <ac:spMkLst>
            <pc:docMk/>
            <pc:sldMk cId="2164014164" sldId="348"/>
            <ac:spMk id="10" creationId="{2CF3BFC7-3F8E-0FBD-46C1-C44955BC484A}"/>
          </ac:spMkLst>
        </pc:spChg>
        <pc:spChg chg="add mod">
          <ac:chgData name="Alex Jordan" userId="30755697-3be4-4efa-ad5c-ca2e4102b45a" providerId="ADAL" clId="{4864474C-12F9-4B8D-8347-AD25EEBB02C8}" dt="2025-06-18T12:57:36.482" v="11917" actId="1076"/>
          <ac:spMkLst>
            <pc:docMk/>
            <pc:sldMk cId="2164014164" sldId="348"/>
            <ac:spMk id="27" creationId="{F7377075-7606-F282-734C-AB12561FAE0F}"/>
          </ac:spMkLst>
        </pc:spChg>
        <pc:graphicFrameChg chg="mod">
          <ac:chgData name="Alex Jordan" userId="30755697-3be4-4efa-ad5c-ca2e4102b45a" providerId="ADAL" clId="{4864474C-12F9-4B8D-8347-AD25EEBB02C8}" dt="2025-06-18T12:56:38.270" v="11863"/>
          <ac:graphicFrameMkLst>
            <pc:docMk/>
            <pc:sldMk cId="2164014164" sldId="348"/>
            <ac:graphicFrameMk id="7" creationId="{D3D37026-7075-63DE-8596-49AC89094FB1}"/>
          </ac:graphicFrameMkLst>
        </pc:graphicFrameChg>
      </pc:sldChg>
      <pc:sldChg chg="addSp delSp modSp add mod modNotes">
        <pc:chgData name="Alex Jordan" userId="30755697-3be4-4efa-ad5c-ca2e4102b45a" providerId="ADAL" clId="{4864474C-12F9-4B8D-8347-AD25EEBB02C8}" dt="2025-06-18T11:00:49.506" v="11209"/>
        <pc:sldMkLst>
          <pc:docMk/>
          <pc:sldMk cId="3996541464" sldId="349"/>
        </pc:sldMkLst>
        <pc:spChg chg="mod">
          <ac:chgData name="Alex Jordan" userId="30755697-3be4-4efa-ad5c-ca2e4102b45a" providerId="ADAL" clId="{4864474C-12F9-4B8D-8347-AD25EEBB02C8}" dt="2025-06-18T11:00:49.266" v="10945" actId="948"/>
          <ac:spMkLst>
            <pc:docMk/>
            <pc:sldMk cId="3996541464" sldId="349"/>
            <ac:spMk id="2" creationId="{BB88C329-D479-4D85-8791-CA50F5ADB262}"/>
          </ac:spMkLst>
        </pc:spChg>
        <pc:spChg chg="mod">
          <ac:chgData name="Alex Jordan" userId="30755697-3be4-4efa-ad5c-ca2e4102b45a" providerId="ADAL" clId="{4864474C-12F9-4B8D-8347-AD25EEBB02C8}" dt="2025-06-18T10:23:19.938" v="6297" actId="947"/>
          <ac:spMkLst>
            <pc:docMk/>
            <pc:sldMk cId="3996541464" sldId="349"/>
            <ac:spMk id="4" creationId="{4F560686-D3D0-3559-9AB2-0FD7A8E8725D}"/>
          </ac:spMkLst>
        </pc:spChg>
        <pc:spChg chg="mod">
          <ac:chgData name="Alex Jordan" userId="30755697-3be4-4efa-ad5c-ca2e4102b45a" providerId="ADAL" clId="{4864474C-12F9-4B8D-8347-AD25EEBB02C8}" dt="2025-06-18T10:23:19.939" v="6299" actId="947"/>
          <ac:spMkLst>
            <pc:docMk/>
            <pc:sldMk cId="3996541464" sldId="349"/>
            <ac:spMk id="5" creationId="{83C23D1B-40FB-1958-084B-9703EF075FE4}"/>
          </ac:spMkLst>
        </pc:spChg>
        <pc:spChg chg="mod">
          <ac:chgData name="Alex Jordan" userId="30755697-3be4-4efa-ad5c-ca2e4102b45a" providerId="ADAL" clId="{4864474C-12F9-4B8D-8347-AD25EEBB02C8}" dt="2025-06-18T10:23:19.941" v="6301" actId="947"/>
          <ac:spMkLst>
            <pc:docMk/>
            <pc:sldMk cId="3996541464" sldId="349"/>
            <ac:spMk id="6" creationId="{20491FAD-84BB-165B-9123-2FB17F0B29AF}"/>
          </ac:spMkLst>
        </pc:spChg>
        <pc:spChg chg="mod">
          <ac:chgData name="Alex Jordan" userId="30755697-3be4-4efa-ad5c-ca2e4102b45a" providerId="ADAL" clId="{4864474C-12F9-4B8D-8347-AD25EEBB02C8}" dt="2025-06-18T10:23:20.674" v="7212" actId="790"/>
          <ac:spMkLst>
            <pc:docMk/>
            <pc:sldMk cId="3996541464" sldId="349"/>
            <ac:spMk id="8" creationId="{5A0B022D-42C9-72F0-C2D2-0273A2D5A9E7}"/>
          </ac:spMkLst>
        </pc:spChg>
        <pc:spChg chg="mod">
          <ac:chgData name="Alex Jordan" userId="30755697-3be4-4efa-ad5c-ca2e4102b45a" providerId="ADAL" clId="{4864474C-12F9-4B8D-8347-AD25EEBB02C8}" dt="2025-06-18T10:23:19.944" v="6305" actId="947"/>
          <ac:spMkLst>
            <pc:docMk/>
            <pc:sldMk cId="3996541464" sldId="349"/>
            <ac:spMk id="9" creationId="{FC46066E-1D2E-B2F4-88F9-CD729DE03388}"/>
          </ac:spMkLst>
        </pc:spChg>
        <pc:spChg chg="mod">
          <ac:chgData name="Alex Jordan" userId="30755697-3be4-4efa-ad5c-ca2e4102b45a" providerId="ADAL" clId="{4864474C-12F9-4B8D-8347-AD25EEBB02C8}" dt="2025-06-18T10:23:19.947" v="6307" actId="947"/>
          <ac:spMkLst>
            <pc:docMk/>
            <pc:sldMk cId="3996541464" sldId="349"/>
            <ac:spMk id="48" creationId="{2DCF2928-61A8-50FE-F34F-183EDEE66CB7}"/>
          </ac:spMkLst>
        </pc:spChg>
        <pc:graphicFrameChg chg="mod">
          <ac:chgData name="Alex Jordan" userId="30755697-3be4-4efa-ad5c-ca2e4102b45a" providerId="ADAL" clId="{4864474C-12F9-4B8D-8347-AD25EEBB02C8}" dt="2025-06-18T11:00:49.506" v="11209"/>
          <ac:graphicFrameMkLst>
            <pc:docMk/>
            <pc:sldMk cId="3996541464" sldId="349"/>
            <ac:graphicFrameMk id="7" creationId="{75720B7B-7A16-BF7B-9758-0729DE0AF8DB}"/>
          </ac:graphicFrameMkLst>
        </pc:graphicFrameChg>
      </pc:sldChg>
      <pc:sldChg chg="addSp delSp modSp add mod modNotes">
        <pc:chgData name="Alex Jordan" userId="30755697-3be4-4efa-ad5c-ca2e4102b45a" providerId="ADAL" clId="{4864474C-12F9-4B8D-8347-AD25EEBB02C8}" dt="2025-06-18T11:00:49.517" v="11229"/>
        <pc:sldMkLst>
          <pc:docMk/>
          <pc:sldMk cId="3806575274" sldId="350"/>
        </pc:sldMkLst>
        <pc:spChg chg="mod">
          <ac:chgData name="Alex Jordan" userId="30755697-3be4-4efa-ad5c-ca2e4102b45a" providerId="ADAL" clId="{4864474C-12F9-4B8D-8347-AD25EEBB02C8}" dt="2025-06-18T11:00:49.359" v="11050" actId="948"/>
          <ac:spMkLst>
            <pc:docMk/>
            <pc:sldMk cId="3806575274" sldId="350"/>
            <ac:spMk id="2" creationId="{113C2BBD-7F8D-B194-8281-B00367B4C729}"/>
          </ac:spMkLst>
        </pc:spChg>
        <pc:spChg chg="mod">
          <ac:chgData name="Alex Jordan" userId="30755697-3be4-4efa-ad5c-ca2e4102b45a" providerId="ADAL" clId="{4864474C-12F9-4B8D-8347-AD25EEBB02C8}" dt="2025-06-18T10:23:20.271" v="6707" actId="947"/>
          <ac:spMkLst>
            <pc:docMk/>
            <pc:sldMk cId="3806575274" sldId="350"/>
            <ac:spMk id="4" creationId="{3A734070-2D65-817F-E4D3-89E1AE9E2B9B}"/>
          </ac:spMkLst>
        </pc:spChg>
        <pc:spChg chg="mod">
          <ac:chgData name="Alex Jordan" userId="30755697-3be4-4efa-ad5c-ca2e4102b45a" providerId="ADAL" clId="{4864474C-12F9-4B8D-8347-AD25EEBB02C8}" dt="2025-06-18T10:23:20.674" v="7212" actId="790"/>
          <ac:spMkLst>
            <pc:docMk/>
            <pc:sldMk cId="3806575274" sldId="350"/>
            <ac:spMk id="5" creationId="{A09BB674-61DF-BC0B-F02D-7EE09C03115C}"/>
          </ac:spMkLst>
        </pc:spChg>
        <pc:spChg chg="mod">
          <ac:chgData name="Alex Jordan" userId="30755697-3be4-4efa-ad5c-ca2e4102b45a" providerId="ADAL" clId="{4864474C-12F9-4B8D-8347-AD25EEBB02C8}" dt="2025-06-18T10:23:20.274" v="6711" actId="947"/>
          <ac:spMkLst>
            <pc:docMk/>
            <pc:sldMk cId="3806575274" sldId="350"/>
            <ac:spMk id="6" creationId="{C613D762-BDC8-1376-C26A-91F07CC63436}"/>
          </ac:spMkLst>
        </pc:spChg>
        <pc:spChg chg="mod">
          <ac:chgData name="Alex Jordan" userId="30755697-3be4-4efa-ad5c-ca2e4102b45a" providerId="ADAL" clId="{4864474C-12F9-4B8D-8347-AD25EEBB02C8}" dt="2025-06-18T10:23:20.674" v="7212" actId="790"/>
          <ac:spMkLst>
            <pc:docMk/>
            <pc:sldMk cId="3806575274" sldId="350"/>
            <ac:spMk id="8" creationId="{F9914343-CE1D-85F9-01B2-D050A95E10B3}"/>
          </ac:spMkLst>
        </pc:spChg>
        <pc:spChg chg="mod">
          <ac:chgData name="Alex Jordan" userId="30755697-3be4-4efa-ad5c-ca2e4102b45a" providerId="ADAL" clId="{4864474C-12F9-4B8D-8347-AD25EEBB02C8}" dt="2025-06-18T10:23:20.277" v="6715" actId="947"/>
          <ac:spMkLst>
            <pc:docMk/>
            <pc:sldMk cId="3806575274" sldId="350"/>
            <ac:spMk id="9" creationId="{C588047D-E8FF-C29C-754C-38CE03DA84C1}"/>
          </ac:spMkLst>
        </pc:spChg>
        <pc:spChg chg="mod">
          <ac:chgData name="Alex Jordan" userId="30755697-3be4-4efa-ad5c-ca2e4102b45a" providerId="ADAL" clId="{4864474C-12F9-4B8D-8347-AD25EEBB02C8}" dt="2025-06-18T10:23:20.674" v="7212" actId="790"/>
          <ac:spMkLst>
            <pc:docMk/>
            <pc:sldMk cId="3806575274" sldId="350"/>
            <ac:spMk id="48" creationId="{1DD45A18-7A70-5697-4840-4A8123A553BA}"/>
          </ac:spMkLst>
        </pc:spChg>
        <pc:graphicFrameChg chg="mod">
          <ac:chgData name="Alex Jordan" userId="30755697-3be4-4efa-ad5c-ca2e4102b45a" providerId="ADAL" clId="{4864474C-12F9-4B8D-8347-AD25EEBB02C8}" dt="2025-06-18T11:00:49.517" v="11229"/>
          <ac:graphicFrameMkLst>
            <pc:docMk/>
            <pc:sldMk cId="3806575274" sldId="350"/>
            <ac:graphicFrameMk id="7" creationId="{2714EFE6-0D20-9AA2-63B6-010D8DAE5722}"/>
          </ac:graphicFrameMkLst>
        </pc:graphicFrameChg>
      </pc:sldChg>
      <pc:sldChg chg="addSp delSp modSp add mod modNotes">
        <pc:chgData name="Alex Jordan" userId="30755697-3be4-4efa-ad5c-ca2e4102b45a" providerId="ADAL" clId="{4864474C-12F9-4B8D-8347-AD25EEBB02C8}" dt="2025-06-18T11:00:49.514" v="11221"/>
        <pc:sldMkLst>
          <pc:docMk/>
          <pc:sldMk cId="2924490370" sldId="351"/>
        </pc:sldMkLst>
      </pc:sldChg>
      <pc:sldChg chg="addSp delSp modSp add mod modNotes">
        <pc:chgData name="Alex Jordan" userId="30755697-3be4-4efa-ad5c-ca2e4102b45a" providerId="ADAL" clId="{4864474C-12F9-4B8D-8347-AD25EEBB02C8}" dt="2025-06-18T11:00:49.498" v="11201"/>
        <pc:sldMkLst>
          <pc:docMk/>
          <pc:sldMk cId="552453391" sldId="352"/>
        </pc:sldMkLst>
        <pc:spChg chg="mod">
          <ac:chgData name="Alex Jordan" userId="30755697-3be4-4efa-ad5c-ca2e4102b45a" providerId="ADAL" clId="{4864474C-12F9-4B8D-8347-AD25EEBB02C8}" dt="2025-06-18T11:00:49.225" v="10903" actId="948"/>
          <ac:spMkLst>
            <pc:docMk/>
            <pc:sldMk cId="552453391" sldId="352"/>
            <ac:spMk id="2" creationId="{C53FA140-62C9-B1F6-5920-DF24AACF2ACD}"/>
          </ac:spMkLst>
        </pc:spChg>
        <pc:spChg chg="mod">
          <ac:chgData name="Alex Jordan" userId="30755697-3be4-4efa-ad5c-ca2e4102b45a" providerId="ADAL" clId="{4864474C-12F9-4B8D-8347-AD25EEBB02C8}" dt="2025-06-18T10:23:19.549" v="5935" actId="947"/>
          <ac:spMkLst>
            <pc:docMk/>
            <pc:sldMk cId="552453391" sldId="352"/>
            <ac:spMk id="4" creationId="{3C2EAA65-FE98-DA7F-7004-1598DB7AB948}"/>
          </ac:spMkLst>
        </pc:spChg>
        <pc:spChg chg="mod">
          <ac:chgData name="Alex Jordan" userId="30755697-3be4-4efa-ad5c-ca2e4102b45a" providerId="ADAL" clId="{4864474C-12F9-4B8D-8347-AD25EEBB02C8}" dt="2025-06-18T10:23:20.674" v="7212" actId="790"/>
          <ac:spMkLst>
            <pc:docMk/>
            <pc:sldMk cId="552453391" sldId="352"/>
            <ac:spMk id="5" creationId="{5ACAA40B-B0D7-E855-8995-45C30EC669CF}"/>
          </ac:spMkLst>
        </pc:spChg>
        <pc:spChg chg="mod">
          <ac:chgData name="Alex Jordan" userId="30755697-3be4-4efa-ad5c-ca2e4102b45a" providerId="ADAL" clId="{4864474C-12F9-4B8D-8347-AD25EEBB02C8}" dt="2025-06-18T10:23:19.552" v="5939" actId="947"/>
          <ac:spMkLst>
            <pc:docMk/>
            <pc:sldMk cId="552453391" sldId="352"/>
            <ac:spMk id="6" creationId="{8B06B390-4D55-6D6D-2ECF-00F581723728}"/>
          </ac:spMkLst>
        </pc:spChg>
        <pc:spChg chg="mod">
          <ac:chgData name="Alex Jordan" userId="30755697-3be4-4efa-ad5c-ca2e4102b45a" providerId="ADAL" clId="{4864474C-12F9-4B8D-8347-AD25EEBB02C8}" dt="2025-06-18T10:23:19.554" v="5941" actId="947"/>
          <ac:spMkLst>
            <pc:docMk/>
            <pc:sldMk cId="552453391" sldId="352"/>
            <ac:spMk id="8" creationId="{CEBA4F3D-A34B-766B-8DE4-133CF8D4E88B}"/>
          </ac:spMkLst>
        </pc:spChg>
        <pc:spChg chg="mod">
          <ac:chgData name="Alex Jordan" userId="30755697-3be4-4efa-ad5c-ca2e4102b45a" providerId="ADAL" clId="{4864474C-12F9-4B8D-8347-AD25EEBB02C8}" dt="2025-06-18T10:23:19.555" v="5943" actId="947"/>
          <ac:spMkLst>
            <pc:docMk/>
            <pc:sldMk cId="552453391" sldId="352"/>
            <ac:spMk id="9" creationId="{A2130C1C-30BB-215B-F768-2666B2571C73}"/>
          </ac:spMkLst>
        </pc:spChg>
        <pc:spChg chg="mod">
          <ac:chgData name="Alex Jordan" userId="30755697-3be4-4efa-ad5c-ca2e4102b45a" providerId="ADAL" clId="{4864474C-12F9-4B8D-8347-AD25EEBB02C8}" dt="2025-06-18T10:45:44.048" v="8094" actId="113"/>
          <ac:spMkLst>
            <pc:docMk/>
            <pc:sldMk cId="552453391" sldId="352"/>
            <ac:spMk id="38" creationId="{BA5BB2A2-74B3-8F04-2B7B-8D4CB4367664}"/>
          </ac:spMkLst>
        </pc:spChg>
        <pc:graphicFrameChg chg="mod">
          <ac:chgData name="Alex Jordan" userId="30755697-3be4-4efa-ad5c-ca2e4102b45a" providerId="ADAL" clId="{4864474C-12F9-4B8D-8347-AD25EEBB02C8}" dt="2025-06-18T11:00:49.498" v="11201"/>
          <ac:graphicFrameMkLst>
            <pc:docMk/>
            <pc:sldMk cId="552453391" sldId="352"/>
            <ac:graphicFrameMk id="7" creationId="{82200CD8-96B8-7E85-020A-5104D9030D62}"/>
          </ac:graphicFrameMkLst>
        </pc:graphicFrameChg>
      </pc:sldChg>
      <pc:sldChg chg="addSp delSp modSp add mod modNotes">
        <pc:chgData name="Alex Jordan" userId="30755697-3be4-4efa-ad5c-ca2e4102b45a" providerId="ADAL" clId="{4864474C-12F9-4B8D-8347-AD25EEBB02C8}" dt="2025-06-18T11:00:49.498" v="11205"/>
        <pc:sldMkLst>
          <pc:docMk/>
          <pc:sldMk cId="2527108895" sldId="353"/>
        </pc:sldMkLst>
      </pc:sldChg>
      <pc:sldChg chg="addSp delSp modSp add mod modNotes">
        <pc:chgData name="Alex Jordan" userId="30755697-3be4-4efa-ad5c-ca2e4102b45a" providerId="ADAL" clId="{4864474C-12F9-4B8D-8347-AD25EEBB02C8}" dt="2025-06-18T11:00:49.530" v="11249"/>
        <pc:sldMkLst>
          <pc:docMk/>
          <pc:sldMk cId="3838670244" sldId="354"/>
        </pc:sldMkLst>
      </pc:sldChg>
      <pc:sldChg chg="addSp modSp add mod modNotes">
        <pc:chgData name="Alex Jordan" userId="30755697-3be4-4efa-ad5c-ca2e4102b45a" providerId="ADAL" clId="{4864474C-12F9-4B8D-8347-AD25EEBB02C8}" dt="2025-06-18T11:00:49.530" v="11251"/>
        <pc:sldMkLst>
          <pc:docMk/>
          <pc:sldMk cId="696448331" sldId="355"/>
        </pc:sldMkLst>
      </pc:sldChg>
      <pc:sldChg chg="addSp delSp modSp add mod modNotes">
        <pc:chgData name="Alex Jordan" userId="30755697-3be4-4efa-ad5c-ca2e4102b45a" providerId="ADAL" clId="{4864474C-12F9-4B8D-8347-AD25EEBB02C8}" dt="2025-06-18T11:00:49.530" v="11245"/>
        <pc:sldMkLst>
          <pc:docMk/>
          <pc:sldMk cId="4069010350" sldId="356"/>
        </pc:sldMkLst>
      </pc:sldChg>
      <pc:sldChg chg="addSp delSp modSp add mod">
        <pc:chgData name="Alex Jordan" userId="30755697-3be4-4efa-ad5c-ca2e4102b45a" providerId="ADAL" clId="{4864474C-12F9-4B8D-8347-AD25EEBB02C8}" dt="2025-06-18T15:29:38.868" v="17880" actId="20577"/>
        <pc:sldMkLst>
          <pc:docMk/>
          <pc:sldMk cId="1566265228" sldId="357"/>
        </pc:sldMkLst>
        <pc:spChg chg="mod">
          <ac:chgData name="Alex Jordan" userId="30755697-3be4-4efa-ad5c-ca2e4102b45a" providerId="ADAL" clId="{4864474C-12F9-4B8D-8347-AD25EEBB02C8}" dt="2025-06-18T14:59:32.974" v="16657" actId="948"/>
          <ac:spMkLst>
            <pc:docMk/>
            <pc:sldMk cId="1566265228" sldId="357"/>
            <ac:spMk id="2" creationId="{B7EA3725-42B5-23E1-017A-CBC3DBB305CA}"/>
          </ac:spMkLst>
        </pc:spChg>
        <pc:spChg chg="add mod topLvl">
          <ac:chgData name="Alex Jordan" userId="30755697-3be4-4efa-ad5c-ca2e4102b45a" providerId="ADAL" clId="{4864474C-12F9-4B8D-8347-AD25EEBB02C8}" dt="2025-06-18T15:03:11.769" v="16855" actId="165"/>
          <ac:spMkLst>
            <pc:docMk/>
            <pc:sldMk cId="1566265228" sldId="357"/>
            <ac:spMk id="25" creationId="{9F85E581-12A8-061D-7FF0-737CC3553F3B}"/>
          </ac:spMkLst>
        </pc:spChg>
        <pc:spChg chg="mod">
          <ac:chgData name="Alex Jordan" userId="30755697-3be4-4efa-ad5c-ca2e4102b45a" providerId="ADAL" clId="{4864474C-12F9-4B8D-8347-AD25EEBB02C8}" dt="2025-06-18T15:14:59.003" v="17588" actId="1036"/>
          <ac:spMkLst>
            <pc:docMk/>
            <pc:sldMk cId="1566265228" sldId="357"/>
            <ac:spMk id="27" creationId="{52BC3484-8EFD-C041-63ED-83322FC492B4}"/>
          </ac:spMkLst>
        </pc:spChg>
        <pc:spChg chg="mod">
          <ac:chgData name="Alex Jordan" userId="30755697-3be4-4efa-ad5c-ca2e4102b45a" providerId="ADAL" clId="{4864474C-12F9-4B8D-8347-AD25EEBB02C8}" dt="2025-06-18T15:14:59.003" v="17588" actId="1036"/>
          <ac:spMkLst>
            <pc:docMk/>
            <pc:sldMk cId="1566265228" sldId="357"/>
            <ac:spMk id="28" creationId="{154BACFF-B4ED-F2F1-88E2-FDA30842C442}"/>
          </ac:spMkLst>
        </pc:spChg>
        <pc:spChg chg="add mod topLvl">
          <ac:chgData name="Alex Jordan" userId="30755697-3be4-4efa-ad5c-ca2e4102b45a" providerId="ADAL" clId="{4864474C-12F9-4B8D-8347-AD25EEBB02C8}" dt="2025-06-18T15:03:11.769" v="16855" actId="165"/>
          <ac:spMkLst>
            <pc:docMk/>
            <pc:sldMk cId="1566265228" sldId="357"/>
            <ac:spMk id="32" creationId="{6570E254-16D1-C481-BC6E-E87B7437075A}"/>
          </ac:spMkLst>
        </pc:spChg>
        <pc:spChg chg="mod">
          <ac:chgData name="Alex Jordan" userId="30755697-3be4-4efa-ad5c-ca2e4102b45a" providerId="ADAL" clId="{4864474C-12F9-4B8D-8347-AD25EEBB02C8}" dt="2025-06-18T15:02:11.664" v="16853" actId="554"/>
          <ac:spMkLst>
            <pc:docMk/>
            <pc:sldMk cId="1566265228" sldId="357"/>
            <ac:spMk id="33" creationId="{C68E0E36-5BC2-2BE1-C7A1-EF2D3A4EDA63}"/>
          </ac:spMkLst>
        </pc:spChg>
        <pc:spChg chg="add mod topLvl">
          <ac:chgData name="Alex Jordan" userId="30755697-3be4-4efa-ad5c-ca2e4102b45a" providerId="ADAL" clId="{4864474C-12F9-4B8D-8347-AD25EEBB02C8}" dt="2025-06-18T15:14:59.003" v="17588" actId="1036"/>
          <ac:spMkLst>
            <pc:docMk/>
            <pc:sldMk cId="1566265228" sldId="357"/>
            <ac:spMk id="36" creationId="{56062EC1-E1E8-F84A-40E4-AE1648928CEC}"/>
          </ac:spMkLst>
        </pc:spChg>
        <pc:spChg chg="mod">
          <ac:chgData name="Alex Jordan" userId="30755697-3be4-4efa-ad5c-ca2e4102b45a" providerId="ADAL" clId="{4864474C-12F9-4B8D-8347-AD25EEBB02C8}" dt="2025-06-18T15:24:23.055" v="17688" actId="207"/>
          <ac:spMkLst>
            <pc:docMk/>
            <pc:sldMk cId="1566265228" sldId="357"/>
            <ac:spMk id="50" creationId="{9FF409DC-7CA3-039C-B4AF-47FDE2E3ED60}"/>
          </ac:spMkLst>
        </pc:spChg>
        <pc:spChg chg="mod">
          <ac:chgData name="Alex Jordan" userId="30755697-3be4-4efa-ad5c-ca2e4102b45a" providerId="ADAL" clId="{4864474C-12F9-4B8D-8347-AD25EEBB02C8}" dt="2025-06-18T15:24:23.055" v="17688" actId="207"/>
          <ac:spMkLst>
            <pc:docMk/>
            <pc:sldMk cId="1566265228" sldId="357"/>
            <ac:spMk id="51" creationId="{1AF40834-FE5A-4E5A-4772-5A68097718ED}"/>
          </ac:spMkLst>
        </pc:spChg>
        <pc:spChg chg="add mod">
          <ac:chgData name="Alex Jordan" userId="30755697-3be4-4efa-ad5c-ca2e4102b45a" providerId="ADAL" clId="{4864474C-12F9-4B8D-8347-AD25EEBB02C8}" dt="2025-06-18T15:24:23.055" v="17688" actId="207"/>
          <ac:spMkLst>
            <pc:docMk/>
            <pc:sldMk cId="1566265228" sldId="357"/>
            <ac:spMk id="56" creationId="{4D436EDE-367E-F80F-C38E-E577C54C497F}"/>
          </ac:spMkLst>
        </pc:spChg>
        <pc:spChg chg="add mod">
          <ac:chgData name="Alex Jordan" userId="30755697-3be4-4efa-ad5c-ca2e4102b45a" providerId="ADAL" clId="{4864474C-12F9-4B8D-8347-AD25EEBB02C8}" dt="2025-06-18T15:24:23.055" v="17688" actId="207"/>
          <ac:spMkLst>
            <pc:docMk/>
            <pc:sldMk cId="1566265228" sldId="357"/>
            <ac:spMk id="57" creationId="{3A74946C-17DD-9A16-F39B-B48C37B8DDBD}"/>
          </ac:spMkLst>
        </pc:spChg>
        <pc:spChg chg="mod">
          <ac:chgData name="Alex Jordan" userId="30755697-3be4-4efa-ad5c-ca2e4102b45a" providerId="ADAL" clId="{4864474C-12F9-4B8D-8347-AD25EEBB02C8}" dt="2025-06-18T15:24:09.086" v="17687" actId="207"/>
          <ac:spMkLst>
            <pc:docMk/>
            <pc:sldMk cId="1566265228" sldId="357"/>
            <ac:spMk id="58" creationId="{AF19CD45-1804-F3B4-993B-4AA5CF319452}"/>
          </ac:spMkLst>
        </pc:spChg>
        <pc:spChg chg="mod">
          <ac:chgData name="Alex Jordan" userId="30755697-3be4-4efa-ad5c-ca2e4102b45a" providerId="ADAL" clId="{4864474C-12F9-4B8D-8347-AD25EEBB02C8}" dt="2025-06-18T15:24:09.086" v="17687" actId="207"/>
          <ac:spMkLst>
            <pc:docMk/>
            <pc:sldMk cId="1566265228" sldId="357"/>
            <ac:spMk id="59" creationId="{040B114C-8265-CD8D-D327-2B3517000ECB}"/>
          </ac:spMkLst>
        </pc:spChg>
        <pc:grpChg chg="mod">
          <ac:chgData name="Alex Jordan" userId="30755697-3be4-4efa-ad5c-ca2e4102b45a" providerId="ADAL" clId="{4864474C-12F9-4B8D-8347-AD25EEBB02C8}" dt="2025-06-18T15:24:09.086" v="17687" actId="207"/>
          <ac:grpSpMkLst>
            <pc:docMk/>
            <pc:sldMk cId="1566265228" sldId="357"/>
            <ac:grpSpMk id="18" creationId="{D5A45C5A-F2D6-F3B3-1E6F-1E55520DFA42}"/>
          </ac:grpSpMkLst>
        </pc:grpChg>
        <pc:grpChg chg="mod">
          <ac:chgData name="Alex Jordan" userId="30755697-3be4-4efa-ad5c-ca2e4102b45a" providerId="ADAL" clId="{4864474C-12F9-4B8D-8347-AD25EEBB02C8}" dt="2025-06-18T15:21:50.058" v="17621" actId="1076"/>
          <ac:grpSpMkLst>
            <pc:docMk/>
            <pc:sldMk cId="1566265228" sldId="357"/>
            <ac:grpSpMk id="19" creationId="{9C0AB335-7269-FF87-6D42-3BFF66E139D2}"/>
          </ac:grpSpMkLst>
        </pc:grpChg>
        <pc:grpChg chg="mod">
          <ac:chgData name="Alex Jordan" userId="30755697-3be4-4efa-ad5c-ca2e4102b45a" providerId="ADAL" clId="{4864474C-12F9-4B8D-8347-AD25EEBB02C8}" dt="2025-06-18T11:08:58.462" v="11315" actId="1076"/>
          <ac:grpSpMkLst>
            <pc:docMk/>
            <pc:sldMk cId="1566265228" sldId="357"/>
            <ac:grpSpMk id="22" creationId="{4E7B4E6C-BFC7-E3A7-1E40-79E195BD2E34}"/>
          </ac:grpSpMkLst>
        </pc:grpChg>
        <pc:graphicFrameChg chg="mod">
          <ac:chgData name="Alex Jordan" userId="30755697-3be4-4efa-ad5c-ca2e4102b45a" providerId="ADAL" clId="{4864474C-12F9-4B8D-8347-AD25EEBB02C8}" dt="2025-06-18T14:59:32.995" v="16681"/>
          <ac:graphicFrameMkLst>
            <pc:docMk/>
            <pc:sldMk cId="1566265228" sldId="357"/>
            <ac:graphicFrameMk id="7" creationId="{BC8D42D4-AEDF-9F7C-71D6-70B256CB8DCE}"/>
          </ac:graphicFrameMkLst>
        </pc:graphicFrameChg>
        <pc:graphicFrameChg chg="mod modGraphic">
          <ac:chgData name="Alex Jordan" userId="30755697-3be4-4efa-ad5c-ca2e4102b45a" providerId="ADAL" clId="{4864474C-12F9-4B8D-8347-AD25EEBB02C8}" dt="2025-06-18T15:20:24.998" v="17598" actId="1076"/>
          <ac:graphicFrameMkLst>
            <pc:docMk/>
            <pc:sldMk cId="1566265228" sldId="357"/>
            <ac:graphicFrameMk id="17" creationId="{5D412FA4-3890-A4B4-BC09-C8A3AB2CB1D8}"/>
          </ac:graphicFrameMkLst>
        </pc:graphicFrameChg>
        <pc:picChg chg="add mod">
          <ac:chgData name="Alex Jordan" userId="30755697-3be4-4efa-ad5c-ca2e4102b45a" providerId="ADAL" clId="{4864474C-12F9-4B8D-8347-AD25EEBB02C8}" dt="2025-06-18T15:23:41.268" v="17654" actId="1038"/>
          <ac:picMkLst>
            <pc:docMk/>
            <pc:sldMk cId="1566265228" sldId="357"/>
            <ac:picMk id="80" creationId="{2321A569-3C58-A2F0-5FA5-86B4091C6E3F}"/>
          </ac:picMkLst>
        </pc:picChg>
        <pc:picChg chg="add mod">
          <ac:chgData name="Alex Jordan" userId="30755697-3be4-4efa-ad5c-ca2e4102b45a" providerId="ADAL" clId="{4864474C-12F9-4B8D-8347-AD25EEBB02C8}" dt="2025-06-18T15:23:28.449" v="17646" actId="1076"/>
          <ac:picMkLst>
            <pc:docMk/>
            <pc:sldMk cId="1566265228" sldId="357"/>
            <ac:picMk id="82" creationId="{B795B603-2DBF-EC4B-9644-CE1D521D5B48}"/>
          </ac:picMkLst>
        </pc:picChg>
        <pc:picChg chg="add mod">
          <ac:chgData name="Alex Jordan" userId="30755697-3be4-4efa-ad5c-ca2e4102b45a" providerId="ADAL" clId="{4864474C-12F9-4B8D-8347-AD25EEBB02C8}" dt="2025-06-18T15:23:28.449" v="17646" actId="1076"/>
          <ac:picMkLst>
            <pc:docMk/>
            <pc:sldMk cId="1566265228" sldId="357"/>
            <ac:picMk id="84" creationId="{E2C42629-F3D6-4E20-3C0D-085B103CC959}"/>
          </ac:picMkLst>
        </pc:picChg>
      </pc:sldChg>
      <pc:sldChg chg="delSp modSp add del mod ord">
        <pc:chgData name="Alex Jordan" userId="30755697-3be4-4efa-ad5c-ca2e4102b45a" providerId="ADAL" clId="{4864474C-12F9-4B8D-8347-AD25EEBB02C8}" dt="2025-06-18T14:14:45.555" v="15383" actId="47"/>
        <pc:sldMkLst>
          <pc:docMk/>
          <pc:sldMk cId="1181717395" sldId="358"/>
        </pc:sldMkLst>
      </pc:sldChg>
      <pc:sldChg chg="addSp delSp modSp add mod ord">
        <pc:chgData name="Alex Jordan" userId="30755697-3be4-4efa-ad5c-ca2e4102b45a" providerId="ADAL" clId="{4864474C-12F9-4B8D-8347-AD25EEBB02C8}" dt="2025-06-18T13:39:10.327" v="14316" actId="1076"/>
        <pc:sldMkLst>
          <pc:docMk/>
          <pc:sldMk cId="3633271931" sldId="359"/>
        </pc:sldMkLst>
      </pc:sldChg>
      <pc:sldChg chg="add del">
        <pc:chgData name="Alex Jordan" userId="30755697-3be4-4efa-ad5c-ca2e4102b45a" providerId="ADAL" clId="{4864474C-12F9-4B8D-8347-AD25EEBB02C8}" dt="2025-06-18T12:51:28.127" v="11503"/>
        <pc:sldMkLst>
          <pc:docMk/>
          <pc:sldMk cId="195524169" sldId="360"/>
        </pc:sldMkLst>
      </pc:sldChg>
      <pc:sldChg chg="addSp delSp modSp add mod ord">
        <pc:chgData name="Alex Jordan" userId="30755697-3be4-4efa-ad5c-ca2e4102b45a" providerId="ADAL" clId="{4864474C-12F9-4B8D-8347-AD25EEBB02C8}" dt="2025-06-18T16:15:12.799" v="18005"/>
        <pc:sldMkLst>
          <pc:docMk/>
          <pc:sldMk cId="2186876379" sldId="360"/>
        </pc:sldMkLst>
      </pc:sldChg>
      <pc:sldChg chg="addSp delSp modSp add mod">
        <pc:chgData name="Alex Jordan" userId="30755697-3be4-4efa-ad5c-ca2e4102b45a" providerId="ADAL" clId="{4864474C-12F9-4B8D-8347-AD25EEBB02C8}" dt="2025-06-18T15:39:45.206" v="17980" actId="12100"/>
        <pc:sldMkLst>
          <pc:docMk/>
          <pc:sldMk cId="1568432740" sldId="361"/>
        </pc:sldMkLst>
        <pc:spChg chg="mod">
          <ac:chgData name="Alex Jordan" userId="30755697-3be4-4efa-ad5c-ca2e4102b45a" providerId="ADAL" clId="{4864474C-12F9-4B8D-8347-AD25EEBB02C8}" dt="2025-06-18T13:21:32.762" v="13039" actId="948"/>
          <ac:spMkLst>
            <pc:docMk/>
            <pc:sldMk cId="1568432740" sldId="361"/>
            <ac:spMk id="2" creationId="{8022ADAD-0D05-5A23-6673-7E1343C3D8CE}"/>
          </ac:spMkLst>
        </pc:spChg>
        <pc:spChg chg="mod">
          <ac:chgData name="Alex Jordan" userId="30755697-3be4-4efa-ad5c-ca2e4102b45a" providerId="ADAL" clId="{4864474C-12F9-4B8D-8347-AD25EEBB02C8}" dt="2025-06-18T13:41:37.698" v="14684" actId="33524"/>
          <ac:spMkLst>
            <pc:docMk/>
            <pc:sldMk cId="1568432740" sldId="361"/>
            <ac:spMk id="10" creationId="{1586592C-03E7-4E56-49F8-428A329213F5}"/>
          </ac:spMkLst>
        </pc:spChg>
        <pc:spChg chg="mod">
          <ac:chgData name="Alex Jordan" userId="30755697-3be4-4efa-ad5c-ca2e4102b45a" providerId="ADAL" clId="{4864474C-12F9-4B8D-8347-AD25EEBB02C8}" dt="2025-06-18T13:39:53.500" v="14362" actId="20577"/>
          <ac:spMkLst>
            <pc:docMk/>
            <pc:sldMk cId="1568432740" sldId="361"/>
            <ac:spMk id="27" creationId="{2D8E23D2-692A-4EC2-CC97-9CF6B2897D18}"/>
          </ac:spMkLst>
        </pc:spChg>
        <pc:graphicFrameChg chg="mod">
          <ac:chgData name="Alex Jordan" userId="30755697-3be4-4efa-ad5c-ca2e4102b45a" providerId="ADAL" clId="{4864474C-12F9-4B8D-8347-AD25EEBB02C8}" dt="2025-06-18T13:21:32.787" v="13063"/>
          <ac:graphicFrameMkLst>
            <pc:docMk/>
            <pc:sldMk cId="1568432740" sldId="361"/>
            <ac:graphicFrameMk id="7" creationId="{8CB0C394-68F7-5FF9-1386-FD62E5B4B84F}"/>
          </ac:graphicFrameMkLst>
        </pc:graphicFrameChg>
      </pc:sldChg>
      <pc:sldChg chg="addSp delSp modSp add mod">
        <pc:chgData name="Alex Jordan" userId="30755697-3be4-4efa-ad5c-ca2e4102b45a" providerId="ADAL" clId="{4864474C-12F9-4B8D-8347-AD25EEBB02C8}" dt="2025-06-18T13:59:19.583" v="15048" actId="114"/>
        <pc:sldMkLst>
          <pc:docMk/>
          <pc:sldMk cId="1052879175" sldId="362"/>
        </pc:sldMkLst>
        <pc:spChg chg="mod">
          <ac:chgData name="Alex Jordan" userId="30755697-3be4-4efa-ad5c-ca2e4102b45a" providerId="ADAL" clId="{4864474C-12F9-4B8D-8347-AD25EEBB02C8}" dt="2025-06-18T13:21:55.787" v="13150" actId="948"/>
          <ac:spMkLst>
            <pc:docMk/>
            <pc:sldMk cId="1052879175" sldId="362"/>
            <ac:spMk id="2" creationId="{3647489D-2967-4724-091A-964DF1D56D71}"/>
          </ac:spMkLst>
        </pc:spChg>
        <pc:spChg chg="mod">
          <ac:chgData name="Alex Jordan" userId="30755697-3be4-4efa-ad5c-ca2e4102b45a" providerId="ADAL" clId="{4864474C-12F9-4B8D-8347-AD25EEBB02C8}" dt="2025-06-18T13:57:43.716" v="15036" actId="20577"/>
          <ac:spMkLst>
            <pc:docMk/>
            <pc:sldMk cId="1052879175" sldId="362"/>
            <ac:spMk id="10" creationId="{8698D7BD-545A-A530-DE43-61AF08318776}"/>
          </ac:spMkLst>
        </pc:spChg>
        <pc:spChg chg="mod">
          <ac:chgData name="Alex Jordan" userId="30755697-3be4-4efa-ad5c-ca2e4102b45a" providerId="ADAL" clId="{4864474C-12F9-4B8D-8347-AD25EEBB02C8}" dt="2025-06-18T13:55:19.480" v="14909" actId="20577"/>
          <ac:spMkLst>
            <pc:docMk/>
            <pc:sldMk cId="1052879175" sldId="362"/>
            <ac:spMk id="27" creationId="{77DD652B-0A63-6634-B47E-97636B3ED64E}"/>
          </ac:spMkLst>
        </pc:spChg>
        <pc:graphicFrameChg chg="mod">
          <ac:chgData name="Alex Jordan" userId="30755697-3be4-4efa-ad5c-ca2e4102b45a" providerId="ADAL" clId="{4864474C-12F9-4B8D-8347-AD25EEBB02C8}" dt="2025-06-18T13:21:55.808" v="13174"/>
          <ac:graphicFrameMkLst>
            <pc:docMk/>
            <pc:sldMk cId="1052879175" sldId="362"/>
            <ac:graphicFrameMk id="7" creationId="{15513908-CB52-DBFB-1578-3D8979964AA0}"/>
          </ac:graphicFrameMkLst>
        </pc:graphicFrameChg>
      </pc:sldChg>
      <pc:sldChg chg="addSp delSp modSp add mod">
        <pc:chgData name="Alex Jordan" userId="30755697-3be4-4efa-ad5c-ca2e4102b45a" providerId="ADAL" clId="{4864474C-12F9-4B8D-8347-AD25EEBB02C8}" dt="2025-06-18T14:13:29.437" v="15261" actId="1367"/>
        <pc:sldMkLst>
          <pc:docMk/>
          <pc:sldMk cId="2508342982" sldId="363"/>
        </pc:sldMkLst>
        <pc:spChg chg="mod">
          <ac:chgData name="Alex Jordan" userId="30755697-3be4-4efa-ad5c-ca2e4102b45a" providerId="ADAL" clId="{4864474C-12F9-4B8D-8347-AD25EEBB02C8}" dt="2025-06-18T13:22:12.249" v="13209" actId="948"/>
          <ac:spMkLst>
            <pc:docMk/>
            <pc:sldMk cId="2508342982" sldId="363"/>
            <ac:spMk id="2" creationId="{A209DF69-B468-8C23-2F13-E52A904DB4CC}"/>
          </ac:spMkLst>
        </pc:spChg>
        <pc:spChg chg="mod">
          <ac:chgData name="Alex Jordan" userId="30755697-3be4-4efa-ad5c-ca2e4102b45a" providerId="ADAL" clId="{4864474C-12F9-4B8D-8347-AD25EEBB02C8}" dt="2025-06-18T14:02:03.668" v="15189" actId="12"/>
          <ac:spMkLst>
            <pc:docMk/>
            <pc:sldMk cId="2508342982" sldId="363"/>
            <ac:spMk id="10" creationId="{13608748-3321-23B0-4BD3-2E9009D31C61}"/>
          </ac:spMkLst>
        </pc:spChg>
        <pc:spChg chg="mod">
          <ac:chgData name="Alex Jordan" userId="30755697-3be4-4efa-ad5c-ca2e4102b45a" providerId="ADAL" clId="{4864474C-12F9-4B8D-8347-AD25EEBB02C8}" dt="2025-06-18T13:59:45.714" v="15079" actId="20577"/>
          <ac:spMkLst>
            <pc:docMk/>
            <pc:sldMk cId="2508342982" sldId="363"/>
            <ac:spMk id="27" creationId="{2FE7919D-60EC-5CE7-6062-E6B2A1468F7B}"/>
          </ac:spMkLst>
        </pc:spChg>
        <pc:graphicFrameChg chg="mod">
          <ac:chgData name="Alex Jordan" userId="30755697-3be4-4efa-ad5c-ca2e4102b45a" providerId="ADAL" clId="{4864474C-12F9-4B8D-8347-AD25EEBB02C8}" dt="2025-06-18T13:22:12.272" v="13233"/>
          <ac:graphicFrameMkLst>
            <pc:docMk/>
            <pc:sldMk cId="2508342982" sldId="363"/>
            <ac:graphicFrameMk id="7" creationId="{C27AB1D1-9BD3-82B4-EBAE-5BDFB409BD1F}"/>
          </ac:graphicFrameMkLst>
        </pc:graphicFrameChg>
      </pc:sldChg>
      <pc:sldChg chg="addSp delSp modSp add mod">
        <pc:chgData name="Alex Jordan" userId="30755697-3be4-4efa-ad5c-ca2e4102b45a" providerId="ADAL" clId="{4864474C-12F9-4B8D-8347-AD25EEBB02C8}" dt="2025-06-18T14:57:53.872" v="16448" actId="113"/>
        <pc:sldMkLst>
          <pc:docMk/>
          <pc:sldMk cId="1770192883" sldId="364"/>
        </pc:sldMkLst>
      </pc:sldChg>
      <pc:sldChg chg="addSp delSp modSp add mod">
        <pc:chgData name="Alex Jordan" userId="30755697-3be4-4efa-ad5c-ca2e4102b45a" providerId="ADAL" clId="{4864474C-12F9-4B8D-8347-AD25EEBB02C8}" dt="2025-06-18T14:57:33.583" v="16446" actId="113"/>
        <pc:sldMkLst>
          <pc:docMk/>
          <pc:sldMk cId="2697359127" sldId="365"/>
        </pc:sldMkLst>
      </pc:sldChg>
      <pc:sldChg chg="addSp delSp modSp add mod">
        <pc:chgData name="Alex Jordan" userId="30755697-3be4-4efa-ad5c-ca2e4102b45a" providerId="ADAL" clId="{4864474C-12F9-4B8D-8347-AD25EEBB02C8}" dt="2025-06-18T14:57:19.439" v="16445" actId="113"/>
        <pc:sldMkLst>
          <pc:docMk/>
          <pc:sldMk cId="2379631090" sldId="366"/>
        </pc:sldMkLst>
      </pc:sldChg>
      <pc:sldChg chg="addSp delSp modSp add mod">
        <pc:chgData name="Alex Jordan" userId="30755697-3be4-4efa-ad5c-ca2e4102b45a" providerId="ADAL" clId="{4864474C-12F9-4B8D-8347-AD25EEBB02C8}" dt="2025-06-18T15:32:44.386" v="17887" actId="20577"/>
        <pc:sldMkLst>
          <pc:docMk/>
          <pc:sldMk cId="1052392321" sldId="367"/>
        </pc:sldMkLst>
      </pc:sldChg>
      <pc:sldChg chg="addSp delSp modSp add mod">
        <pc:chgData name="Alex Jordan" userId="30755697-3be4-4efa-ad5c-ca2e4102b45a" providerId="ADAL" clId="{4864474C-12F9-4B8D-8347-AD25EEBB02C8}" dt="2025-06-18T15:33:06.883" v="17898" actId="20577"/>
        <pc:sldMkLst>
          <pc:docMk/>
          <pc:sldMk cId="3863025001" sldId="368"/>
        </pc:sldMkLst>
      </pc:sldChg>
      <pc:sldChg chg="addSp delSp modSp add mod">
        <pc:chgData name="Alex Jordan" userId="30755697-3be4-4efa-ad5c-ca2e4102b45a" providerId="ADAL" clId="{4864474C-12F9-4B8D-8347-AD25EEBB02C8}" dt="2025-06-18T15:33:30.977" v="17905" actId="20577"/>
        <pc:sldMkLst>
          <pc:docMk/>
          <pc:sldMk cId="415383362" sldId="369"/>
        </pc:sldMkLst>
      </pc:sldChg>
      <pc:sldChg chg="addSp delSp modSp add mod">
        <pc:chgData name="Alex Jordan" userId="30755697-3be4-4efa-ad5c-ca2e4102b45a" providerId="ADAL" clId="{4864474C-12F9-4B8D-8347-AD25EEBB02C8}" dt="2025-06-18T15:33:47.876" v="17910" actId="20577"/>
        <pc:sldMkLst>
          <pc:docMk/>
          <pc:sldMk cId="435294683" sldId="370"/>
        </pc:sldMkLst>
      </pc:sldChg>
      <pc:sldChg chg="addSp delSp modSp add mod">
        <pc:chgData name="Alex Jordan" userId="30755697-3be4-4efa-ad5c-ca2e4102b45a" providerId="ADAL" clId="{4864474C-12F9-4B8D-8347-AD25EEBB02C8}" dt="2025-06-18T15:34:03.206" v="17915" actId="20577"/>
        <pc:sldMkLst>
          <pc:docMk/>
          <pc:sldMk cId="2645453210" sldId="371"/>
        </pc:sldMkLst>
      </pc:sldChg>
      <pc:sldMasterChg chg="addSp delSp modSp mod setBg modSldLayout">
        <pc:chgData name="Alex Jordan" userId="30755697-3be4-4efa-ad5c-ca2e4102b45a" providerId="ADAL" clId="{4864474C-12F9-4B8D-8347-AD25EEBB02C8}" dt="2025-06-18T10:23:21.754" v="7813"/>
        <pc:sldMasterMkLst>
          <pc:docMk/>
          <pc:sldMasterMk cId="2342518050" sldId="2147483648"/>
        </pc:sldMasterMkLst>
        <pc:spChg chg="mod">
          <ac:chgData name="Alex Jordan" userId="30755697-3be4-4efa-ad5c-ca2e4102b45a" providerId="ADAL" clId="{4864474C-12F9-4B8D-8347-AD25EEBB02C8}" dt="2025-06-18T10:23:21.374" v="7375" actId="948"/>
          <ac:spMkLst>
            <pc:docMk/>
            <pc:sldMasterMk cId="2342518050" sldId="2147483648"/>
            <ac:spMk id="2" creationId="{A6453D33-6F43-C8EC-F45A-41452BE1EA24}"/>
          </ac:spMkLst>
        </pc:spChg>
        <pc:spChg chg="mod">
          <ac:chgData name="Alex Jordan" userId="30755697-3be4-4efa-ad5c-ca2e4102b45a" providerId="ADAL" clId="{4864474C-12F9-4B8D-8347-AD25EEBB02C8}" dt="2025-06-18T10:23:19.821" v="6197"/>
          <ac:spMkLst>
            <pc:docMk/>
            <pc:sldMasterMk cId="2342518050" sldId="2147483648"/>
            <ac:spMk id="3" creationId="{3AB59637-5012-26B7-7485-6DA85E8D3405}"/>
          </ac:spMkLst>
        </pc:spChg>
        <pc:spChg chg="mod">
          <ac:chgData name="Alex Jordan" userId="30755697-3be4-4efa-ad5c-ca2e4102b45a" providerId="ADAL" clId="{4864474C-12F9-4B8D-8347-AD25EEBB02C8}" dt="2025-06-18T10:23:19.825" v="6199"/>
          <ac:spMkLst>
            <pc:docMk/>
            <pc:sldMasterMk cId="2342518050" sldId="2147483648"/>
            <ac:spMk id="4" creationId="{D258279D-0A9C-98D3-4222-4991D8128C7C}"/>
          </ac:spMkLst>
        </pc:spChg>
        <pc:spChg chg="mod">
          <ac:chgData name="Alex Jordan" userId="30755697-3be4-4efa-ad5c-ca2e4102b45a" providerId="ADAL" clId="{4864474C-12F9-4B8D-8347-AD25EEBB02C8}" dt="2025-06-18T10:23:19.828" v="6201"/>
          <ac:spMkLst>
            <pc:docMk/>
            <pc:sldMasterMk cId="2342518050" sldId="2147483648"/>
            <ac:spMk id="5" creationId="{2D67F7DB-0C9A-39C8-406F-0D071CF401B1}"/>
          </ac:spMkLst>
        </pc:spChg>
        <pc:spChg chg="mod">
          <ac:chgData name="Alex Jordan" userId="30755697-3be4-4efa-ad5c-ca2e4102b45a" providerId="ADAL" clId="{4864474C-12F9-4B8D-8347-AD25EEBB02C8}" dt="2025-06-18T10:23:19.830" v="6203"/>
          <ac:spMkLst>
            <pc:docMk/>
            <pc:sldMasterMk cId="2342518050" sldId="2147483648"/>
            <ac:spMk id="6" creationId="{E98B73C5-E6C4-9F42-66A7-979833B4332F}"/>
          </ac:spMkLst>
        </pc:spChg>
        <pc:spChg chg="mod">
          <ac:chgData name="Alex Jordan" userId="30755697-3be4-4efa-ad5c-ca2e4102b45a" providerId="ADAL" clId="{4864474C-12F9-4B8D-8347-AD25EEBB02C8}" dt="2025-06-18T10:23:19.832" v="6205" actId="947"/>
          <ac:spMkLst>
            <pc:docMk/>
            <pc:sldMasterMk cId="2342518050" sldId="2147483648"/>
            <ac:spMk id="11" creationId="{9CED7A93-E3A9-324F-69B5-8BAC1A50D4EB}"/>
          </ac:spMkLst>
        </pc:spChg>
        <pc:graphicFrameChg chg="mod">
          <ac:chgData name="Alex Jordan" userId="30755697-3be4-4efa-ad5c-ca2e4102b45a" providerId="ADAL" clId="{4864474C-12F9-4B8D-8347-AD25EEBB02C8}" dt="2025-06-18T10:23:21.733" v="7785"/>
          <ac:graphicFrameMkLst>
            <pc:docMk/>
            <pc:sldMasterMk cId="2342518050" sldId="2147483648"/>
            <ac:graphicFrameMk id="8" creationId="{627C2093-6310-4EF9-9A7F-6BCFC2037EB8}"/>
          </ac:graphicFrameMkLst>
        </pc:graphicFrameChg>
        <pc:sldLayoutChg chg="addSp delSp modSp mod setBg">
          <pc:chgData name="Alex Jordan" userId="30755697-3be4-4efa-ad5c-ca2e4102b45a" providerId="ADAL" clId="{4864474C-12F9-4B8D-8347-AD25EEBB02C8}" dt="2025-06-18T10:23:21.729" v="7777"/>
          <pc:sldLayoutMkLst>
            <pc:docMk/>
            <pc:sldMasterMk cId="2342518050" sldId="2147483648"/>
            <pc:sldLayoutMk cId="1151965975" sldId="2147483649"/>
          </pc:sldLayoutMkLst>
          <pc:spChg chg="mod">
            <ac:chgData name="Alex Jordan" userId="30755697-3be4-4efa-ad5c-ca2e4102b45a" providerId="ADAL" clId="{4864474C-12F9-4B8D-8347-AD25EEBB02C8}" dt="2025-06-18T10:23:21.336" v="7335" actId="948"/>
            <ac:spMkLst>
              <pc:docMk/>
              <pc:sldMasterMk cId="2342518050" sldId="2147483648"/>
              <pc:sldLayoutMk cId="1151965975" sldId="2147483649"/>
              <ac:spMk id="2" creationId="{1162356E-9102-A33D-C9A3-6F10F2E93764}"/>
            </ac:spMkLst>
          </pc:spChg>
          <pc:spChg chg="mod">
            <ac:chgData name="Alex Jordan" userId="30755697-3be4-4efa-ad5c-ca2e4102b45a" providerId="ADAL" clId="{4864474C-12F9-4B8D-8347-AD25EEBB02C8}" dt="2025-06-18T10:23:19.792" v="6177"/>
            <ac:spMkLst>
              <pc:docMk/>
              <pc:sldMasterMk cId="2342518050" sldId="2147483648"/>
              <pc:sldLayoutMk cId="1151965975" sldId="2147483649"/>
              <ac:spMk id="3" creationId="{1112D1E9-E242-0A02-84BC-8E046A97A27E}"/>
            </ac:spMkLst>
          </pc:spChg>
          <pc:spChg chg="mod">
            <ac:chgData name="Alex Jordan" userId="30755697-3be4-4efa-ad5c-ca2e4102b45a" providerId="ADAL" clId="{4864474C-12F9-4B8D-8347-AD25EEBB02C8}" dt="2025-06-18T10:23:19.796" v="6179"/>
            <ac:spMkLst>
              <pc:docMk/>
              <pc:sldMasterMk cId="2342518050" sldId="2147483648"/>
              <pc:sldLayoutMk cId="1151965975" sldId="2147483649"/>
              <ac:spMk id="4" creationId="{0D41CE57-B657-2C29-FD61-0698A670C336}"/>
            </ac:spMkLst>
          </pc:spChg>
          <pc:spChg chg="mod">
            <ac:chgData name="Alex Jordan" userId="30755697-3be4-4efa-ad5c-ca2e4102b45a" providerId="ADAL" clId="{4864474C-12F9-4B8D-8347-AD25EEBB02C8}" dt="2025-06-18T10:23:19.797" v="6181"/>
            <ac:spMkLst>
              <pc:docMk/>
              <pc:sldMasterMk cId="2342518050" sldId="2147483648"/>
              <pc:sldLayoutMk cId="1151965975" sldId="2147483649"/>
              <ac:spMk id="5" creationId="{59137F0A-4F06-B193-7FA7-AE9834B4B0A1}"/>
            </ac:spMkLst>
          </pc:spChg>
          <pc:spChg chg="mod">
            <ac:chgData name="Alex Jordan" userId="30755697-3be4-4efa-ad5c-ca2e4102b45a" providerId="ADAL" clId="{4864474C-12F9-4B8D-8347-AD25EEBB02C8}" dt="2025-06-18T10:23:19.799" v="6183"/>
            <ac:spMkLst>
              <pc:docMk/>
              <pc:sldMasterMk cId="2342518050" sldId="2147483648"/>
              <pc:sldLayoutMk cId="1151965975" sldId="2147483649"/>
              <ac:spMk id="6" creationId="{7293FB84-52C5-EF9D-2DB9-6699385242E9}"/>
            </ac:spMkLst>
          </pc:spChg>
          <pc:graphicFrameChg chg="mod">
            <ac:chgData name="Alex Jordan" userId="30755697-3be4-4efa-ad5c-ca2e4102b45a" providerId="ADAL" clId="{4864474C-12F9-4B8D-8347-AD25EEBB02C8}" dt="2025-06-18T10:23:21.729" v="7777"/>
            <ac:graphicFrameMkLst>
              <pc:docMk/>
              <pc:sldMasterMk cId="2342518050" sldId="2147483648"/>
              <pc:sldLayoutMk cId="1151965975" sldId="2147483649"/>
              <ac:graphicFrameMk id="8" creationId="{BE7B90FA-1D81-D24E-846E-84484F5D0A7B}"/>
            </ac:graphicFrameMkLst>
          </pc:graphicFrameChg>
        </pc:sldLayoutChg>
        <pc:sldLayoutChg chg="addSp delSp modSp mod setBg">
          <pc:chgData name="Alex Jordan" userId="30755697-3be4-4efa-ad5c-ca2e4102b45a" providerId="ADAL" clId="{4864474C-12F9-4B8D-8347-AD25EEBB02C8}" dt="2025-06-18T10:23:21.731" v="7781"/>
          <pc:sldLayoutMkLst>
            <pc:docMk/>
            <pc:sldMasterMk cId="2342518050" sldId="2147483648"/>
            <pc:sldLayoutMk cId="4158031358" sldId="2147483650"/>
          </pc:sldLayoutMkLst>
          <pc:spChg chg="mod">
            <ac:chgData name="Alex Jordan" userId="30755697-3be4-4efa-ad5c-ca2e4102b45a" providerId="ADAL" clId="{4864474C-12F9-4B8D-8347-AD25EEBB02C8}" dt="2025-06-18T10:23:21.355" v="7355" actId="948"/>
            <ac:spMkLst>
              <pc:docMk/>
              <pc:sldMasterMk cId="2342518050" sldId="2147483648"/>
              <pc:sldLayoutMk cId="4158031358" sldId="2147483650"/>
              <ac:spMk id="2" creationId="{FF429B2D-5B7B-18C9-7861-1CC66E9BE08C}"/>
            </ac:spMkLst>
          </pc:spChg>
          <pc:spChg chg="mod">
            <ac:chgData name="Alex Jordan" userId="30755697-3be4-4efa-ad5c-ca2e4102b45a" providerId="ADAL" clId="{4864474C-12F9-4B8D-8347-AD25EEBB02C8}" dt="2025-06-18T10:23:19.808" v="6187"/>
            <ac:spMkLst>
              <pc:docMk/>
              <pc:sldMasterMk cId="2342518050" sldId="2147483648"/>
              <pc:sldLayoutMk cId="4158031358" sldId="2147483650"/>
              <ac:spMk id="3" creationId="{89AD6466-1560-1701-3D6B-9D540C12F49B}"/>
            </ac:spMkLst>
          </pc:spChg>
          <pc:spChg chg="mod">
            <ac:chgData name="Alex Jordan" userId="30755697-3be4-4efa-ad5c-ca2e4102b45a" providerId="ADAL" clId="{4864474C-12F9-4B8D-8347-AD25EEBB02C8}" dt="2025-06-18T10:23:19.811" v="6189"/>
            <ac:spMkLst>
              <pc:docMk/>
              <pc:sldMasterMk cId="2342518050" sldId="2147483648"/>
              <pc:sldLayoutMk cId="4158031358" sldId="2147483650"/>
              <ac:spMk id="4" creationId="{FB8FD672-9C52-3359-6CD9-962CB4247F71}"/>
            </ac:spMkLst>
          </pc:spChg>
          <pc:spChg chg="mod">
            <ac:chgData name="Alex Jordan" userId="30755697-3be4-4efa-ad5c-ca2e4102b45a" providerId="ADAL" clId="{4864474C-12F9-4B8D-8347-AD25EEBB02C8}" dt="2025-06-18T10:23:19.813" v="6191"/>
            <ac:spMkLst>
              <pc:docMk/>
              <pc:sldMasterMk cId="2342518050" sldId="2147483648"/>
              <pc:sldLayoutMk cId="4158031358" sldId="2147483650"/>
              <ac:spMk id="5" creationId="{9E9B7511-3272-B5E9-13FF-936866146258}"/>
            </ac:spMkLst>
          </pc:spChg>
          <pc:spChg chg="mod">
            <ac:chgData name="Alex Jordan" userId="30755697-3be4-4efa-ad5c-ca2e4102b45a" providerId="ADAL" clId="{4864474C-12F9-4B8D-8347-AD25EEBB02C8}" dt="2025-06-18T10:23:19.815" v="6193"/>
            <ac:spMkLst>
              <pc:docMk/>
              <pc:sldMasterMk cId="2342518050" sldId="2147483648"/>
              <pc:sldLayoutMk cId="4158031358" sldId="2147483650"/>
              <ac:spMk id="6" creationId="{38BB8EF6-6222-7665-3F8E-A6093D701149}"/>
            </ac:spMkLst>
          </pc:spChg>
          <pc:graphicFrameChg chg="mod">
            <ac:chgData name="Alex Jordan" userId="30755697-3be4-4efa-ad5c-ca2e4102b45a" providerId="ADAL" clId="{4864474C-12F9-4B8D-8347-AD25EEBB02C8}" dt="2025-06-18T10:23:21.731" v="7781"/>
            <ac:graphicFrameMkLst>
              <pc:docMk/>
              <pc:sldMasterMk cId="2342518050" sldId="2147483648"/>
              <pc:sldLayoutMk cId="4158031358" sldId="2147483650"/>
              <ac:graphicFrameMk id="8" creationId="{124ACD37-19F7-B258-024D-C10B633BFFF1}"/>
            </ac:graphicFrameMkLst>
          </pc:graphicFrameChg>
        </pc:sldLayoutChg>
        <pc:sldLayoutChg chg="addSp delSp modSp mod setBg">
          <pc:chgData name="Alex Jordan" userId="30755697-3be4-4efa-ad5c-ca2e4102b45a" providerId="ADAL" clId="{4864474C-12F9-4B8D-8347-AD25EEBB02C8}" dt="2025-06-18T10:23:21.724" v="7769"/>
          <pc:sldLayoutMkLst>
            <pc:docMk/>
            <pc:sldMasterMk cId="2342518050" sldId="2147483648"/>
            <pc:sldLayoutMk cId="2186074118" sldId="2147483651"/>
          </pc:sldLayoutMkLst>
          <pc:spChg chg="mod">
            <ac:chgData name="Alex Jordan" userId="30755697-3be4-4efa-ad5c-ca2e4102b45a" providerId="ADAL" clId="{4864474C-12F9-4B8D-8347-AD25EEBB02C8}" dt="2025-06-18T10:23:21.297" v="7295" actId="948"/>
            <ac:spMkLst>
              <pc:docMk/>
              <pc:sldMasterMk cId="2342518050" sldId="2147483648"/>
              <pc:sldLayoutMk cId="2186074118" sldId="2147483651"/>
              <ac:spMk id="2" creationId="{029AF41C-714A-0EFA-21BB-AF5396CA4C76}"/>
            </ac:spMkLst>
          </pc:spChg>
          <pc:spChg chg="mod">
            <ac:chgData name="Alex Jordan" userId="30755697-3be4-4efa-ad5c-ca2e4102b45a" providerId="ADAL" clId="{4864474C-12F9-4B8D-8347-AD25EEBB02C8}" dt="2025-06-18T10:23:19.765" v="6155"/>
            <ac:spMkLst>
              <pc:docMk/>
              <pc:sldMasterMk cId="2342518050" sldId="2147483648"/>
              <pc:sldLayoutMk cId="2186074118" sldId="2147483651"/>
              <ac:spMk id="3" creationId="{AE27D273-8BC3-9814-6CEE-FCADC34531D7}"/>
            </ac:spMkLst>
          </pc:spChg>
          <pc:spChg chg="mod">
            <ac:chgData name="Alex Jordan" userId="30755697-3be4-4efa-ad5c-ca2e4102b45a" providerId="ADAL" clId="{4864474C-12F9-4B8D-8347-AD25EEBB02C8}" dt="2025-06-18T10:23:19.767" v="6157"/>
            <ac:spMkLst>
              <pc:docMk/>
              <pc:sldMasterMk cId="2342518050" sldId="2147483648"/>
              <pc:sldLayoutMk cId="2186074118" sldId="2147483651"/>
              <ac:spMk id="4" creationId="{D7B910DB-82BE-25BE-A479-8C82E75076EA}"/>
            </ac:spMkLst>
          </pc:spChg>
          <pc:spChg chg="mod">
            <ac:chgData name="Alex Jordan" userId="30755697-3be4-4efa-ad5c-ca2e4102b45a" providerId="ADAL" clId="{4864474C-12F9-4B8D-8347-AD25EEBB02C8}" dt="2025-06-18T10:23:19.770" v="6159"/>
            <ac:spMkLst>
              <pc:docMk/>
              <pc:sldMasterMk cId="2342518050" sldId="2147483648"/>
              <pc:sldLayoutMk cId="2186074118" sldId="2147483651"/>
              <ac:spMk id="5" creationId="{3BBCECB4-6B5A-E17A-A78A-2C19B3919A22}"/>
            </ac:spMkLst>
          </pc:spChg>
          <pc:spChg chg="mod">
            <ac:chgData name="Alex Jordan" userId="30755697-3be4-4efa-ad5c-ca2e4102b45a" providerId="ADAL" clId="{4864474C-12F9-4B8D-8347-AD25EEBB02C8}" dt="2025-06-18T10:23:19.772" v="6161"/>
            <ac:spMkLst>
              <pc:docMk/>
              <pc:sldMasterMk cId="2342518050" sldId="2147483648"/>
              <pc:sldLayoutMk cId="2186074118" sldId="2147483651"/>
              <ac:spMk id="6" creationId="{E5DD0249-7A6E-4BCB-CF41-D3AC61F9A9E5}"/>
            </ac:spMkLst>
          </pc:spChg>
          <pc:graphicFrameChg chg="mod">
            <ac:chgData name="Alex Jordan" userId="30755697-3be4-4efa-ad5c-ca2e4102b45a" providerId="ADAL" clId="{4864474C-12F9-4B8D-8347-AD25EEBB02C8}" dt="2025-06-18T10:23:21.724" v="7769"/>
            <ac:graphicFrameMkLst>
              <pc:docMk/>
              <pc:sldMasterMk cId="2342518050" sldId="2147483648"/>
              <pc:sldLayoutMk cId="2186074118" sldId="2147483651"/>
              <ac:graphicFrameMk id="8" creationId="{8892FBB6-BA93-E48A-E891-B0B30A4B8EEF}"/>
            </ac:graphicFrameMkLst>
          </pc:graphicFrameChg>
        </pc:sldLayoutChg>
        <pc:sldLayoutChg chg="addSp delSp modSp mod setBg">
          <pc:chgData name="Alex Jordan" userId="30755697-3be4-4efa-ad5c-ca2e4102b45a" providerId="ADAL" clId="{4864474C-12F9-4B8D-8347-AD25EEBB02C8}" dt="2025-06-18T10:23:21.726" v="7773"/>
          <pc:sldLayoutMkLst>
            <pc:docMk/>
            <pc:sldMasterMk cId="2342518050" sldId="2147483648"/>
            <pc:sldLayoutMk cId="4080343952" sldId="2147483652"/>
          </pc:sldLayoutMkLst>
          <pc:spChg chg="mod">
            <ac:chgData name="Alex Jordan" userId="30755697-3be4-4efa-ad5c-ca2e4102b45a" providerId="ADAL" clId="{4864474C-12F9-4B8D-8347-AD25EEBB02C8}" dt="2025-06-18T10:23:21.316" v="7315" actId="948"/>
            <ac:spMkLst>
              <pc:docMk/>
              <pc:sldMasterMk cId="2342518050" sldId="2147483648"/>
              <pc:sldLayoutMk cId="4080343952" sldId="2147483652"/>
              <ac:spMk id="2" creationId="{E47B229F-4489-43AD-7FF3-2926C961E06E}"/>
            </ac:spMkLst>
          </pc:spChg>
          <pc:spChg chg="mod">
            <ac:chgData name="Alex Jordan" userId="30755697-3be4-4efa-ad5c-ca2e4102b45a" providerId="ADAL" clId="{4864474C-12F9-4B8D-8347-AD25EEBB02C8}" dt="2025-06-18T10:23:19.778" v="6165"/>
            <ac:spMkLst>
              <pc:docMk/>
              <pc:sldMasterMk cId="2342518050" sldId="2147483648"/>
              <pc:sldLayoutMk cId="4080343952" sldId="2147483652"/>
              <ac:spMk id="3" creationId="{401D123A-C81E-E491-2888-723947C363DE}"/>
            </ac:spMkLst>
          </pc:spChg>
          <pc:spChg chg="mod">
            <ac:chgData name="Alex Jordan" userId="30755697-3be4-4efa-ad5c-ca2e4102b45a" providerId="ADAL" clId="{4864474C-12F9-4B8D-8347-AD25EEBB02C8}" dt="2025-06-18T10:23:19.781" v="6167"/>
            <ac:spMkLst>
              <pc:docMk/>
              <pc:sldMasterMk cId="2342518050" sldId="2147483648"/>
              <pc:sldLayoutMk cId="4080343952" sldId="2147483652"/>
              <ac:spMk id="4" creationId="{F68DC563-59E6-1D9A-2768-1E4CEE2DD202}"/>
            </ac:spMkLst>
          </pc:spChg>
          <pc:spChg chg="mod">
            <ac:chgData name="Alex Jordan" userId="30755697-3be4-4efa-ad5c-ca2e4102b45a" providerId="ADAL" clId="{4864474C-12F9-4B8D-8347-AD25EEBB02C8}" dt="2025-06-18T10:23:19.783" v="6169"/>
            <ac:spMkLst>
              <pc:docMk/>
              <pc:sldMasterMk cId="2342518050" sldId="2147483648"/>
              <pc:sldLayoutMk cId="4080343952" sldId="2147483652"/>
              <ac:spMk id="5" creationId="{B05DF0F1-EEEE-C39D-7C9F-E7235CE2D1CE}"/>
            </ac:spMkLst>
          </pc:spChg>
          <pc:spChg chg="mod">
            <ac:chgData name="Alex Jordan" userId="30755697-3be4-4efa-ad5c-ca2e4102b45a" providerId="ADAL" clId="{4864474C-12F9-4B8D-8347-AD25EEBB02C8}" dt="2025-06-18T10:23:19.785" v="6171"/>
            <ac:spMkLst>
              <pc:docMk/>
              <pc:sldMasterMk cId="2342518050" sldId="2147483648"/>
              <pc:sldLayoutMk cId="4080343952" sldId="2147483652"/>
              <ac:spMk id="6" creationId="{6BE57CD6-3ED0-871A-0DBD-F4C67076B964}"/>
            </ac:spMkLst>
          </pc:spChg>
          <pc:spChg chg="mod">
            <ac:chgData name="Alex Jordan" userId="30755697-3be4-4efa-ad5c-ca2e4102b45a" providerId="ADAL" clId="{4864474C-12F9-4B8D-8347-AD25EEBB02C8}" dt="2025-06-18T10:23:19.788" v="6173"/>
            <ac:spMkLst>
              <pc:docMk/>
              <pc:sldMasterMk cId="2342518050" sldId="2147483648"/>
              <pc:sldLayoutMk cId="4080343952" sldId="2147483652"/>
              <ac:spMk id="7" creationId="{BB8FD6BB-484C-A580-BF52-7B6440B39541}"/>
            </ac:spMkLst>
          </pc:spChg>
          <pc:graphicFrameChg chg="mod">
            <ac:chgData name="Alex Jordan" userId="30755697-3be4-4efa-ad5c-ca2e4102b45a" providerId="ADAL" clId="{4864474C-12F9-4B8D-8347-AD25EEBB02C8}" dt="2025-06-18T10:23:21.726" v="7773"/>
            <ac:graphicFrameMkLst>
              <pc:docMk/>
              <pc:sldMasterMk cId="2342518050" sldId="2147483648"/>
              <pc:sldLayoutMk cId="4080343952" sldId="2147483652"/>
              <ac:graphicFrameMk id="9" creationId="{D20B9872-7C28-8DE0-5D2F-DD1AC6992989}"/>
            </ac:graphicFrameMkLst>
          </pc:graphicFrameChg>
        </pc:sldLayoutChg>
        <pc:sldLayoutChg chg="addSp delSp modSp mod setBg">
          <pc:chgData name="Alex Jordan" userId="30755697-3be4-4efa-ad5c-ca2e4102b45a" providerId="ADAL" clId="{4864474C-12F9-4B8D-8347-AD25EEBB02C8}" dt="2025-06-18T10:23:21.722" v="7765"/>
          <pc:sldLayoutMkLst>
            <pc:docMk/>
            <pc:sldMasterMk cId="2342518050" sldId="2147483648"/>
            <pc:sldLayoutMk cId="3679905021" sldId="2147483653"/>
          </pc:sldLayoutMkLst>
          <pc:spChg chg="mod">
            <ac:chgData name="Alex Jordan" userId="30755697-3be4-4efa-ad5c-ca2e4102b45a" providerId="ADAL" clId="{4864474C-12F9-4B8D-8347-AD25EEBB02C8}" dt="2025-06-18T10:23:21.278" v="7275" actId="948"/>
            <ac:spMkLst>
              <pc:docMk/>
              <pc:sldMasterMk cId="2342518050" sldId="2147483648"/>
              <pc:sldLayoutMk cId="3679905021" sldId="2147483653"/>
              <ac:spMk id="2" creationId="{3FDFCF9A-F688-4810-5575-FEA50CCC69A1}"/>
            </ac:spMkLst>
          </pc:spChg>
          <pc:spChg chg="mod">
            <ac:chgData name="Alex Jordan" userId="30755697-3be4-4efa-ad5c-ca2e4102b45a" providerId="ADAL" clId="{4864474C-12F9-4B8D-8347-AD25EEBB02C8}" dt="2025-06-18T10:23:19.745" v="6139"/>
            <ac:spMkLst>
              <pc:docMk/>
              <pc:sldMasterMk cId="2342518050" sldId="2147483648"/>
              <pc:sldLayoutMk cId="3679905021" sldId="2147483653"/>
              <ac:spMk id="3" creationId="{D080867B-381B-0CA1-5BE3-20DB27F9790F}"/>
            </ac:spMkLst>
          </pc:spChg>
          <pc:spChg chg="mod">
            <ac:chgData name="Alex Jordan" userId="30755697-3be4-4efa-ad5c-ca2e4102b45a" providerId="ADAL" clId="{4864474C-12F9-4B8D-8347-AD25EEBB02C8}" dt="2025-06-18T10:23:19.748" v="6141"/>
            <ac:spMkLst>
              <pc:docMk/>
              <pc:sldMasterMk cId="2342518050" sldId="2147483648"/>
              <pc:sldLayoutMk cId="3679905021" sldId="2147483653"/>
              <ac:spMk id="4" creationId="{1BC9348F-926F-6E0D-7740-8B19C11DE409}"/>
            </ac:spMkLst>
          </pc:spChg>
          <pc:spChg chg="mod">
            <ac:chgData name="Alex Jordan" userId="30755697-3be4-4efa-ad5c-ca2e4102b45a" providerId="ADAL" clId="{4864474C-12F9-4B8D-8347-AD25EEBB02C8}" dt="2025-06-18T10:23:19.750" v="6143"/>
            <ac:spMkLst>
              <pc:docMk/>
              <pc:sldMasterMk cId="2342518050" sldId="2147483648"/>
              <pc:sldLayoutMk cId="3679905021" sldId="2147483653"/>
              <ac:spMk id="5" creationId="{F978CC2B-32DE-769B-6BF9-1F46FD80463F}"/>
            </ac:spMkLst>
          </pc:spChg>
          <pc:spChg chg="mod">
            <ac:chgData name="Alex Jordan" userId="30755697-3be4-4efa-ad5c-ca2e4102b45a" providerId="ADAL" clId="{4864474C-12F9-4B8D-8347-AD25EEBB02C8}" dt="2025-06-18T10:23:19.754" v="6145"/>
            <ac:spMkLst>
              <pc:docMk/>
              <pc:sldMasterMk cId="2342518050" sldId="2147483648"/>
              <pc:sldLayoutMk cId="3679905021" sldId="2147483653"/>
              <ac:spMk id="6" creationId="{614998D4-BE9E-D84F-27ED-BAD05836E97B}"/>
            </ac:spMkLst>
          </pc:spChg>
          <pc:spChg chg="mod">
            <ac:chgData name="Alex Jordan" userId="30755697-3be4-4efa-ad5c-ca2e4102b45a" providerId="ADAL" clId="{4864474C-12F9-4B8D-8347-AD25EEBB02C8}" dt="2025-06-18T10:23:19.757" v="6147"/>
            <ac:spMkLst>
              <pc:docMk/>
              <pc:sldMasterMk cId="2342518050" sldId="2147483648"/>
              <pc:sldLayoutMk cId="3679905021" sldId="2147483653"/>
              <ac:spMk id="7" creationId="{857DC6F4-8BB3-3910-2B48-660B670AFCAD}"/>
            </ac:spMkLst>
          </pc:spChg>
          <pc:spChg chg="mod">
            <ac:chgData name="Alex Jordan" userId="30755697-3be4-4efa-ad5c-ca2e4102b45a" providerId="ADAL" clId="{4864474C-12F9-4B8D-8347-AD25EEBB02C8}" dt="2025-06-18T10:23:19.759" v="6149"/>
            <ac:spMkLst>
              <pc:docMk/>
              <pc:sldMasterMk cId="2342518050" sldId="2147483648"/>
              <pc:sldLayoutMk cId="3679905021" sldId="2147483653"/>
              <ac:spMk id="8" creationId="{81BC6D97-0D00-ED14-5CD0-B2F263161465}"/>
            </ac:spMkLst>
          </pc:spChg>
          <pc:spChg chg="mod">
            <ac:chgData name="Alex Jordan" userId="30755697-3be4-4efa-ad5c-ca2e4102b45a" providerId="ADAL" clId="{4864474C-12F9-4B8D-8347-AD25EEBB02C8}" dt="2025-06-18T10:23:19.761" v="6151"/>
            <ac:spMkLst>
              <pc:docMk/>
              <pc:sldMasterMk cId="2342518050" sldId="2147483648"/>
              <pc:sldLayoutMk cId="3679905021" sldId="2147483653"/>
              <ac:spMk id="9" creationId="{6346A510-1829-02A4-B864-6BEA192B74BA}"/>
            </ac:spMkLst>
          </pc:spChg>
          <pc:graphicFrameChg chg="mod">
            <ac:chgData name="Alex Jordan" userId="30755697-3be4-4efa-ad5c-ca2e4102b45a" providerId="ADAL" clId="{4864474C-12F9-4B8D-8347-AD25EEBB02C8}" dt="2025-06-18T10:23:21.722" v="7765"/>
            <ac:graphicFrameMkLst>
              <pc:docMk/>
              <pc:sldMasterMk cId="2342518050" sldId="2147483648"/>
              <pc:sldLayoutMk cId="3679905021" sldId="2147483653"/>
              <ac:graphicFrameMk id="11" creationId="{D163B1B1-5F54-2480-3AA5-09BC484E2E31}"/>
            </ac:graphicFrameMkLst>
          </pc:graphicFrameChg>
        </pc:sldLayoutChg>
        <pc:sldLayoutChg chg="addSp delSp modSp mod setBg">
          <pc:chgData name="Alex Jordan" userId="30755697-3be4-4efa-ad5c-ca2e4102b45a" providerId="ADAL" clId="{4864474C-12F9-4B8D-8347-AD25EEBB02C8}" dt="2025-06-18T10:23:21.720" v="7761"/>
          <pc:sldLayoutMkLst>
            <pc:docMk/>
            <pc:sldMasterMk cId="2342518050" sldId="2147483648"/>
            <pc:sldLayoutMk cId="3183188263" sldId="2147483654"/>
          </pc:sldLayoutMkLst>
          <pc:spChg chg="mod">
            <ac:chgData name="Alex Jordan" userId="30755697-3be4-4efa-ad5c-ca2e4102b45a" providerId="ADAL" clId="{4864474C-12F9-4B8D-8347-AD25EEBB02C8}" dt="2025-06-18T10:23:21.260" v="7255" actId="948"/>
            <ac:spMkLst>
              <pc:docMk/>
              <pc:sldMasterMk cId="2342518050" sldId="2147483648"/>
              <pc:sldLayoutMk cId="3183188263" sldId="2147483654"/>
              <ac:spMk id="2" creationId="{CFDEDE09-5EA7-9D35-22D6-94C76EB233D2}"/>
            </ac:spMkLst>
          </pc:spChg>
          <pc:spChg chg="mod">
            <ac:chgData name="Alex Jordan" userId="30755697-3be4-4efa-ad5c-ca2e4102b45a" providerId="ADAL" clId="{4864474C-12F9-4B8D-8347-AD25EEBB02C8}" dt="2025-06-18T10:23:19.733" v="6131"/>
            <ac:spMkLst>
              <pc:docMk/>
              <pc:sldMasterMk cId="2342518050" sldId="2147483648"/>
              <pc:sldLayoutMk cId="3183188263" sldId="2147483654"/>
              <ac:spMk id="3" creationId="{2B3689C9-FCD2-EF7B-1A32-5C241210087D}"/>
            </ac:spMkLst>
          </pc:spChg>
          <pc:spChg chg="mod">
            <ac:chgData name="Alex Jordan" userId="30755697-3be4-4efa-ad5c-ca2e4102b45a" providerId="ADAL" clId="{4864474C-12F9-4B8D-8347-AD25EEBB02C8}" dt="2025-06-18T10:23:19.735" v="6133"/>
            <ac:spMkLst>
              <pc:docMk/>
              <pc:sldMasterMk cId="2342518050" sldId="2147483648"/>
              <pc:sldLayoutMk cId="3183188263" sldId="2147483654"/>
              <ac:spMk id="4" creationId="{E2E20DD5-861D-BC5D-4A3A-D579067F0F8F}"/>
            </ac:spMkLst>
          </pc:spChg>
          <pc:spChg chg="mod">
            <ac:chgData name="Alex Jordan" userId="30755697-3be4-4efa-ad5c-ca2e4102b45a" providerId="ADAL" clId="{4864474C-12F9-4B8D-8347-AD25EEBB02C8}" dt="2025-06-18T10:23:19.737" v="6135"/>
            <ac:spMkLst>
              <pc:docMk/>
              <pc:sldMasterMk cId="2342518050" sldId="2147483648"/>
              <pc:sldLayoutMk cId="3183188263" sldId="2147483654"/>
              <ac:spMk id="5" creationId="{8BA80130-827A-FB0E-25DA-FFF79A0564E2}"/>
            </ac:spMkLst>
          </pc:spChg>
          <pc:graphicFrameChg chg="mod">
            <ac:chgData name="Alex Jordan" userId="30755697-3be4-4efa-ad5c-ca2e4102b45a" providerId="ADAL" clId="{4864474C-12F9-4B8D-8347-AD25EEBB02C8}" dt="2025-06-18T10:23:21.720" v="7761"/>
            <ac:graphicFrameMkLst>
              <pc:docMk/>
              <pc:sldMasterMk cId="2342518050" sldId="2147483648"/>
              <pc:sldLayoutMk cId="3183188263" sldId="2147483654"/>
              <ac:graphicFrameMk id="7" creationId="{40702A65-1F71-8026-5E52-80A06CF7B24D}"/>
            </ac:graphicFrameMkLst>
          </pc:graphicFrameChg>
        </pc:sldLayoutChg>
        <pc:sldLayoutChg chg="modSp mod setBg">
          <pc:chgData name="Alex Jordan" userId="30755697-3be4-4efa-ad5c-ca2e4102b45a" providerId="ADAL" clId="{4864474C-12F9-4B8D-8347-AD25EEBB02C8}" dt="2025-06-18T10:23:21.716" v="7757"/>
          <pc:sldLayoutMkLst>
            <pc:docMk/>
            <pc:sldMasterMk cId="2342518050" sldId="2147483648"/>
            <pc:sldLayoutMk cId="217843775" sldId="2147483655"/>
          </pc:sldLayoutMkLst>
          <pc:spChg chg="mod">
            <ac:chgData name="Alex Jordan" userId="30755697-3be4-4efa-ad5c-ca2e4102b45a" providerId="ADAL" clId="{4864474C-12F9-4B8D-8347-AD25EEBB02C8}" dt="2025-06-18T10:23:19.721" v="6123"/>
            <ac:spMkLst>
              <pc:docMk/>
              <pc:sldMasterMk cId="2342518050" sldId="2147483648"/>
              <pc:sldLayoutMk cId="217843775" sldId="2147483655"/>
              <ac:spMk id="2" creationId="{65E48026-C3E7-73B7-0726-84ACB0AA432E}"/>
            </ac:spMkLst>
          </pc:spChg>
          <pc:spChg chg="mod">
            <ac:chgData name="Alex Jordan" userId="30755697-3be4-4efa-ad5c-ca2e4102b45a" providerId="ADAL" clId="{4864474C-12F9-4B8D-8347-AD25EEBB02C8}" dt="2025-06-18T10:23:19.724" v="6125"/>
            <ac:spMkLst>
              <pc:docMk/>
              <pc:sldMasterMk cId="2342518050" sldId="2147483648"/>
              <pc:sldLayoutMk cId="217843775" sldId="2147483655"/>
              <ac:spMk id="3" creationId="{8AE68746-518B-0A8C-30FE-3A52218B1684}"/>
            </ac:spMkLst>
          </pc:spChg>
          <pc:spChg chg="mod">
            <ac:chgData name="Alex Jordan" userId="30755697-3be4-4efa-ad5c-ca2e4102b45a" providerId="ADAL" clId="{4864474C-12F9-4B8D-8347-AD25EEBB02C8}" dt="2025-06-18T10:23:19.726" v="6127"/>
            <ac:spMkLst>
              <pc:docMk/>
              <pc:sldMasterMk cId="2342518050" sldId="2147483648"/>
              <pc:sldLayoutMk cId="217843775" sldId="2147483655"/>
              <ac:spMk id="4" creationId="{9DA504FB-072D-F6A7-D17D-2B5B8D677F94}"/>
            </ac:spMkLst>
          </pc:spChg>
          <pc:graphicFrameChg chg="mod">
            <ac:chgData name="Alex Jordan" userId="30755697-3be4-4efa-ad5c-ca2e4102b45a" providerId="ADAL" clId="{4864474C-12F9-4B8D-8347-AD25EEBB02C8}" dt="2025-06-18T10:23:21.716" v="7757"/>
            <ac:graphicFrameMkLst>
              <pc:docMk/>
              <pc:sldMasterMk cId="2342518050" sldId="2147483648"/>
              <pc:sldLayoutMk cId="217843775" sldId="2147483655"/>
              <ac:graphicFrameMk id="5" creationId="{2A817C83-4261-5EE9-BA50-774A71F5F818}"/>
            </ac:graphicFrameMkLst>
          </pc:graphicFrameChg>
        </pc:sldLayoutChg>
        <pc:sldLayoutChg chg="addSp delSp modSp mod setBg">
          <pc:chgData name="Alex Jordan" userId="30755697-3be4-4efa-ad5c-ca2e4102b45a" providerId="ADAL" clId="{4864474C-12F9-4B8D-8347-AD25EEBB02C8}" dt="2025-06-18T10:23:21.737" v="7789"/>
          <pc:sldLayoutMkLst>
            <pc:docMk/>
            <pc:sldMasterMk cId="2342518050" sldId="2147483648"/>
            <pc:sldLayoutMk cId="3614546267" sldId="2147483656"/>
          </pc:sldLayoutMkLst>
          <pc:spChg chg="mod">
            <ac:chgData name="Alex Jordan" userId="30755697-3be4-4efa-ad5c-ca2e4102b45a" providerId="ADAL" clId="{4864474C-12F9-4B8D-8347-AD25EEBB02C8}" dt="2025-06-18T10:23:21.393" v="7395" actId="948"/>
            <ac:spMkLst>
              <pc:docMk/>
              <pc:sldMasterMk cId="2342518050" sldId="2147483648"/>
              <pc:sldLayoutMk cId="3614546267" sldId="2147483656"/>
              <ac:spMk id="2" creationId="{78B47DD5-819F-5B05-7036-0957BEBD0A66}"/>
            </ac:spMkLst>
          </pc:spChg>
          <pc:spChg chg="mod">
            <ac:chgData name="Alex Jordan" userId="30755697-3be4-4efa-ad5c-ca2e4102b45a" providerId="ADAL" clId="{4864474C-12F9-4B8D-8347-AD25EEBB02C8}" dt="2025-06-18T10:23:19.839" v="6209"/>
            <ac:spMkLst>
              <pc:docMk/>
              <pc:sldMasterMk cId="2342518050" sldId="2147483648"/>
              <pc:sldLayoutMk cId="3614546267" sldId="2147483656"/>
              <ac:spMk id="3" creationId="{F0DDA3EA-DA5A-233C-DA7C-10D234AE27C5}"/>
            </ac:spMkLst>
          </pc:spChg>
          <pc:spChg chg="mod">
            <ac:chgData name="Alex Jordan" userId="30755697-3be4-4efa-ad5c-ca2e4102b45a" providerId="ADAL" clId="{4864474C-12F9-4B8D-8347-AD25EEBB02C8}" dt="2025-06-18T10:23:19.842" v="6211"/>
            <ac:spMkLst>
              <pc:docMk/>
              <pc:sldMasterMk cId="2342518050" sldId="2147483648"/>
              <pc:sldLayoutMk cId="3614546267" sldId="2147483656"/>
              <ac:spMk id="4" creationId="{AAA00261-1333-391E-3B48-991236F2CBB9}"/>
            </ac:spMkLst>
          </pc:spChg>
          <pc:spChg chg="mod">
            <ac:chgData name="Alex Jordan" userId="30755697-3be4-4efa-ad5c-ca2e4102b45a" providerId="ADAL" clId="{4864474C-12F9-4B8D-8347-AD25EEBB02C8}" dt="2025-06-18T10:23:19.843" v="6213"/>
            <ac:spMkLst>
              <pc:docMk/>
              <pc:sldMasterMk cId="2342518050" sldId="2147483648"/>
              <pc:sldLayoutMk cId="3614546267" sldId="2147483656"/>
              <ac:spMk id="5" creationId="{EC0DF5DD-7294-8932-3BD3-7084FB0B0931}"/>
            </ac:spMkLst>
          </pc:spChg>
          <pc:spChg chg="mod">
            <ac:chgData name="Alex Jordan" userId="30755697-3be4-4efa-ad5c-ca2e4102b45a" providerId="ADAL" clId="{4864474C-12F9-4B8D-8347-AD25EEBB02C8}" dt="2025-06-18T10:23:19.845" v="6215"/>
            <ac:spMkLst>
              <pc:docMk/>
              <pc:sldMasterMk cId="2342518050" sldId="2147483648"/>
              <pc:sldLayoutMk cId="3614546267" sldId="2147483656"/>
              <ac:spMk id="6" creationId="{3263E19F-3B5A-FC03-E586-CE49E3CA2F9A}"/>
            </ac:spMkLst>
          </pc:spChg>
          <pc:spChg chg="mod">
            <ac:chgData name="Alex Jordan" userId="30755697-3be4-4efa-ad5c-ca2e4102b45a" providerId="ADAL" clId="{4864474C-12F9-4B8D-8347-AD25EEBB02C8}" dt="2025-06-18T10:23:19.847" v="6217"/>
            <ac:spMkLst>
              <pc:docMk/>
              <pc:sldMasterMk cId="2342518050" sldId="2147483648"/>
              <pc:sldLayoutMk cId="3614546267" sldId="2147483656"/>
              <ac:spMk id="7" creationId="{22EFEDE0-EFCA-D2F2-624E-AB2AE9543265}"/>
            </ac:spMkLst>
          </pc:spChg>
          <pc:graphicFrameChg chg="mod">
            <ac:chgData name="Alex Jordan" userId="30755697-3be4-4efa-ad5c-ca2e4102b45a" providerId="ADAL" clId="{4864474C-12F9-4B8D-8347-AD25EEBB02C8}" dt="2025-06-18T10:23:21.737" v="7789"/>
            <ac:graphicFrameMkLst>
              <pc:docMk/>
              <pc:sldMasterMk cId="2342518050" sldId="2147483648"/>
              <pc:sldLayoutMk cId="3614546267" sldId="2147483656"/>
              <ac:graphicFrameMk id="9" creationId="{4FBE11DA-8CA6-A2C9-532B-D58E26FD1A9A}"/>
            </ac:graphicFrameMkLst>
          </pc:graphicFrameChg>
        </pc:sldLayoutChg>
        <pc:sldLayoutChg chg="addSp delSp modSp mod setBg">
          <pc:chgData name="Alex Jordan" userId="30755697-3be4-4efa-ad5c-ca2e4102b45a" providerId="ADAL" clId="{4864474C-12F9-4B8D-8347-AD25EEBB02C8}" dt="2025-06-18T10:23:21.739" v="7793"/>
          <pc:sldLayoutMkLst>
            <pc:docMk/>
            <pc:sldMasterMk cId="2342518050" sldId="2147483648"/>
            <pc:sldLayoutMk cId="3978811354" sldId="2147483657"/>
          </pc:sldLayoutMkLst>
          <pc:spChg chg="mod">
            <ac:chgData name="Alex Jordan" userId="30755697-3be4-4efa-ad5c-ca2e4102b45a" providerId="ADAL" clId="{4864474C-12F9-4B8D-8347-AD25EEBB02C8}" dt="2025-06-18T10:23:21.411" v="7415" actId="948"/>
            <ac:spMkLst>
              <pc:docMk/>
              <pc:sldMasterMk cId="2342518050" sldId="2147483648"/>
              <pc:sldLayoutMk cId="3978811354" sldId="2147483657"/>
              <ac:spMk id="2" creationId="{49C1EA3D-987F-CBAA-15F5-4E4213B6B95A}"/>
            </ac:spMkLst>
          </pc:spChg>
          <pc:spChg chg="mod">
            <ac:chgData name="Alex Jordan" userId="30755697-3be4-4efa-ad5c-ca2e4102b45a" providerId="ADAL" clId="{4864474C-12F9-4B8D-8347-AD25EEBB02C8}" dt="2025-06-18T10:23:19.852" v="6221"/>
            <ac:spMkLst>
              <pc:docMk/>
              <pc:sldMasterMk cId="2342518050" sldId="2147483648"/>
              <pc:sldLayoutMk cId="3978811354" sldId="2147483657"/>
              <ac:spMk id="4" creationId="{034C3DE9-45B7-CB8B-15F0-DCB77CE41E06}"/>
            </ac:spMkLst>
          </pc:spChg>
          <pc:spChg chg="mod">
            <ac:chgData name="Alex Jordan" userId="30755697-3be4-4efa-ad5c-ca2e4102b45a" providerId="ADAL" clId="{4864474C-12F9-4B8D-8347-AD25EEBB02C8}" dt="2025-06-18T10:23:19.854" v="6223"/>
            <ac:spMkLst>
              <pc:docMk/>
              <pc:sldMasterMk cId="2342518050" sldId="2147483648"/>
              <pc:sldLayoutMk cId="3978811354" sldId="2147483657"/>
              <ac:spMk id="5" creationId="{0C05A8D0-B76A-96D9-D519-712562B27885}"/>
            </ac:spMkLst>
          </pc:spChg>
          <pc:spChg chg="mod">
            <ac:chgData name="Alex Jordan" userId="30755697-3be4-4efa-ad5c-ca2e4102b45a" providerId="ADAL" clId="{4864474C-12F9-4B8D-8347-AD25EEBB02C8}" dt="2025-06-18T10:23:19.856" v="6225"/>
            <ac:spMkLst>
              <pc:docMk/>
              <pc:sldMasterMk cId="2342518050" sldId="2147483648"/>
              <pc:sldLayoutMk cId="3978811354" sldId="2147483657"/>
              <ac:spMk id="6" creationId="{1D75375B-7F6F-64FA-80AF-EA2F4EC1EAD3}"/>
            </ac:spMkLst>
          </pc:spChg>
          <pc:spChg chg="mod">
            <ac:chgData name="Alex Jordan" userId="30755697-3be4-4efa-ad5c-ca2e4102b45a" providerId="ADAL" clId="{4864474C-12F9-4B8D-8347-AD25EEBB02C8}" dt="2025-06-18T10:23:19.858" v="6227"/>
            <ac:spMkLst>
              <pc:docMk/>
              <pc:sldMasterMk cId="2342518050" sldId="2147483648"/>
              <pc:sldLayoutMk cId="3978811354" sldId="2147483657"/>
              <ac:spMk id="7" creationId="{50C844A4-DA06-B4B4-34C0-D66D9BE6E054}"/>
            </ac:spMkLst>
          </pc:spChg>
          <pc:graphicFrameChg chg="mod">
            <ac:chgData name="Alex Jordan" userId="30755697-3be4-4efa-ad5c-ca2e4102b45a" providerId="ADAL" clId="{4864474C-12F9-4B8D-8347-AD25EEBB02C8}" dt="2025-06-18T10:23:21.739" v="7793"/>
            <ac:graphicFrameMkLst>
              <pc:docMk/>
              <pc:sldMasterMk cId="2342518050" sldId="2147483648"/>
              <pc:sldLayoutMk cId="3978811354" sldId="2147483657"/>
              <ac:graphicFrameMk id="9" creationId="{039A3FE0-4698-AD1B-772F-821F598CBC61}"/>
            </ac:graphicFrameMkLst>
          </pc:graphicFrameChg>
        </pc:sldLayoutChg>
        <pc:sldLayoutChg chg="addSp delSp modSp mod setBg">
          <pc:chgData name="Alex Jordan" userId="30755697-3be4-4efa-ad5c-ca2e4102b45a" providerId="ADAL" clId="{4864474C-12F9-4B8D-8347-AD25EEBB02C8}" dt="2025-06-18T10:23:21.745" v="7801"/>
          <pc:sldLayoutMkLst>
            <pc:docMk/>
            <pc:sldMasterMk cId="2342518050" sldId="2147483648"/>
            <pc:sldLayoutMk cId="2779002813" sldId="2147483658"/>
          </pc:sldLayoutMkLst>
          <pc:spChg chg="mod">
            <ac:chgData name="Alex Jordan" userId="30755697-3be4-4efa-ad5c-ca2e4102b45a" providerId="ADAL" clId="{4864474C-12F9-4B8D-8347-AD25EEBB02C8}" dt="2025-06-18T10:23:21.448" v="7456" actId="948"/>
            <ac:spMkLst>
              <pc:docMk/>
              <pc:sldMasterMk cId="2342518050" sldId="2147483648"/>
              <pc:sldLayoutMk cId="2779002813" sldId="2147483658"/>
              <ac:spMk id="2" creationId="{36E610AE-2F62-2F9F-76AF-6E96C7A76B8D}"/>
            </ac:spMkLst>
          </pc:spChg>
          <pc:spChg chg="mod">
            <ac:chgData name="Alex Jordan" userId="30755697-3be4-4efa-ad5c-ca2e4102b45a" providerId="ADAL" clId="{4864474C-12F9-4B8D-8347-AD25EEBB02C8}" dt="2025-06-18T10:23:19.877" v="6241"/>
            <ac:spMkLst>
              <pc:docMk/>
              <pc:sldMasterMk cId="2342518050" sldId="2147483648"/>
              <pc:sldLayoutMk cId="2779002813" sldId="2147483658"/>
              <ac:spMk id="3" creationId="{2434422D-ABC2-28ED-C72D-27BE80FFF647}"/>
            </ac:spMkLst>
          </pc:spChg>
          <pc:spChg chg="mod">
            <ac:chgData name="Alex Jordan" userId="30755697-3be4-4efa-ad5c-ca2e4102b45a" providerId="ADAL" clId="{4864474C-12F9-4B8D-8347-AD25EEBB02C8}" dt="2025-06-18T10:23:19.879" v="6243"/>
            <ac:spMkLst>
              <pc:docMk/>
              <pc:sldMasterMk cId="2342518050" sldId="2147483648"/>
              <pc:sldLayoutMk cId="2779002813" sldId="2147483658"/>
              <ac:spMk id="4" creationId="{27E39775-AD97-F1BE-923B-125C7E2E95FC}"/>
            </ac:spMkLst>
          </pc:spChg>
          <pc:spChg chg="mod">
            <ac:chgData name="Alex Jordan" userId="30755697-3be4-4efa-ad5c-ca2e4102b45a" providerId="ADAL" clId="{4864474C-12F9-4B8D-8347-AD25EEBB02C8}" dt="2025-06-18T10:23:19.881" v="6245"/>
            <ac:spMkLst>
              <pc:docMk/>
              <pc:sldMasterMk cId="2342518050" sldId="2147483648"/>
              <pc:sldLayoutMk cId="2779002813" sldId="2147483658"/>
              <ac:spMk id="5" creationId="{1D78FB25-B973-3EAF-336C-5B50BB532B2A}"/>
            </ac:spMkLst>
          </pc:spChg>
          <pc:spChg chg="mod">
            <ac:chgData name="Alex Jordan" userId="30755697-3be4-4efa-ad5c-ca2e4102b45a" providerId="ADAL" clId="{4864474C-12F9-4B8D-8347-AD25EEBB02C8}" dt="2025-06-18T10:23:19.882" v="6247"/>
            <ac:spMkLst>
              <pc:docMk/>
              <pc:sldMasterMk cId="2342518050" sldId="2147483648"/>
              <pc:sldLayoutMk cId="2779002813" sldId="2147483658"/>
              <ac:spMk id="6" creationId="{C6479ABF-434D-5506-947B-E8D679C5098E}"/>
            </ac:spMkLst>
          </pc:spChg>
          <pc:graphicFrameChg chg="mod">
            <ac:chgData name="Alex Jordan" userId="30755697-3be4-4efa-ad5c-ca2e4102b45a" providerId="ADAL" clId="{4864474C-12F9-4B8D-8347-AD25EEBB02C8}" dt="2025-06-18T10:23:21.745" v="7801"/>
            <ac:graphicFrameMkLst>
              <pc:docMk/>
              <pc:sldMasterMk cId="2342518050" sldId="2147483648"/>
              <pc:sldLayoutMk cId="2779002813" sldId="2147483658"/>
              <ac:graphicFrameMk id="8" creationId="{454E5BE0-298A-7AF7-8A7D-DC2127CD34C4}"/>
            </ac:graphicFrameMkLst>
          </pc:graphicFrameChg>
        </pc:sldLayoutChg>
        <pc:sldLayoutChg chg="addSp delSp modSp mod setBg">
          <pc:chgData name="Alex Jordan" userId="30755697-3be4-4efa-ad5c-ca2e4102b45a" providerId="ADAL" clId="{4864474C-12F9-4B8D-8347-AD25EEBB02C8}" dt="2025-06-18T10:23:21.742" v="7797"/>
          <pc:sldLayoutMkLst>
            <pc:docMk/>
            <pc:sldMasterMk cId="2342518050" sldId="2147483648"/>
            <pc:sldLayoutMk cId="533632924" sldId="2147483659"/>
          </pc:sldLayoutMkLst>
          <pc:spChg chg="mod">
            <ac:chgData name="Alex Jordan" userId="30755697-3be4-4efa-ad5c-ca2e4102b45a" providerId="ADAL" clId="{4864474C-12F9-4B8D-8347-AD25EEBB02C8}" dt="2025-06-18T10:23:21.430" v="7435" actId="948"/>
            <ac:spMkLst>
              <pc:docMk/>
              <pc:sldMasterMk cId="2342518050" sldId="2147483648"/>
              <pc:sldLayoutMk cId="533632924" sldId="2147483659"/>
              <ac:spMk id="2" creationId="{F76ED804-9E24-2ADF-F081-A2E1786D0EC1}"/>
            </ac:spMkLst>
          </pc:spChg>
          <pc:spChg chg="mod">
            <ac:chgData name="Alex Jordan" userId="30755697-3be4-4efa-ad5c-ca2e4102b45a" providerId="ADAL" clId="{4864474C-12F9-4B8D-8347-AD25EEBB02C8}" dt="2025-06-18T10:23:19.864" v="6231"/>
            <ac:spMkLst>
              <pc:docMk/>
              <pc:sldMasterMk cId="2342518050" sldId="2147483648"/>
              <pc:sldLayoutMk cId="533632924" sldId="2147483659"/>
              <ac:spMk id="3" creationId="{7E188F01-1DCC-FB7A-F9DD-C495208C6F0A}"/>
            </ac:spMkLst>
          </pc:spChg>
          <pc:spChg chg="mod">
            <ac:chgData name="Alex Jordan" userId="30755697-3be4-4efa-ad5c-ca2e4102b45a" providerId="ADAL" clId="{4864474C-12F9-4B8D-8347-AD25EEBB02C8}" dt="2025-06-18T10:23:19.866" v="6233"/>
            <ac:spMkLst>
              <pc:docMk/>
              <pc:sldMasterMk cId="2342518050" sldId="2147483648"/>
              <pc:sldLayoutMk cId="533632924" sldId="2147483659"/>
              <ac:spMk id="4" creationId="{368838CC-498E-0743-4F06-A978B437635D}"/>
            </ac:spMkLst>
          </pc:spChg>
          <pc:spChg chg="mod">
            <ac:chgData name="Alex Jordan" userId="30755697-3be4-4efa-ad5c-ca2e4102b45a" providerId="ADAL" clId="{4864474C-12F9-4B8D-8347-AD25EEBB02C8}" dt="2025-06-18T10:23:19.869" v="6235"/>
            <ac:spMkLst>
              <pc:docMk/>
              <pc:sldMasterMk cId="2342518050" sldId="2147483648"/>
              <pc:sldLayoutMk cId="533632924" sldId="2147483659"/>
              <ac:spMk id="5" creationId="{7F4E1C8B-3883-7665-7457-593F7D10D32E}"/>
            </ac:spMkLst>
          </pc:spChg>
          <pc:spChg chg="mod">
            <ac:chgData name="Alex Jordan" userId="30755697-3be4-4efa-ad5c-ca2e4102b45a" providerId="ADAL" clId="{4864474C-12F9-4B8D-8347-AD25EEBB02C8}" dt="2025-06-18T10:23:19.871" v="6237"/>
            <ac:spMkLst>
              <pc:docMk/>
              <pc:sldMasterMk cId="2342518050" sldId="2147483648"/>
              <pc:sldLayoutMk cId="533632924" sldId="2147483659"/>
              <ac:spMk id="6" creationId="{5C9F9629-C7DF-FE6E-5BA8-E6E9F093DA62}"/>
            </ac:spMkLst>
          </pc:spChg>
          <pc:graphicFrameChg chg="mod">
            <ac:chgData name="Alex Jordan" userId="30755697-3be4-4efa-ad5c-ca2e4102b45a" providerId="ADAL" clId="{4864474C-12F9-4B8D-8347-AD25EEBB02C8}" dt="2025-06-18T10:23:21.742" v="7797"/>
            <ac:graphicFrameMkLst>
              <pc:docMk/>
              <pc:sldMasterMk cId="2342518050" sldId="2147483648"/>
              <pc:sldLayoutMk cId="533632924" sldId="2147483659"/>
              <ac:graphicFrameMk id="8" creationId="{8C53EA9E-0EA3-1676-EB44-15777752F46B}"/>
            </ac:graphicFrameMkLst>
          </pc:graphicFrameChg>
        </pc:sldLayoutChg>
        <pc:sldLayoutChg chg="modSp mod setBg">
          <pc:chgData name="Alex Jordan" userId="30755697-3be4-4efa-ad5c-ca2e4102b45a" providerId="ADAL" clId="{4864474C-12F9-4B8D-8347-AD25EEBB02C8}" dt="2025-06-18T10:23:21.754" v="7813"/>
          <pc:sldLayoutMkLst>
            <pc:docMk/>
            <pc:sldMasterMk cId="2342518050" sldId="2147483648"/>
            <pc:sldLayoutMk cId="2793167446" sldId="2147483664"/>
          </pc:sldLayoutMkLst>
          <pc:spChg chg="mod ord">
            <ac:chgData name="Alex Jordan" userId="30755697-3be4-4efa-ad5c-ca2e4102b45a" providerId="ADAL" clId="{4864474C-12F9-4B8D-8347-AD25EEBB02C8}" dt="2025-06-18T10:23:19.918" v="6277" actId="947"/>
            <ac:spMkLst>
              <pc:docMk/>
              <pc:sldMasterMk cId="2342518050" sldId="2147483648"/>
              <pc:sldLayoutMk cId="2793167446" sldId="2147483664"/>
              <ac:spMk id="3" creationId="{9251C274-B545-EF4E-22D2-8CB98DA8268C}"/>
            </ac:spMkLst>
          </pc:spChg>
          <pc:spChg chg="mod ord">
            <ac:chgData name="Alex Jordan" userId="30755697-3be4-4efa-ad5c-ca2e4102b45a" providerId="ADAL" clId="{4864474C-12F9-4B8D-8347-AD25EEBB02C8}" dt="2025-06-18T10:23:19.926" v="6285"/>
            <ac:spMkLst>
              <pc:docMk/>
              <pc:sldMasterMk cId="2342518050" sldId="2147483648"/>
              <pc:sldLayoutMk cId="2793167446" sldId="2147483664"/>
              <ac:spMk id="4" creationId="{5D539B5C-6F85-2895-6F71-072534060200}"/>
            </ac:spMkLst>
          </pc:spChg>
          <pc:spChg chg="mod ord">
            <ac:chgData name="Alex Jordan" userId="30755697-3be4-4efa-ad5c-ca2e4102b45a" providerId="ADAL" clId="{4864474C-12F9-4B8D-8347-AD25EEBB02C8}" dt="2025-06-18T10:23:19.928" v="6287" actId="947"/>
            <ac:spMkLst>
              <pc:docMk/>
              <pc:sldMasterMk cId="2342518050" sldId="2147483648"/>
              <pc:sldLayoutMk cId="2793167446" sldId="2147483664"/>
              <ac:spMk id="5" creationId="{49AB9A1D-FA9C-AC15-C080-21ED151C3437}"/>
            </ac:spMkLst>
          </pc:spChg>
          <pc:spChg chg="mod ord">
            <ac:chgData name="Alex Jordan" userId="30755697-3be4-4efa-ad5c-ca2e4102b45a" providerId="ADAL" clId="{4864474C-12F9-4B8D-8347-AD25EEBB02C8}" dt="2025-06-18T10:23:19.919" v="6279" actId="947"/>
            <ac:spMkLst>
              <pc:docMk/>
              <pc:sldMasterMk cId="2342518050" sldId="2147483648"/>
              <pc:sldLayoutMk cId="2793167446" sldId="2147483664"/>
              <ac:spMk id="16" creationId="{F80B57B7-1CEF-E718-96CF-DFD6E81D1082}"/>
            </ac:spMkLst>
          </pc:spChg>
          <pc:spChg chg="mod ord">
            <ac:chgData name="Alex Jordan" userId="30755697-3be4-4efa-ad5c-ca2e4102b45a" providerId="ADAL" clId="{4864474C-12F9-4B8D-8347-AD25EEBB02C8}" dt="2025-06-18T10:23:19.922" v="6281"/>
            <ac:spMkLst>
              <pc:docMk/>
              <pc:sldMasterMk cId="2342518050" sldId="2147483648"/>
              <pc:sldLayoutMk cId="2793167446" sldId="2147483664"/>
              <ac:spMk id="21" creationId="{9545227B-86FA-55FB-807C-3D5C15621F1E}"/>
            </ac:spMkLst>
          </pc:spChg>
          <pc:spChg chg="mod ord">
            <ac:chgData name="Alex Jordan" userId="30755697-3be4-4efa-ad5c-ca2e4102b45a" providerId="ADAL" clId="{4864474C-12F9-4B8D-8347-AD25EEBB02C8}" dt="2025-06-18T10:23:19.924" v="6283"/>
            <ac:spMkLst>
              <pc:docMk/>
              <pc:sldMasterMk cId="2342518050" sldId="2147483648"/>
              <pc:sldLayoutMk cId="2793167446" sldId="2147483664"/>
              <ac:spMk id="26" creationId="{B7F18409-3C3F-4B2C-3E70-3C2270678ADD}"/>
            </ac:spMkLst>
          </pc:spChg>
          <pc:grpChg chg="mod ord">
            <ac:chgData name="Alex Jordan" userId="30755697-3be4-4efa-ad5c-ca2e4102b45a" providerId="ADAL" clId="{4864474C-12F9-4B8D-8347-AD25EEBB02C8}" dt="2025-06-18T07:54:37.880" v="44"/>
            <ac:grpSpMkLst>
              <pc:docMk/>
              <pc:sldMasterMk cId="2342518050" sldId="2147483648"/>
              <pc:sldLayoutMk cId="2793167446" sldId="2147483664"/>
              <ac:grpSpMk id="10" creationId="{6BE06721-4C6D-5470-E91C-3DE7CFD2C9D7}"/>
            </ac:grpSpMkLst>
          </pc:grpChg>
          <pc:graphicFrameChg chg="mod">
            <ac:chgData name="Alex Jordan" userId="30755697-3be4-4efa-ad5c-ca2e4102b45a" providerId="ADAL" clId="{4864474C-12F9-4B8D-8347-AD25EEBB02C8}" dt="2025-06-18T10:23:21.754" v="7813"/>
            <ac:graphicFrameMkLst>
              <pc:docMk/>
              <pc:sldMasterMk cId="2342518050" sldId="2147483648"/>
              <pc:sldLayoutMk cId="2793167446" sldId="2147483664"/>
              <ac:graphicFrameMk id="7" creationId="{EA12A279-00C9-CA85-0674-D272ACD06E23}"/>
            </ac:graphicFrameMkLst>
          </pc:graphicFrameChg>
          <pc:picChg chg="mod ord">
            <ac:chgData name="Alex Jordan" userId="30755697-3be4-4efa-ad5c-ca2e4102b45a" providerId="ADAL" clId="{4864474C-12F9-4B8D-8347-AD25EEBB02C8}" dt="2025-06-18T07:54:37.880" v="44"/>
            <ac:picMkLst>
              <pc:docMk/>
              <pc:sldMasterMk cId="2342518050" sldId="2147483648"/>
              <pc:sldLayoutMk cId="2793167446" sldId="2147483664"/>
              <ac:picMk id="2" creationId="{F20D10B7-8027-3137-FB43-1CE1BD3E5958}"/>
            </ac:picMkLst>
          </pc:picChg>
          <pc:cxnChg chg="mod ord">
            <ac:chgData name="Alex Jordan" userId="30755697-3be4-4efa-ad5c-ca2e4102b45a" providerId="ADAL" clId="{4864474C-12F9-4B8D-8347-AD25EEBB02C8}" dt="2025-06-18T07:54:37.874" v="41"/>
            <ac:cxnSpMkLst>
              <pc:docMk/>
              <pc:sldMasterMk cId="2342518050" sldId="2147483648"/>
              <pc:sldLayoutMk cId="2793167446" sldId="2147483664"/>
              <ac:cxnSpMk id="17" creationId="{51735CED-CEFB-1191-8B94-A9B5495DB460}"/>
            </ac:cxnSpMkLst>
          </pc:cxnChg>
          <pc:cxnChg chg="mod ord">
            <ac:chgData name="Alex Jordan" userId="30755697-3be4-4efa-ad5c-ca2e4102b45a" providerId="ADAL" clId="{4864474C-12F9-4B8D-8347-AD25EEBB02C8}" dt="2025-06-18T07:54:37.874" v="40"/>
            <ac:cxnSpMkLst>
              <pc:docMk/>
              <pc:sldMasterMk cId="2342518050" sldId="2147483648"/>
              <pc:sldLayoutMk cId="2793167446" sldId="2147483664"/>
              <ac:cxnSpMk id="18" creationId="{1EED2121-CB66-FE8F-953F-467CE65EE34A}"/>
            </ac:cxnSpMkLst>
          </pc:cxnChg>
          <pc:cxnChg chg="mod ord">
            <ac:chgData name="Alex Jordan" userId="30755697-3be4-4efa-ad5c-ca2e4102b45a" providerId="ADAL" clId="{4864474C-12F9-4B8D-8347-AD25EEBB02C8}" dt="2025-06-18T07:54:37.880" v="44"/>
            <ac:cxnSpMkLst>
              <pc:docMk/>
              <pc:sldMasterMk cId="2342518050" sldId="2147483648"/>
              <pc:sldLayoutMk cId="2793167446" sldId="2147483664"/>
              <ac:cxnSpMk id="19" creationId="{C6E9150F-A20E-B26A-A8B7-2900B5F46982}"/>
            </ac:cxnSpMkLst>
          </pc:cxnChg>
        </pc:sldLayoutChg>
        <pc:sldLayoutChg chg="addSp delSp modSp mod setBg">
          <pc:chgData name="Alex Jordan" userId="30755697-3be4-4efa-ad5c-ca2e4102b45a" providerId="ADAL" clId="{4864474C-12F9-4B8D-8347-AD25EEBB02C8}" dt="2025-06-18T10:23:21.752" v="7811"/>
          <pc:sldLayoutMkLst>
            <pc:docMk/>
            <pc:sldMasterMk cId="2342518050" sldId="2147483648"/>
            <pc:sldLayoutMk cId="3346693647" sldId="2147483665"/>
          </pc:sldLayoutMkLst>
          <pc:spChg chg="mod">
            <ac:chgData name="Alex Jordan" userId="30755697-3be4-4efa-ad5c-ca2e4102b45a" providerId="ADAL" clId="{4864474C-12F9-4B8D-8347-AD25EEBB02C8}" dt="2025-06-18T10:23:19.910" v="6271" actId="947"/>
            <ac:spMkLst>
              <pc:docMk/>
              <pc:sldMasterMk cId="2342518050" sldId="2147483648"/>
              <pc:sldLayoutMk cId="3346693647" sldId="2147483665"/>
              <ac:spMk id="2" creationId="{EB379DF0-6908-7435-F60B-5ADBE5CB4850}"/>
            </ac:spMkLst>
          </pc:spChg>
          <pc:spChg chg="mod">
            <ac:chgData name="Alex Jordan" userId="30755697-3be4-4efa-ad5c-ca2e4102b45a" providerId="ADAL" clId="{4864474C-12F9-4B8D-8347-AD25EEBB02C8}" dt="2025-06-18T10:23:21.488" v="7496" actId="948"/>
            <ac:spMkLst>
              <pc:docMk/>
              <pc:sldMasterMk cId="2342518050" sldId="2147483648"/>
              <pc:sldLayoutMk cId="3346693647" sldId="2147483665"/>
              <ac:spMk id="6" creationId="{8AE5FAF2-CBEC-86F3-45ED-489F8A21D98D}"/>
            </ac:spMkLst>
          </pc:spChg>
          <pc:spChg chg="add mod">
            <ac:chgData name="Alex Jordan" userId="30755697-3be4-4efa-ad5c-ca2e4102b45a" providerId="ADAL" clId="{4864474C-12F9-4B8D-8347-AD25EEBB02C8}" dt="2025-06-18T10:23:19.915" v="6275" actId="947"/>
            <ac:spMkLst>
              <pc:docMk/>
              <pc:sldMasterMk cId="2342518050" sldId="2147483648"/>
              <pc:sldLayoutMk cId="3346693647" sldId="2147483665"/>
              <ac:spMk id="8" creationId="{37CC45D0-5826-29C0-110D-3A04F7BFB3DE}"/>
            </ac:spMkLst>
          </pc:spChg>
          <pc:graphicFrameChg chg="mod">
            <ac:chgData name="Alex Jordan" userId="30755697-3be4-4efa-ad5c-ca2e4102b45a" providerId="ADAL" clId="{4864474C-12F9-4B8D-8347-AD25EEBB02C8}" dt="2025-06-18T10:23:21.752" v="7811"/>
            <ac:graphicFrameMkLst>
              <pc:docMk/>
              <pc:sldMasterMk cId="2342518050" sldId="2147483648"/>
              <pc:sldLayoutMk cId="3346693647" sldId="2147483665"/>
              <ac:graphicFrameMk id="5" creationId="{0EE2F682-1F14-4462-8E43-B909FCFBCF44}"/>
            </ac:graphicFrameMkLst>
          </pc:graphicFrameChg>
        </pc:sldLayoutChg>
        <pc:sldLayoutChg chg="modSp mod setBg">
          <pc:chgData name="Alex Jordan" userId="30755697-3be4-4efa-ad5c-ca2e4102b45a" providerId="ADAL" clId="{4864474C-12F9-4B8D-8347-AD25EEBB02C8}" dt="2025-06-18T10:23:21.747" v="7803"/>
          <pc:sldLayoutMkLst>
            <pc:docMk/>
            <pc:sldMasterMk cId="2342518050" sldId="2147483648"/>
            <pc:sldLayoutMk cId="117336935" sldId="2147483666"/>
          </pc:sldLayoutMkLst>
          <pc:spChg chg="mod">
            <ac:chgData name="Alex Jordan" userId="30755697-3be4-4efa-ad5c-ca2e4102b45a" providerId="ADAL" clId="{4864474C-12F9-4B8D-8347-AD25EEBB02C8}" dt="2025-06-18T10:23:19.885" v="6249" actId="947"/>
            <ac:spMkLst>
              <pc:docMk/>
              <pc:sldMasterMk cId="2342518050" sldId="2147483648"/>
              <pc:sldLayoutMk cId="117336935" sldId="2147483666"/>
              <ac:spMk id="2" creationId="{0533B30A-1AE5-8EE3-B268-26D227898ACA}"/>
            </ac:spMkLst>
          </pc:spChg>
          <pc:spChg chg="mod">
            <ac:chgData name="Alex Jordan" userId="30755697-3be4-4efa-ad5c-ca2e4102b45a" providerId="ADAL" clId="{4864474C-12F9-4B8D-8347-AD25EEBB02C8}" dt="2025-06-18T10:23:19.895" v="6259" actId="947"/>
            <ac:spMkLst>
              <pc:docMk/>
              <pc:sldMasterMk cId="2342518050" sldId="2147483648"/>
              <pc:sldLayoutMk cId="117336935" sldId="2147483666"/>
              <ac:spMk id="5" creationId="{79C6570C-5891-5E38-7FD7-D577FA1D10A7}"/>
            </ac:spMkLst>
          </pc:spChg>
          <pc:spChg chg="mod">
            <ac:chgData name="Alex Jordan" userId="30755697-3be4-4efa-ad5c-ca2e4102b45a" providerId="ADAL" clId="{4864474C-12F9-4B8D-8347-AD25EEBB02C8}" dt="2025-06-18T10:23:19.892" v="6257" actId="947"/>
            <ac:spMkLst>
              <pc:docMk/>
              <pc:sldMasterMk cId="2342518050" sldId="2147483648"/>
              <pc:sldLayoutMk cId="117336935" sldId="2147483666"/>
              <ac:spMk id="6" creationId="{9CF1C927-2737-D92D-2EF8-1DFABB85DECD}"/>
            </ac:spMkLst>
          </pc:spChg>
          <pc:spChg chg="mod">
            <ac:chgData name="Alex Jordan" userId="30755697-3be4-4efa-ad5c-ca2e4102b45a" providerId="ADAL" clId="{4864474C-12F9-4B8D-8347-AD25EEBB02C8}" dt="2025-06-18T10:23:19.890" v="6255" actId="947"/>
            <ac:spMkLst>
              <pc:docMk/>
              <pc:sldMasterMk cId="2342518050" sldId="2147483648"/>
              <pc:sldLayoutMk cId="117336935" sldId="2147483666"/>
              <ac:spMk id="9" creationId="{4B484DA7-3685-3A35-DF47-A862A7FD22C4}"/>
            </ac:spMkLst>
          </pc:spChg>
          <pc:spChg chg="mod">
            <ac:chgData name="Alex Jordan" userId="30755697-3be4-4efa-ad5c-ca2e4102b45a" providerId="ADAL" clId="{4864474C-12F9-4B8D-8347-AD25EEBB02C8}" dt="2025-06-18T10:23:19.887" v="6251" actId="947"/>
            <ac:spMkLst>
              <pc:docMk/>
              <pc:sldMasterMk cId="2342518050" sldId="2147483648"/>
              <pc:sldLayoutMk cId="117336935" sldId="2147483666"/>
              <ac:spMk id="11" creationId="{6C788C7D-5A20-BFCD-5F73-964CB1BB3542}"/>
            </ac:spMkLst>
          </pc:spChg>
          <pc:spChg chg="mod">
            <ac:chgData name="Alex Jordan" userId="30755697-3be4-4efa-ad5c-ca2e4102b45a" providerId="ADAL" clId="{4864474C-12F9-4B8D-8347-AD25EEBB02C8}" dt="2025-06-18T10:23:19.888" v="6253" actId="947"/>
            <ac:spMkLst>
              <pc:docMk/>
              <pc:sldMasterMk cId="2342518050" sldId="2147483648"/>
              <pc:sldLayoutMk cId="117336935" sldId="2147483666"/>
              <ac:spMk id="12" creationId="{F52E57DA-F389-BD8A-595F-32F90C788D65}"/>
            </ac:spMkLst>
          </pc:spChg>
          <pc:graphicFrameChg chg="mod">
            <ac:chgData name="Alex Jordan" userId="30755697-3be4-4efa-ad5c-ca2e4102b45a" providerId="ADAL" clId="{4864474C-12F9-4B8D-8347-AD25EEBB02C8}" dt="2025-06-18T10:23:21.747" v="7803"/>
            <ac:graphicFrameMkLst>
              <pc:docMk/>
              <pc:sldMasterMk cId="2342518050" sldId="2147483648"/>
              <pc:sldLayoutMk cId="117336935" sldId="2147483666"/>
              <ac:graphicFrameMk id="3" creationId="{84FAB623-4AE9-71F2-22D6-52C5B2B9E02A}"/>
            </ac:graphicFrameMkLst>
          </pc:graphicFrameChg>
        </pc:sldLayoutChg>
        <pc:sldLayoutChg chg="addSp delSp modSp mod setBg">
          <pc:chgData name="Alex Jordan" userId="30755697-3be4-4efa-ad5c-ca2e4102b45a" providerId="ADAL" clId="{4864474C-12F9-4B8D-8347-AD25EEBB02C8}" dt="2025-06-18T10:23:21.749" v="7807"/>
          <pc:sldLayoutMkLst>
            <pc:docMk/>
            <pc:sldMasterMk cId="2342518050" sldId="2147483648"/>
            <pc:sldLayoutMk cId="3833913249" sldId="2147483667"/>
          </pc:sldLayoutMkLst>
          <pc:spChg chg="mod">
            <ac:chgData name="Alex Jordan" userId="30755697-3be4-4efa-ad5c-ca2e4102b45a" providerId="ADAL" clId="{4864474C-12F9-4B8D-8347-AD25EEBB02C8}" dt="2025-06-18T10:23:19.897" v="6261" actId="947"/>
            <ac:spMkLst>
              <pc:docMk/>
              <pc:sldMasterMk cId="2342518050" sldId="2147483648"/>
              <pc:sldLayoutMk cId="3833913249" sldId="2147483667"/>
              <ac:spMk id="2" creationId="{5D2EFDEA-CB56-5C18-B1F9-01169FACDA2F}"/>
            </ac:spMkLst>
          </pc:spChg>
          <pc:spChg chg="add mod">
            <ac:chgData name="Alex Jordan" userId="30755697-3be4-4efa-ad5c-ca2e4102b45a" providerId="ADAL" clId="{4864474C-12F9-4B8D-8347-AD25EEBB02C8}" dt="2025-06-18T10:23:19.908" v="6269"/>
            <ac:spMkLst>
              <pc:docMk/>
              <pc:sldMasterMk cId="2342518050" sldId="2147483648"/>
              <pc:sldLayoutMk cId="3833913249" sldId="2147483667"/>
              <ac:spMk id="7" creationId="{B4CE4123-8538-3E69-C9D5-A37501C101A1}"/>
            </ac:spMkLst>
          </pc:spChg>
          <pc:spChg chg="mod">
            <ac:chgData name="Alex Jordan" userId="30755697-3be4-4efa-ad5c-ca2e4102b45a" providerId="ADAL" clId="{4864474C-12F9-4B8D-8347-AD25EEBB02C8}" dt="2025-06-18T10:23:19.904" v="6267" actId="947"/>
            <ac:spMkLst>
              <pc:docMk/>
              <pc:sldMasterMk cId="2342518050" sldId="2147483648"/>
              <pc:sldLayoutMk cId="3833913249" sldId="2147483667"/>
              <ac:spMk id="8" creationId="{8D2CBB94-30CA-0548-ADC3-AF130F79B6CF}"/>
            </ac:spMkLst>
          </pc:spChg>
          <pc:spChg chg="mod">
            <ac:chgData name="Alex Jordan" userId="30755697-3be4-4efa-ad5c-ca2e4102b45a" providerId="ADAL" clId="{4864474C-12F9-4B8D-8347-AD25EEBB02C8}" dt="2025-06-18T10:23:21.467" v="7476" actId="948"/>
            <ac:spMkLst>
              <pc:docMk/>
              <pc:sldMasterMk cId="2342518050" sldId="2147483648"/>
              <pc:sldLayoutMk cId="3833913249" sldId="2147483667"/>
              <ac:spMk id="14" creationId="{30AA3B7F-B2BD-05DE-962E-D93311C83582}"/>
            </ac:spMkLst>
          </pc:spChg>
          <pc:spChg chg="mod">
            <ac:chgData name="Alex Jordan" userId="30755697-3be4-4efa-ad5c-ca2e4102b45a" providerId="ADAL" clId="{4864474C-12F9-4B8D-8347-AD25EEBB02C8}" dt="2025-06-18T10:23:19.899" v="6263" actId="947"/>
            <ac:spMkLst>
              <pc:docMk/>
              <pc:sldMasterMk cId="2342518050" sldId="2147483648"/>
              <pc:sldLayoutMk cId="3833913249" sldId="2147483667"/>
              <ac:spMk id="15" creationId="{451E2594-B6E1-7B0D-F61F-CC7C31613065}"/>
            </ac:spMkLst>
          </pc:spChg>
          <pc:graphicFrameChg chg="mod">
            <ac:chgData name="Alex Jordan" userId="30755697-3be4-4efa-ad5c-ca2e4102b45a" providerId="ADAL" clId="{4864474C-12F9-4B8D-8347-AD25EEBB02C8}" dt="2025-06-18T10:23:21.749" v="7807"/>
            <ac:graphicFrameMkLst>
              <pc:docMk/>
              <pc:sldMasterMk cId="2342518050" sldId="2147483648"/>
              <pc:sldLayoutMk cId="3833913249" sldId="2147483667"/>
              <ac:graphicFrameMk id="5" creationId="{0EE2F682-1F14-4462-8E43-B909FCFBCF44}"/>
            </ac:graphicFrameMkLst>
          </pc:graphicFrameChg>
        </pc:sldLayoutChg>
      </pc:sldMasterChg>
    </pc:docChg>
  </pc:docChgLst>
  <pc:docChgLst>
    <pc:chgData name="Alex Jordan" userId="30755697-3be4-4efa-ad5c-ca2e4102b45a" providerId="ADAL" clId="{FC76EA98-9B1A-4F2F-9A6E-876FE3C87E8A}"/>
    <pc:docChg chg="undo redo custSel addSld delSld modSld sldOrd modMainMaster modNotesMaster">
      <pc:chgData name="Alex Jordan" userId="30755697-3be4-4efa-ad5c-ca2e4102b45a" providerId="ADAL" clId="{FC76EA98-9B1A-4F2F-9A6E-876FE3C87E8A}" dt="2025-06-27T11:06:36.749" v="104812"/>
      <pc:docMkLst>
        <pc:docMk/>
      </pc:docMkLst>
      <pc:sldChg chg="modNotes">
        <pc:chgData name="Alex Jordan" userId="30755697-3be4-4efa-ad5c-ca2e4102b45a" providerId="ADAL" clId="{FC76EA98-9B1A-4F2F-9A6E-876FE3C87E8A}" dt="2025-06-25T08:46:32.011" v="101957" actId="947"/>
        <pc:sldMkLst>
          <pc:docMk/>
          <pc:sldMk cId="2104718785" sldId="257"/>
        </pc:sldMkLst>
      </pc:sldChg>
      <pc:sldChg chg="modSp mod modNotes">
        <pc:chgData name="Alex Jordan" userId="30755697-3be4-4efa-ad5c-ca2e4102b45a" providerId="ADAL" clId="{FC76EA98-9B1A-4F2F-9A6E-876FE3C87E8A}" dt="2025-06-25T08:46:34.800" v="103866"/>
        <pc:sldMkLst>
          <pc:docMk/>
          <pc:sldMk cId="1748772267" sldId="260"/>
        </pc:sldMkLst>
        <pc:spChg chg="mod">
          <ac:chgData name="Alex Jordan" userId="30755697-3be4-4efa-ad5c-ca2e4102b45a" providerId="ADAL" clId="{FC76EA98-9B1A-4F2F-9A6E-876FE3C87E8A}" dt="2025-06-25T08:46:32.056" v="101958" actId="790"/>
          <ac:spMkLst>
            <pc:docMk/>
            <pc:sldMk cId="1748772267" sldId="260"/>
            <ac:spMk id="3" creationId="{B77C6521-ED8B-43DA-D42E-8CA3C6BFA3BD}"/>
          </ac:spMkLst>
        </pc:spChg>
        <pc:spChg chg="mod">
          <ac:chgData name="Alex Jordan" userId="30755697-3be4-4efa-ad5c-ca2e4102b45a" providerId="ADAL" clId="{FC76EA98-9B1A-4F2F-9A6E-876FE3C87E8A}" dt="2025-06-25T08:46:32.056" v="101958" actId="790"/>
          <ac:spMkLst>
            <pc:docMk/>
            <pc:sldMk cId="1748772267" sldId="260"/>
            <ac:spMk id="20" creationId="{F874D2E3-ACF9-F52D-9D47-0E91A8CC4017}"/>
          </ac:spMkLst>
        </pc:spChg>
        <pc:spChg chg="mod">
          <ac:chgData name="Alex Jordan" userId="30755697-3be4-4efa-ad5c-ca2e4102b45a" providerId="ADAL" clId="{FC76EA98-9B1A-4F2F-9A6E-876FE3C87E8A}" dt="2025-06-25T08:46:32.056" v="101958" actId="790"/>
          <ac:spMkLst>
            <pc:docMk/>
            <pc:sldMk cId="1748772267" sldId="260"/>
            <ac:spMk id="23" creationId="{BFFFED33-FA2B-7593-9DA7-DA9EB182C486}"/>
          </ac:spMkLst>
        </pc:spChg>
        <pc:spChg chg="mod">
          <ac:chgData name="Alex Jordan" userId="30755697-3be4-4efa-ad5c-ca2e4102b45a" providerId="ADAL" clId="{FC76EA98-9B1A-4F2F-9A6E-876FE3C87E8A}" dt="2025-06-25T08:46:32.056" v="101958" actId="790"/>
          <ac:spMkLst>
            <pc:docMk/>
            <pc:sldMk cId="1748772267" sldId="260"/>
            <ac:spMk id="25" creationId="{A29C96BA-9F36-CFAF-30AB-A504520B332B}"/>
          </ac:spMkLst>
        </pc:spChg>
        <pc:spChg chg="mod">
          <ac:chgData name="Alex Jordan" userId="30755697-3be4-4efa-ad5c-ca2e4102b45a" providerId="ADAL" clId="{FC76EA98-9B1A-4F2F-9A6E-876FE3C87E8A}" dt="2025-06-25T08:46:32.056" v="101958" actId="790"/>
          <ac:spMkLst>
            <pc:docMk/>
            <pc:sldMk cId="1748772267" sldId="260"/>
            <ac:spMk id="26" creationId="{2B7F8A65-3487-1ECE-2ED9-8D0457115135}"/>
          </ac:spMkLst>
        </pc:spChg>
        <pc:graphicFrameChg chg="mod">
          <ac:chgData name="Alex Jordan" userId="30755697-3be4-4efa-ad5c-ca2e4102b45a" providerId="ADAL" clId="{FC76EA98-9B1A-4F2F-9A6E-876FE3C87E8A}" dt="2025-06-25T08:46:34.800" v="103866"/>
          <ac:graphicFrameMkLst>
            <pc:docMk/>
            <pc:sldMk cId="1748772267" sldId="260"/>
            <ac:graphicFrameMk id="2" creationId="{98CEF388-CB26-5330-A118-63041B9D3917}"/>
          </ac:graphicFrameMkLst>
        </pc:graphicFrameChg>
      </pc:sldChg>
      <pc:sldChg chg="modSp mod modNotes">
        <pc:chgData name="Alex Jordan" userId="30755697-3be4-4efa-ad5c-ca2e4102b45a" providerId="ADAL" clId="{FC76EA98-9B1A-4F2F-9A6E-876FE3C87E8A}" dt="2025-06-25T08:46:34.803" v="103868"/>
        <pc:sldMkLst>
          <pc:docMk/>
          <pc:sldMk cId="1103344515" sldId="261"/>
        </pc:sldMkLst>
        <pc:spChg chg="mod">
          <ac:chgData name="Alex Jordan" userId="30755697-3be4-4efa-ad5c-ca2e4102b45a" providerId="ADAL" clId="{FC76EA98-9B1A-4F2F-9A6E-876FE3C87E8A}" dt="2025-06-25T08:46:32.056" v="101958" actId="790"/>
          <ac:spMkLst>
            <pc:docMk/>
            <pc:sldMk cId="1103344515" sldId="261"/>
            <ac:spMk id="2" creationId="{8578FE43-6388-31D4-4132-C9A5934693F1}"/>
          </ac:spMkLst>
        </pc:spChg>
        <pc:spChg chg="mod">
          <ac:chgData name="Alex Jordan" userId="30755697-3be4-4efa-ad5c-ca2e4102b45a" providerId="ADAL" clId="{FC76EA98-9B1A-4F2F-9A6E-876FE3C87E8A}" dt="2025-06-25T08:46:32.056" v="101958" actId="790"/>
          <ac:spMkLst>
            <pc:docMk/>
            <pc:sldMk cId="1103344515" sldId="261"/>
            <ac:spMk id="3" creationId="{E62870D2-BD04-7C36-ECAD-A42F5410710A}"/>
          </ac:spMkLst>
        </pc:spChg>
        <pc:spChg chg="mod">
          <ac:chgData name="Alex Jordan" userId="30755697-3be4-4efa-ad5c-ca2e4102b45a" providerId="ADAL" clId="{FC76EA98-9B1A-4F2F-9A6E-876FE3C87E8A}" dt="2025-06-25T08:46:32.056" v="101958" actId="790"/>
          <ac:spMkLst>
            <pc:docMk/>
            <pc:sldMk cId="1103344515" sldId="261"/>
            <ac:spMk id="4" creationId="{3B173936-1223-96C8-CD2C-1F0D5E885859}"/>
          </ac:spMkLst>
        </pc:spChg>
        <pc:graphicFrameChg chg="mod">
          <ac:chgData name="Alex Jordan" userId="30755697-3be4-4efa-ad5c-ca2e4102b45a" providerId="ADAL" clId="{FC76EA98-9B1A-4F2F-9A6E-876FE3C87E8A}" dt="2025-06-25T08:46:34.803" v="103868"/>
          <ac:graphicFrameMkLst>
            <pc:docMk/>
            <pc:sldMk cId="1103344515" sldId="261"/>
            <ac:graphicFrameMk id="6" creationId="{83FB4019-A778-1531-5BED-D7A38506D4DB}"/>
          </ac:graphicFrameMkLst>
        </pc:graphicFrameChg>
      </pc:sldChg>
      <pc:sldChg chg="addSp delSp modSp mod modNotes">
        <pc:chgData name="Alex Jordan" userId="30755697-3be4-4efa-ad5c-ca2e4102b45a" providerId="ADAL" clId="{FC76EA98-9B1A-4F2F-9A6E-876FE3C87E8A}" dt="2025-06-27T11:03:29.989" v="104675" actId="1038"/>
        <pc:sldMkLst>
          <pc:docMk/>
          <pc:sldMk cId="1604288582" sldId="341"/>
        </pc:sldMkLst>
        <pc:spChg chg="mod">
          <ac:chgData name="Alex Jordan" userId="30755697-3be4-4efa-ad5c-ca2e4102b45a" providerId="ADAL" clId="{FC76EA98-9B1A-4F2F-9A6E-876FE3C87E8A}" dt="2025-06-25T08:46:33.175" v="102357" actId="948"/>
          <ac:spMkLst>
            <pc:docMk/>
            <pc:sldMk cId="1604288582" sldId="341"/>
            <ac:spMk id="2" creationId="{63F43E43-FBC1-AA34-3EEF-93B656DA04EC}"/>
          </ac:spMkLst>
        </pc:spChg>
        <pc:spChg chg="mod">
          <ac:chgData name="Alex Jordan" userId="30755697-3be4-4efa-ad5c-ca2e4102b45a" providerId="ADAL" clId="{FC76EA98-9B1A-4F2F-9A6E-876FE3C87E8A}" dt="2025-06-27T11:03:23.357" v="104669" actId="20577"/>
          <ac:spMkLst>
            <pc:docMk/>
            <pc:sldMk cId="1604288582" sldId="341"/>
            <ac:spMk id="18" creationId="{D55906D9-CA06-342A-88D4-2AAA55B5948F}"/>
          </ac:spMkLst>
        </pc:spChg>
        <pc:spChg chg="mod">
          <ac:chgData name="Alex Jordan" userId="30755697-3be4-4efa-ad5c-ca2e4102b45a" providerId="ADAL" clId="{FC76EA98-9B1A-4F2F-9A6E-876FE3C87E8A}" dt="2025-06-27T11:03:29.989" v="104675" actId="1038"/>
          <ac:spMkLst>
            <pc:docMk/>
            <pc:sldMk cId="1604288582" sldId="341"/>
            <ac:spMk id="20" creationId="{DADBEA66-02CB-CCD6-94EC-59A4F70D40CB}"/>
          </ac:spMkLst>
        </pc:spChg>
        <pc:spChg chg="mod">
          <ac:chgData name="Alex Jordan" userId="30755697-3be4-4efa-ad5c-ca2e4102b45a" providerId="ADAL" clId="{FC76EA98-9B1A-4F2F-9A6E-876FE3C87E8A}" dt="2025-06-27T11:03:29.989" v="104675" actId="1038"/>
          <ac:spMkLst>
            <pc:docMk/>
            <pc:sldMk cId="1604288582" sldId="341"/>
            <ac:spMk id="21" creationId="{26198737-8EFB-A057-1F2C-C0A6FF5E9808}"/>
          </ac:spMkLst>
        </pc:spChg>
        <pc:spChg chg="mod">
          <ac:chgData name="Alex Jordan" userId="30755697-3be4-4efa-ad5c-ca2e4102b45a" providerId="ADAL" clId="{FC76EA98-9B1A-4F2F-9A6E-876FE3C87E8A}" dt="2025-06-27T11:03:29.989" v="104675" actId="1038"/>
          <ac:spMkLst>
            <pc:docMk/>
            <pc:sldMk cId="1604288582" sldId="341"/>
            <ac:spMk id="22" creationId="{098EF744-2950-3EEB-AE54-D670AD607B59}"/>
          </ac:spMkLst>
        </pc:spChg>
        <pc:spChg chg="del mod">
          <ac:chgData name="Alex Jordan" userId="30755697-3be4-4efa-ad5c-ca2e4102b45a" providerId="ADAL" clId="{FC76EA98-9B1A-4F2F-9A6E-876FE3C87E8A}" dt="2025-06-27T11:03:21.307" v="104668" actId="478"/>
          <ac:spMkLst>
            <pc:docMk/>
            <pc:sldMk cId="1604288582" sldId="341"/>
            <ac:spMk id="23" creationId="{82FB8B80-44D3-2173-F1DD-762D57EDF7C2}"/>
          </ac:spMkLst>
        </pc:spChg>
        <pc:spChg chg="mod">
          <ac:chgData name="Alex Jordan" userId="30755697-3be4-4efa-ad5c-ca2e4102b45a" providerId="ADAL" clId="{FC76EA98-9B1A-4F2F-9A6E-876FE3C87E8A}" dt="2025-06-25T08:46:32.056" v="101958" actId="790"/>
          <ac:spMkLst>
            <pc:docMk/>
            <pc:sldMk cId="1604288582" sldId="341"/>
            <ac:spMk id="24" creationId="{BEB7A3F5-DF1A-26C5-DAE1-10D251BEC0CB}"/>
          </ac:spMkLst>
        </pc:spChg>
        <pc:graphicFrameChg chg="mod">
          <ac:chgData name="Alex Jordan" userId="30755697-3be4-4efa-ad5c-ca2e4102b45a" providerId="ADAL" clId="{FC76EA98-9B1A-4F2F-9A6E-876FE3C87E8A}" dt="2025-06-25T08:46:34.916" v="103940"/>
          <ac:graphicFrameMkLst>
            <pc:docMk/>
            <pc:sldMk cId="1604288582" sldId="341"/>
            <ac:graphicFrameMk id="7" creationId="{BB2A0297-9EF9-3F7B-F98E-FCBA6CE05ACD}"/>
          </ac:graphicFrameMkLst>
        </pc:graphicFrameChg>
      </pc:sldChg>
      <pc:sldChg chg="addSp delSp modSp mod modNotes">
        <pc:chgData name="Alex Jordan" userId="30755697-3be4-4efa-ad5c-ca2e4102b45a" providerId="ADAL" clId="{FC76EA98-9B1A-4F2F-9A6E-876FE3C87E8A}" dt="2025-06-27T11:03:37.136" v="104681" actId="1038"/>
        <pc:sldMkLst>
          <pc:docMk/>
          <pc:sldMk cId="3486213310" sldId="342"/>
        </pc:sldMkLst>
        <pc:spChg chg="mod">
          <ac:chgData name="Alex Jordan" userId="30755697-3be4-4efa-ad5c-ca2e4102b45a" providerId="ADAL" clId="{FC76EA98-9B1A-4F2F-9A6E-876FE3C87E8A}" dt="2025-06-25T08:46:32.744" v="101979" actId="948"/>
          <ac:spMkLst>
            <pc:docMk/>
            <pc:sldMk cId="3486213310" sldId="342"/>
            <ac:spMk id="2" creationId="{1921E439-F149-27E1-9605-8A2384282463}"/>
          </ac:spMkLst>
        </pc:spChg>
        <pc:spChg chg="mod">
          <ac:chgData name="Alex Jordan" userId="30755697-3be4-4efa-ad5c-ca2e4102b45a" providerId="ADAL" clId="{FC76EA98-9B1A-4F2F-9A6E-876FE3C87E8A}" dt="2025-06-27T11:03:37.136" v="104681" actId="1038"/>
          <ac:spMkLst>
            <pc:docMk/>
            <pc:sldMk cId="3486213310" sldId="342"/>
            <ac:spMk id="4" creationId="{EF1B93E4-196D-6B48-5D92-49A37E92C56F}"/>
          </ac:spMkLst>
        </pc:spChg>
        <pc:spChg chg="mod">
          <ac:chgData name="Alex Jordan" userId="30755697-3be4-4efa-ad5c-ca2e4102b45a" providerId="ADAL" clId="{FC76EA98-9B1A-4F2F-9A6E-876FE3C87E8A}" dt="2025-06-27T11:03:37.136" v="104681" actId="1038"/>
          <ac:spMkLst>
            <pc:docMk/>
            <pc:sldMk cId="3486213310" sldId="342"/>
            <ac:spMk id="5" creationId="{28032BB8-AA0D-CF8A-24F3-C498D7F55745}"/>
          </ac:spMkLst>
        </pc:spChg>
        <pc:spChg chg="mod">
          <ac:chgData name="Alex Jordan" userId="30755697-3be4-4efa-ad5c-ca2e4102b45a" providerId="ADAL" clId="{FC76EA98-9B1A-4F2F-9A6E-876FE3C87E8A}" dt="2025-06-27T11:03:37.136" v="104681" actId="1038"/>
          <ac:spMkLst>
            <pc:docMk/>
            <pc:sldMk cId="3486213310" sldId="342"/>
            <ac:spMk id="6" creationId="{D0D37932-561F-9A0D-6784-5725675062B9}"/>
          </ac:spMkLst>
        </pc:spChg>
        <pc:spChg chg="del mod">
          <ac:chgData name="Alex Jordan" userId="30755697-3be4-4efa-ad5c-ca2e4102b45a" providerId="ADAL" clId="{FC76EA98-9B1A-4F2F-9A6E-876FE3C87E8A}" dt="2025-06-27T11:03:32.195" v="104676" actId="478"/>
          <ac:spMkLst>
            <pc:docMk/>
            <pc:sldMk cId="3486213310" sldId="342"/>
            <ac:spMk id="8" creationId="{6DFB0C58-E1F9-3AAF-D714-30CE407C0E54}"/>
          </ac:spMkLst>
        </pc:spChg>
        <pc:spChg chg="mod">
          <ac:chgData name="Alex Jordan" userId="30755697-3be4-4efa-ad5c-ca2e4102b45a" providerId="ADAL" clId="{FC76EA98-9B1A-4F2F-9A6E-876FE3C87E8A}" dt="2025-06-25T08:46:29.475" v="99155" actId="947"/>
          <ac:spMkLst>
            <pc:docMk/>
            <pc:sldMk cId="3486213310" sldId="342"/>
            <ac:spMk id="9" creationId="{E3A76D93-8F86-F69F-3900-86B0A502E799}"/>
          </ac:spMkLst>
        </pc:spChg>
        <pc:spChg chg="add mod">
          <ac:chgData name="Alex Jordan" userId="30755697-3be4-4efa-ad5c-ca2e4102b45a" providerId="ADAL" clId="{FC76EA98-9B1A-4F2F-9A6E-876FE3C87E8A}" dt="2025-06-25T08:46:29.489" v="99171" actId="947"/>
          <ac:spMkLst>
            <pc:docMk/>
            <pc:sldMk cId="3486213310" sldId="342"/>
            <ac:spMk id="13" creationId="{238DD08D-EB97-D0A2-41E0-A56AA270E9A4}"/>
          </ac:spMkLst>
        </pc:spChg>
        <pc:spChg chg="add mod">
          <ac:chgData name="Alex Jordan" userId="30755697-3be4-4efa-ad5c-ca2e4102b45a" providerId="ADAL" clId="{FC76EA98-9B1A-4F2F-9A6E-876FE3C87E8A}" dt="2025-06-25T08:46:29.500" v="99189" actId="947"/>
          <ac:spMkLst>
            <pc:docMk/>
            <pc:sldMk cId="3486213310" sldId="342"/>
            <ac:spMk id="18" creationId="{92C1582F-90B1-070F-E2B7-9BDC52927105}"/>
          </ac:spMkLst>
        </pc:spChg>
        <pc:spChg chg="mod">
          <ac:chgData name="Alex Jordan" userId="30755697-3be4-4efa-ad5c-ca2e4102b45a" providerId="ADAL" clId="{FC76EA98-9B1A-4F2F-9A6E-876FE3C87E8A}" dt="2025-06-25T08:46:29.503" v="99191" actId="947"/>
          <ac:spMkLst>
            <pc:docMk/>
            <pc:sldMk cId="3486213310" sldId="342"/>
            <ac:spMk id="19" creationId="{6756F1C1-8B99-E635-F794-6A9F61448BF4}"/>
          </ac:spMkLst>
        </pc:spChg>
        <pc:spChg chg="add mod">
          <ac:chgData name="Alex Jordan" userId="30755697-3be4-4efa-ad5c-ca2e4102b45a" providerId="ADAL" clId="{FC76EA98-9B1A-4F2F-9A6E-876FE3C87E8A}" dt="2025-06-25T08:46:32.056" v="101958" actId="790"/>
          <ac:spMkLst>
            <pc:docMk/>
            <pc:sldMk cId="3486213310" sldId="342"/>
            <ac:spMk id="20" creationId="{78D03A11-FE8C-E627-BB5C-21026CC8E904}"/>
          </ac:spMkLst>
        </pc:spChg>
        <pc:spChg chg="add mod">
          <ac:chgData name="Alex Jordan" userId="30755697-3be4-4efa-ad5c-ca2e4102b45a" providerId="ADAL" clId="{FC76EA98-9B1A-4F2F-9A6E-876FE3C87E8A}" dt="2025-06-25T08:46:32.056" v="101958" actId="790"/>
          <ac:spMkLst>
            <pc:docMk/>
            <pc:sldMk cId="3486213310" sldId="342"/>
            <ac:spMk id="21" creationId="{64126608-5074-44B9-1F28-86BD16BDD68E}"/>
          </ac:spMkLst>
        </pc:spChg>
        <pc:spChg chg="mod">
          <ac:chgData name="Alex Jordan" userId="30755697-3be4-4efa-ad5c-ca2e4102b45a" providerId="ADAL" clId="{FC76EA98-9B1A-4F2F-9A6E-876FE3C87E8A}" dt="2025-06-25T08:46:29.508" v="99197" actId="947"/>
          <ac:spMkLst>
            <pc:docMk/>
            <pc:sldMk cId="3486213310" sldId="342"/>
            <ac:spMk id="22" creationId="{E5A04F54-59E3-BC7D-7CDC-5CB47C728DA6}"/>
          </ac:spMkLst>
        </pc:spChg>
        <pc:spChg chg="mod">
          <ac:chgData name="Alex Jordan" userId="30755697-3be4-4efa-ad5c-ca2e4102b45a" providerId="ADAL" clId="{FC76EA98-9B1A-4F2F-9A6E-876FE3C87E8A}" dt="2025-06-25T08:46:29.510" v="99199" actId="947"/>
          <ac:spMkLst>
            <pc:docMk/>
            <pc:sldMk cId="3486213310" sldId="342"/>
            <ac:spMk id="23" creationId="{7F657A94-0080-59D2-C46D-6B488C332379}"/>
          </ac:spMkLst>
        </pc:spChg>
        <pc:spChg chg="mod">
          <ac:chgData name="Alex Jordan" userId="30755697-3be4-4efa-ad5c-ca2e4102b45a" providerId="ADAL" clId="{FC76EA98-9B1A-4F2F-9A6E-876FE3C87E8A}" dt="2025-06-25T08:46:29.500" v="99187" actId="947"/>
          <ac:spMkLst>
            <pc:docMk/>
            <pc:sldMk cId="3486213310" sldId="342"/>
            <ac:spMk id="24" creationId="{71135187-9F70-00B9-114B-3F65E50EBE5C}"/>
          </ac:spMkLst>
        </pc:spChg>
        <pc:spChg chg="mod">
          <ac:chgData name="Alex Jordan" userId="30755697-3be4-4efa-ad5c-ca2e4102b45a" providerId="ADAL" clId="{FC76EA98-9B1A-4F2F-9A6E-876FE3C87E8A}" dt="2025-06-25T08:46:29.498" v="99185" actId="947"/>
          <ac:spMkLst>
            <pc:docMk/>
            <pc:sldMk cId="3486213310" sldId="342"/>
            <ac:spMk id="25" creationId="{D706FBF2-D9CB-8C71-528D-66722EB6F290}"/>
          </ac:spMkLst>
        </pc:spChg>
        <pc:spChg chg="add mod">
          <ac:chgData name="Alex Jordan" userId="30755697-3be4-4efa-ad5c-ca2e4102b45a" providerId="ADAL" clId="{FC76EA98-9B1A-4F2F-9A6E-876FE3C87E8A}" dt="2025-06-25T08:46:32.056" v="101958" actId="790"/>
          <ac:spMkLst>
            <pc:docMk/>
            <pc:sldMk cId="3486213310" sldId="342"/>
            <ac:spMk id="26" creationId="{86B2DBEC-095E-BB27-D7BA-C90BC915E7CA}"/>
          </ac:spMkLst>
        </pc:spChg>
        <pc:spChg chg="add mod">
          <ac:chgData name="Alex Jordan" userId="30755697-3be4-4efa-ad5c-ca2e4102b45a" providerId="ADAL" clId="{FC76EA98-9B1A-4F2F-9A6E-876FE3C87E8A}" dt="2025-06-25T08:46:32.056" v="101958" actId="790"/>
          <ac:spMkLst>
            <pc:docMk/>
            <pc:sldMk cId="3486213310" sldId="342"/>
            <ac:spMk id="27" creationId="{8247C026-4C26-E12B-AD14-433B401A2AAE}"/>
          </ac:spMkLst>
        </pc:spChg>
        <pc:spChg chg="add mod">
          <ac:chgData name="Alex Jordan" userId="30755697-3be4-4efa-ad5c-ca2e4102b45a" providerId="ADAL" clId="{FC76EA98-9B1A-4F2F-9A6E-876FE3C87E8A}" dt="2025-06-25T08:46:29.494" v="99179" actId="947"/>
          <ac:spMkLst>
            <pc:docMk/>
            <pc:sldMk cId="3486213310" sldId="342"/>
            <ac:spMk id="28" creationId="{7227DB7B-FF78-13AF-3F87-C19E3975055D}"/>
          </ac:spMkLst>
        </pc:spChg>
        <pc:spChg chg="mod">
          <ac:chgData name="Alex Jordan" userId="30755697-3be4-4efa-ad5c-ca2e4102b45a" providerId="ADAL" clId="{FC76EA98-9B1A-4F2F-9A6E-876FE3C87E8A}" dt="2025-06-25T08:46:29.494" v="99177" actId="947"/>
          <ac:spMkLst>
            <pc:docMk/>
            <pc:sldMk cId="3486213310" sldId="342"/>
            <ac:spMk id="29" creationId="{F0145663-D61A-5C3D-2DC4-E27129B95150}"/>
          </ac:spMkLst>
        </pc:spChg>
        <pc:spChg chg="mod">
          <ac:chgData name="Alex Jordan" userId="30755697-3be4-4efa-ad5c-ca2e4102b45a" providerId="ADAL" clId="{FC76EA98-9B1A-4F2F-9A6E-876FE3C87E8A}" dt="2025-06-25T08:46:29.492" v="99175" actId="947"/>
          <ac:spMkLst>
            <pc:docMk/>
            <pc:sldMk cId="3486213310" sldId="342"/>
            <ac:spMk id="30" creationId="{19D9A377-AEAD-2EFA-C882-99EE6094A7B0}"/>
          </ac:spMkLst>
        </pc:spChg>
        <pc:spChg chg="add mod">
          <ac:chgData name="Alex Jordan" userId="30755697-3be4-4efa-ad5c-ca2e4102b45a" providerId="ADAL" clId="{FC76EA98-9B1A-4F2F-9A6E-876FE3C87E8A}" dt="2025-06-25T08:46:32.056" v="101958" actId="790"/>
          <ac:spMkLst>
            <pc:docMk/>
            <pc:sldMk cId="3486213310" sldId="342"/>
            <ac:spMk id="31" creationId="{B69F6662-7B60-C943-F73E-D79DB17DB196}"/>
          </ac:spMkLst>
        </pc:spChg>
        <pc:spChg chg="add mod">
          <ac:chgData name="Alex Jordan" userId="30755697-3be4-4efa-ad5c-ca2e4102b45a" providerId="ADAL" clId="{FC76EA98-9B1A-4F2F-9A6E-876FE3C87E8A}" dt="2025-06-25T08:46:29.487" v="99169" actId="947"/>
          <ac:spMkLst>
            <pc:docMk/>
            <pc:sldMk cId="3486213310" sldId="342"/>
            <ac:spMk id="32" creationId="{7780C5E9-6435-6C0C-9A88-C64F74A63695}"/>
          </ac:spMkLst>
        </pc:spChg>
        <pc:spChg chg="mod">
          <ac:chgData name="Alex Jordan" userId="30755697-3be4-4efa-ad5c-ca2e4102b45a" providerId="ADAL" clId="{FC76EA98-9B1A-4F2F-9A6E-876FE3C87E8A}" dt="2025-06-25T08:46:29.485" v="99167" actId="947"/>
          <ac:spMkLst>
            <pc:docMk/>
            <pc:sldMk cId="3486213310" sldId="342"/>
            <ac:spMk id="33" creationId="{275EC7D3-C79F-9970-BF5A-926F2A072C6C}"/>
          </ac:spMkLst>
        </pc:spChg>
        <pc:spChg chg="add mod">
          <ac:chgData name="Alex Jordan" userId="30755697-3be4-4efa-ad5c-ca2e4102b45a" providerId="ADAL" clId="{FC76EA98-9B1A-4F2F-9A6E-876FE3C87E8A}" dt="2025-06-25T08:46:32.056" v="101958" actId="790"/>
          <ac:spMkLst>
            <pc:docMk/>
            <pc:sldMk cId="3486213310" sldId="342"/>
            <ac:spMk id="34" creationId="{2E338424-5AB8-A538-33E1-C3BE5C9AEE4D}"/>
          </ac:spMkLst>
        </pc:spChg>
        <pc:spChg chg="mod">
          <ac:chgData name="Alex Jordan" userId="30755697-3be4-4efa-ad5c-ca2e4102b45a" providerId="ADAL" clId="{FC76EA98-9B1A-4F2F-9A6E-876FE3C87E8A}" dt="2025-06-25T08:46:29.483" v="99163" actId="947"/>
          <ac:spMkLst>
            <pc:docMk/>
            <pc:sldMk cId="3486213310" sldId="342"/>
            <ac:spMk id="35" creationId="{1A67C7E0-CE62-3D58-6C35-1CEB69D77989}"/>
          </ac:spMkLst>
        </pc:spChg>
        <pc:spChg chg="mod">
          <ac:chgData name="Alex Jordan" userId="30755697-3be4-4efa-ad5c-ca2e4102b45a" providerId="ADAL" clId="{FC76EA98-9B1A-4F2F-9A6E-876FE3C87E8A}" dt="2025-06-25T08:46:29.481" v="99161" actId="947"/>
          <ac:spMkLst>
            <pc:docMk/>
            <pc:sldMk cId="3486213310" sldId="342"/>
            <ac:spMk id="36" creationId="{265A93A2-0DA6-3E2B-D9EB-0D0249128C70}"/>
          </ac:spMkLst>
        </pc:spChg>
        <pc:spChg chg="mod">
          <ac:chgData name="Alex Jordan" userId="30755697-3be4-4efa-ad5c-ca2e4102b45a" providerId="ADAL" clId="{FC76EA98-9B1A-4F2F-9A6E-876FE3C87E8A}" dt="2025-06-25T08:46:29.481" v="99159" actId="947"/>
          <ac:spMkLst>
            <pc:docMk/>
            <pc:sldMk cId="3486213310" sldId="342"/>
            <ac:spMk id="37" creationId="{62A378D9-8013-0E4E-62A1-B9A7A878DAD7}"/>
          </ac:spMkLst>
        </pc:spChg>
        <pc:spChg chg="mod">
          <ac:chgData name="Alex Jordan" userId="30755697-3be4-4efa-ad5c-ca2e4102b45a" providerId="ADAL" clId="{FC76EA98-9B1A-4F2F-9A6E-876FE3C87E8A}" dt="2025-06-25T08:46:32.056" v="101958" actId="790"/>
          <ac:spMkLst>
            <pc:docMk/>
            <pc:sldMk cId="3486213310" sldId="342"/>
            <ac:spMk id="48" creationId="{F59D1154-16B1-CE67-CC3C-522E0F0BEB45}"/>
          </ac:spMkLst>
        </pc:spChg>
        <pc:grpChg chg="mod">
          <ac:chgData name="Alex Jordan" userId="30755697-3be4-4efa-ad5c-ca2e4102b45a" providerId="ADAL" clId="{FC76EA98-9B1A-4F2F-9A6E-876FE3C87E8A}" dt="2025-06-24T21:19:20.058" v="87201" actId="1076"/>
          <ac:grpSpMkLst>
            <pc:docMk/>
            <pc:sldMk cId="3486213310" sldId="342"/>
            <ac:grpSpMk id="10" creationId="{785DC92D-906C-EE48-EE27-BC6C97ACEB68}"/>
          </ac:grpSpMkLst>
        </pc:grpChg>
        <pc:grpChg chg="mod">
          <ac:chgData name="Alex Jordan" userId="30755697-3be4-4efa-ad5c-ca2e4102b45a" providerId="ADAL" clId="{FC76EA98-9B1A-4F2F-9A6E-876FE3C87E8A}" dt="2025-06-24T21:19:20.058" v="87201" actId="1076"/>
          <ac:grpSpMkLst>
            <pc:docMk/>
            <pc:sldMk cId="3486213310" sldId="342"/>
            <ac:grpSpMk id="12" creationId="{C6B21938-E40D-484D-99CC-CA81926599E0}"/>
          </ac:grpSpMkLst>
        </pc:grpChg>
        <pc:grpChg chg="mod">
          <ac:chgData name="Alex Jordan" userId="30755697-3be4-4efa-ad5c-ca2e4102b45a" providerId="ADAL" clId="{FC76EA98-9B1A-4F2F-9A6E-876FE3C87E8A}" dt="2025-06-24T21:19:20.058" v="87201" actId="1076"/>
          <ac:grpSpMkLst>
            <pc:docMk/>
            <pc:sldMk cId="3486213310" sldId="342"/>
            <ac:grpSpMk id="16" creationId="{1D50AF71-BC26-73A5-B387-B4615950BE10}"/>
          </ac:grpSpMkLst>
        </pc:grpChg>
        <pc:graphicFrameChg chg="mod">
          <ac:chgData name="Alex Jordan" userId="30755697-3be4-4efa-ad5c-ca2e4102b45a" providerId="ADAL" clId="{FC76EA98-9B1A-4F2F-9A6E-876FE3C87E8A}" dt="2025-06-25T08:46:34.790" v="103864"/>
          <ac:graphicFrameMkLst>
            <pc:docMk/>
            <pc:sldMk cId="3486213310" sldId="342"/>
            <ac:graphicFrameMk id="7" creationId="{6E225D20-A38B-D5A4-88C2-69A51FF8B712}"/>
          </ac:graphicFrameMkLst>
        </pc:graphicFrameChg>
      </pc:sldChg>
      <pc:sldChg chg="addSp delSp modSp mod modNotes">
        <pc:chgData name="Alex Jordan" userId="30755697-3be4-4efa-ad5c-ca2e4102b45a" providerId="ADAL" clId="{FC76EA98-9B1A-4F2F-9A6E-876FE3C87E8A}" dt="2025-06-27T11:04:16.810" v="104701" actId="1038"/>
        <pc:sldMkLst>
          <pc:docMk/>
          <pc:sldMk cId="3994138954" sldId="345"/>
        </pc:sldMkLst>
        <pc:spChg chg="mod">
          <ac:chgData name="Alex Jordan" userId="30755697-3be4-4efa-ad5c-ca2e4102b45a" providerId="ADAL" clId="{FC76EA98-9B1A-4F2F-9A6E-876FE3C87E8A}" dt="2025-06-25T08:46:33.213" v="102399" actId="948"/>
          <ac:spMkLst>
            <pc:docMk/>
            <pc:sldMk cId="3994138954" sldId="345"/>
            <ac:spMk id="2" creationId="{A9DDF508-4C4E-A454-EFF9-D2F00049D758}"/>
          </ac:spMkLst>
        </pc:spChg>
        <pc:spChg chg="mod">
          <ac:chgData name="Alex Jordan" userId="30755697-3be4-4efa-ad5c-ca2e4102b45a" providerId="ADAL" clId="{FC76EA98-9B1A-4F2F-9A6E-876FE3C87E8A}" dt="2025-06-27T11:04:16.810" v="104701" actId="1038"/>
          <ac:spMkLst>
            <pc:docMk/>
            <pc:sldMk cId="3994138954" sldId="345"/>
            <ac:spMk id="4" creationId="{B42B097B-6E1F-3401-D48C-F65316497794}"/>
          </ac:spMkLst>
        </pc:spChg>
        <pc:spChg chg="mod">
          <ac:chgData name="Alex Jordan" userId="30755697-3be4-4efa-ad5c-ca2e4102b45a" providerId="ADAL" clId="{FC76EA98-9B1A-4F2F-9A6E-876FE3C87E8A}" dt="2025-06-27T11:04:16.810" v="104701" actId="1038"/>
          <ac:spMkLst>
            <pc:docMk/>
            <pc:sldMk cId="3994138954" sldId="345"/>
            <ac:spMk id="5" creationId="{49BC056C-631E-84DE-069F-0B3A91086484}"/>
          </ac:spMkLst>
        </pc:spChg>
        <pc:spChg chg="mod">
          <ac:chgData name="Alex Jordan" userId="30755697-3be4-4efa-ad5c-ca2e4102b45a" providerId="ADAL" clId="{FC76EA98-9B1A-4F2F-9A6E-876FE3C87E8A}" dt="2025-06-27T11:04:16.810" v="104701" actId="1038"/>
          <ac:spMkLst>
            <pc:docMk/>
            <pc:sldMk cId="3994138954" sldId="345"/>
            <ac:spMk id="6" creationId="{E6455735-E469-7B1A-62B0-7C9BE11E23AD}"/>
          </ac:spMkLst>
        </pc:spChg>
        <pc:spChg chg="del mod">
          <ac:chgData name="Alex Jordan" userId="30755697-3be4-4efa-ad5c-ca2e4102b45a" providerId="ADAL" clId="{FC76EA98-9B1A-4F2F-9A6E-876FE3C87E8A}" dt="2025-06-27T11:03:58.630" v="104686" actId="478"/>
          <ac:spMkLst>
            <pc:docMk/>
            <pc:sldMk cId="3994138954" sldId="345"/>
            <ac:spMk id="8" creationId="{78DE1035-7B85-CD57-1BD6-B6694DB7265B}"/>
          </ac:spMkLst>
        </pc:spChg>
        <pc:spChg chg="mod">
          <ac:chgData name="Alex Jordan" userId="30755697-3be4-4efa-ad5c-ca2e4102b45a" providerId="ADAL" clId="{FC76EA98-9B1A-4F2F-9A6E-876FE3C87E8A}" dt="2025-06-25T08:46:30.967" v="100933" actId="947"/>
          <ac:spMkLst>
            <pc:docMk/>
            <pc:sldMk cId="3994138954" sldId="345"/>
            <ac:spMk id="9" creationId="{38F5E937-158F-EC93-0BAF-CB8FCD4B8B1A}"/>
          </ac:spMkLst>
        </pc:spChg>
        <pc:spChg chg="mod">
          <ac:chgData name="Alex Jordan" userId="30755697-3be4-4efa-ad5c-ca2e4102b45a" providerId="ADAL" clId="{FC76EA98-9B1A-4F2F-9A6E-876FE3C87E8A}" dt="2025-06-25T08:46:32.056" v="101958" actId="790"/>
          <ac:spMkLst>
            <pc:docMk/>
            <pc:sldMk cId="3994138954" sldId="345"/>
            <ac:spMk id="38" creationId="{7D190BF5-560A-90D4-FBF6-05618B41318C}"/>
          </ac:spMkLst>
        </pc:spChg>
        <pc:spChg chg="mod">
          <ac:chgData name="Alex Jordan" userId="30755697-3be4-4efa-ad5c-ca2e4102b45a" providerId="ADAL" clId="{FC76EA98-9B1A-4F2F-9A6E-876FE3C87E8A}" dt="2025-06-25T08:46:32.056" v="101958" actId="790"/>
          <ac:spMkLst>
            <pc:docMk/>
            <pc:sldMk cId="3994138954" sldId="345"/>
            <ac:spMk id="39" creationId="{07C62BB2-9502-927E-05DF-F1103AEB2721}"/>
          </ac:spMkLst>
        </pc:spChg>
        <pc:spChg chg="mod">
          <ac:chgData name="Alex Jordan" userId="30755697-3be4-4efa-ad5c-ca2e4102b45a" providerId="ADAL" clId="{FC76EA98-9B1A-4F2F-9A6E-876FE3C87E8A}" dt="2025-06-25T08:46:32.056" v="101958" actId="790"/>
          <ac:spMkLst>
            <pc:docMk/>
            <pc:sldMk cId="3994138954" sldId="345"/>
            <ac:spMk id="40" creationId="{0E010174-7B69-7BC6-9F4E-3C90A295AB2E}"/>
          </ac:spMkLst>
        </pc:spChg>
        <pc:spChg chg="mod">
          <ac:chgData name="Alex Jordan" userId="30755697-3be4-4efa-ad5c-ca2e4102b45a" providerId="ADAL" clId="{FC76EA98-9B1A-4F2F-9A6E-876FE3C87E8A}" dt="2025-06-25T08:46:32.056" v="101958" actId="790"/>
          <ac:spMkLst>
            <pc:docMk/>
            <pc:sldMk cId="3994138954" sldId="345"/>
            <ac:spMk id="43" creationId="{273E1F7D-A751-D1D6-A148-3E378F9E4DC1}"/>
          </ac:spMkLst>
        </pc:spChg>
        <pc:spChg chg="add mod topLvl">
          <ac:chgData name="Alex Jordan" userId="30755697-3be4-4efa-ad5c-ca2e4102b45a" providerId="ADAL" clId="{FC76EA98-9B1A-4F2F-9A6E-876FE3C87E8A}" dt="2025-06-25T08:46:32.056" v="101958" actId="790"/>
          <ac:spMkLst>
            <pc:docMk/>
            <pc:sldMk cId="3994138954" sldId="345"/>
            <ac:spMk id="53" creationId="{C1B40667-0D03-B8AC-7F72-D6F564C6C44A}"/>
          </ac:spMkLst>
        </pc:spChg>
        <pc:spChg chg="add mod topLvl">
          <ac:chgData name="Alex Jordan" userId="30755697-3be4-4efa-ad5c-ca2e4102b45a" providerId="ADAL" clId="{FC76EA98-9B1A-4F2F-9A6E-876FE3C87E8A}" dt="2025-06-25T08:46:30.979" v="100945" actId="947"/>
          <ac:spMkLst>
            <pc:docMk/>
            <pc:sldMk cId="3994138954" sldId="345"/>
            <ac:spMk id="54" creationId="{47997145-A997-D788-E8DA-AE368A07F849}"/>
          </ac:spMkLst>
        </pc:spChg>
        <pc:spChg chg="add mod topLvl">
          <ac:chgData name="Alex Jordan" userId="30755697-3be4-4efa-ad5c-ca2e4102b45a" providerId="ADAL" clId="{FC76EA98-9B1A-4F2F-9A6E-876FE3C87E8A}" dt="2025-06-25T08:46:32.056" v="101958" actId="790"/>
          <ac:spMkLst>
            <pc:docMk/>
            <pc:sldMk cId="3994138954" sldId="345"/>
            <ac:spMk id="55" creationId="{31CDED88-11E2-7F33-0DB5-FFF280AD1B2F}"/>
          </ac:spMkLst>
        </pc:spChg>
        <pc:spChg chg="add mod">
          <ac:chgData name="Alex Jordan" userId="30755697-3be4-4efa-ad5c-ca2e4102b45a" providerId="ADAL" clId="{FC76EA98-9B1A-4F2F-9A6E-876FE3C87E8A}" dt="2025-06-25T08:46:32.056" v="101958" actId="790"/>
          <ac:spMkLst>
            <pc:docMk/>
            <pc:sldMk cId="3994138954" sldId="345"/>
            <ac:spMk id="58" creationId="{8737D555-2A45-4823-B02A-DDF7DCA2847E}"/>
          </ac:spMkLst>
        </pc:spChg>
        <pc:spChg chg="add mod">
          <ac:chgData name="Alex Jordan" userId="30755697-3be4-4efa-ad5c-ca2e4102b45a" providerId="ADAL" clId="{FC76EA98-9B1A-4F2F-9A6E-876FE3C87E8A}" dt="2025-06-25T08:46:32.056" v="101958" actId="790"/>
          <ac:spMkLst>
            <pc:docMk/>
            <pc:sldMk cId="3994138954" sldId="345"/>
            <ac:spMk id="4133" creationId="{733C89A8-A5FE-7B09-79F2-7B993208298B}"/>
          </ac:spMkLst>
        </pc:spChg>
        <pc:spChg chg="add mod">
          <ac:chgData name="Alex Jordan" userId="30755697-3be4-4efa-ad5c-ca2e4102b45a" providerId="ADAL" clId="{FC76EA98-9B1A-4F2F-9A6E-876FE3C87E8A}" dt="2025-06-25T08:46:30.979" v="100953" actId="947"/>
          <ac:spMkLst>
            <pc:docMk/>
            <pc:sldMk cId="3994138954" sldId="345"/>
            <ac:spMk id="4134" creationId="{5F66B43C-19CC-9929-132C-C7F112589A02}"/>
          </ac:spMkLst>
        </pc:spChg>
        <pc:grpChg chg="add mod topLvl">
          <ac:chgData name="Alex Jordan" userId="30755697-3be4-4efa-ad5c-ca2e4102b45a" providerId="ADAL" clId="{FC76EA98-9B1A-4F2F-9A6E-876FE3C87E8A}" dt="2025-06-24T13:00:38.859" v="2876" actId="14861"/>
          <ac:grpSpMkLst>
            <pc:docMk/>
            <pc:sldMk cId="3994138954" sldId="345"/>
            <ac:grpSpMk id="37" creationId="{3179AC9B-B97C-5F5C-6C81-F5B0100B5A68}"/>
          </ac:grpSpMkLst>
        </pc:grpChg>
        <pc:grpChg chg="mod">
          <ac:chgData name="Alex Jordan" userId="30755697-3be4-4efa-ad5c-ca2e4102b45a" providerId="ADAL" clId="{FC76EA98-9B1A-4F2F-9A6E-876FE3C87E8A}" dt="2025-06-24T12:57:40.945" v="2364" actId="165"/>
          <ac:grpSpMkLst>
            <pc:docMk/>
            <pc:sldMk cId="3994138954" sldId="345"/>
            <ac:grpSpMk id="41" creationId="{CA65B67A-402E-E4A6-3340-60D7E6D62510}"/>
          </ac:grpSpMkLst>
        </pc:grpChg>
        <pc:graphicFrameChg chg="mod">
          <ac:chgData name="Alex Jordan" userId="30755697-3be4-4efa-ad5c-ca2e4102b45a" providerId="ADAL" clId="{FC76EA98-9B1A-4F2F-9A6E-876FE3C87E8A}" dt="2025-06-25T08:46:34.927" v="103948"/>
          <ac:graphicFrameMkLst>
            <pc:docMk/>
            <pc:sldMk cId="3994138954" sldId="345"/>
            <ac:graphicFrameMk id="7" creationId="{D829C86A-31EE-4F77-6F9F-A8AF646BD7C2}"/>
          </ac:graphicFrameMkLst>
        </pc:graphicFrameChg>
        <pc:cxnChg chg="mod">
          <ac:chgData name="Alex Jordan" userId="30755697-3be4-4efa-ad5c-ca2e4102b45a" providerId="ADAL" clId="{FC76EA98-9B1A-4F2F-9A6E-876FE3C87E8A}" dt="2025-06-24T12:57:40.945" v="2364" actId="165"/>
          <ac:cxnSpMkLst>
            <pc:docMk/>
            <pc:sldMk cId="3994138954" sldId="345"/>
            <ac:cxnSpMk id="44" creationId="{E12BE380-8304-F95B-648A-54ABE64A29CE}"/>
          </ac:cxnSpMkLst>
        </pc:cxnChg>
        <pc:cxnChg chg="mod">
          <ac:chgData name="Alex Jordan" userId="30755697-3be4-4efa-ad5c-ca2e4102b45a" providerId="ADAL" clId="{FC76EA98-9B1A-4F2F-9A6E-876FE3C87E8A}" dt="2025-06-24T12:55:10.738" v="2338" actId="208"/>
          <ac:cxnSpMkLst>
            <pc:docMk/>
            <pc:sldMk cId="3994138954" sldId="345"/>
            <ac:cxnSpMk id="45" creationId="{63890014-30E8-80D2-BF80-B55B720FE497}"/>
          </ac:cxnSpMkLst>
        </pc:cxnChg>
        <pc:cxnChg chg="mod">
          <ac:chgData name="Alex Jordan" userId="30755697-3be4-4efa-ad5c-ca2e4102b45a" providerId="ADAL" clId="{FC76EA98-9B1A-4F2F-9A6E-876FE3C87E8A}" dt="2025-06-24T12:55:10.738" v="2338" actId="208"/>
          <ac:cxnSpMkLst>
            <pc:docMk/>
            <pc:sldMk cId="3994138954" sldId="345"/>
            <ac:cxnSpMk id="46" creationId="{628AF06D-61D5-19B1-7567-7133CD5C8FDE}"/>
          </ac:cxnSpMkLst>
        </pc:cxnChg>
        <pc:cxnChg chg="mod">
          <ac:chgData name="Alex Jordan" userId="30755697-3be4-4efa-ad5c-ca2e4102b45a" providerId="ADAL" clId="{FC76EA98-9B1A-4F2F-9A6E-876FE3C87E8A}" dt="2025-06-24T12:55:10.738" v="2338" actId="208"/>
          <ac:cxnSpMkLst>
            <pc:docMk/>
            <pc:sldMk cId="3994138954" sldId="345"/>
            <ac:cxnSpMk id="47" creationId="{45398EC3-31DA-8E72-4E5C-04BDF57C93A1}"/>
          </ac:cxnSpMkLst>
        </pc:cxnChg>
        <pc:cxnChg chg="mod">
          <ac:chgData name="Alex Jordan" userId="30755697-3be4-4efa-ad5c-ca2e4102b45a" providerId="ADAL" clId="{FC76EA98-9B1A-4F2F-9A6E-876FE3C87E8A}" dt="2025-06-24T12:55:10.738" v="2338" actId="208"/>
          <ac:cxnSpMkLst>
            <pc:docMk/>
            <pc:sldMk cId="3994138954" sldId="345"/>
            <ac:cxnSpMk id="49" creationId="{32B7B4F4-5BC5-E148-DFEA-8BADCA03246D}"/>
          </ac:cxnSpMkLst>
        </pc:cxnChg>
        <pc:cxnChg chg="mod">
          <ac:chgData name="Alex Jordan" userId="30755697-3be4-4efa-ad5c-ca2e4102b45a" providerId="ADAL" clId="{FC76EA98-9B1A-4F2F-9A6E-876FE3C87E8A}" dt="2025-06-24T12:55:10.738" v="2338" actId="208"/>
          <ac:cxnSpMkLst>
            <pc:docMk/>
            <pc:sldMk cId="3994138954" sldId="345"/>
            <ac:cxnSpMk id="50" creationId="{93C76D0B-86C0-2035-BEA0-D589E086D623}"/>
          </ac:cxnSpMkLst>
        </pc:cxnChg>
        <pc:cxnChg chg="mod">
          <ac:chgData name="Alex Jordan" userId="30755697-3be4-4efa-ad5c-ca2e4102b45a" providerId="ADAL" clId="{FC76EA98-9B1A-4F2F-9A6E-876FE3C87E8A}" dt="2025-06-24T12:55:10.738" v="2338" actId="208"/>
          <ac:cxnSpMkLst>
            <pc:docMk/>
            <pc:sldMk cId="3994138954" sldId="345"/>
            <ac:cxnSpMk id="51" creationId="{2BD33BC6-978E-981A-31D0-E507C86F4C27}"/>
          </ac:cxnSpMkLst>
        </pc:cxnChg>
        <pc:cxnChg chg="mod">
          <ac:chgData name="Alex Jordan" userId="30755697-3be4-4efa-ad5c-ca2e4102b45a" providerId="ADAL" clId="{FC76EA98-9B1A-4F2F-9A6E-876FE3C87E8A}" dt="2025-06-24T12:50:20.852" v="2104" actId="1076"/>
          <ac:cxnSpMkLst>
            <pc:docMk/>
            <pc:sldMk cId="3994138954" sldId="345"/>
            <ac:cxnSpMk id="52" creationId="{73997EFB-F9DE-A689-E560-B4575EB4A6F7}"/>
          </ac:cxnSpMkLst>
        </pc:cxnChg>
        <pc:cxnChg chg="add mod">
          <ac:chgData name="Alex Jordan" userId="30755697-3be4-4efa-ad5c-ca2e4102b45a" providerId="ADAL" clId="{FC76EA98-9B1A-4F2F-9A6E-876FE3C87E8A}" dt="2025-06-24T13:52:44.437" v="9878" actId="13822"/>
          <ac:cxnSpMkLst>
            <pc:docMk/>
            <pc:sldMk cId="3994138954" sldId="345"/>
            <ac:cxnSpMk id="4136" creationId="{33394BA1-A1C4-E3E8-806A-7417A04ABEF0}"/>
          </ac:cxnSpMkLst>
        </pc:cxnChg>
        <pc:cxnChg chg="add mod">
          <ac:chgData name="Alex Jordan" userId="30755697-3be4-4efa-ad5c-ca2e4102b45a" providerId="ADAL" clId="{FC76EA98-9B1A-4F2F-9A6E-876FE3C87E8A}" dt="2025-06-24T13:52:44.437" v="9878" actId="13822"/>
          <ac:cxnSpMkLst>
            <pc:docMk/>
            <pc:sldMk cId="3994138954" sldId="345"/>
            <ac:cxnSpMk id="4137" creationId="{7E07D772-7D43-4EE2-07B5-3A5A7D5CE9BF}"/>
          </ac:cxnSpMkLst>
        </pc:cxnChg>
      </pc:sldChg>
      <pc:sldChg chg="addSp delSp modSp del mod modNotes">
        <pc:chgData name="Alex Jordan" userId="30755697-3be4-4efa-ad5c-ca2e4102b45a" providerId="ADAL" clId="{FC76EA98-9B1A-4F2F-9A6E-876FE3C87E8A}" dt="2025-06-27T11:05:54.652" v="104793" actId="47"/>
        <pc:sldMkLst>
          <pc:docMk/>
          <pc:sldMk cId="1054010972" sldId="347"/>
        </pc:sldMkLst>
        <pc:spChg chg="mod">
          <ac:chgData name="Alex Jordan" userId="30755697-3be4-4efa-ad5c-ca2e4102b45a" providerId="ADAL" clId="{FC76EA98-9B1A-4F2F-9A6E-876FE3C87E8A}" dt="2025-06-25T08:46:33.130" v="102315" actId="948"/>
          <ac:spMkLst>
            <pc:docMk/>
            <pc:sldMk cId="1054010972" sldId="347"/>
            <ac:spMk id="2" creationId="{8B30ADA6-0D2A-BF99-8515-E9E9E3F92899}"/>
          </ac:spMkLst>
        </pc:spChg>
        <pc:spChg chg="mod">
          <ac:chgData name="Alex Jordan" userId="30755697-3be4-4efa-ad5c-ca2e4102b45a" providerId="ADAL" clId="{FC76EA98-9B1A-4F2F-9A6E-876FE3C87E8A}" dt="2025-06-25T08:46:32.056" v="101958" actId="790"/>
          <ac:spMkLst>
            <pc:docMk/>
            <pc:sldMk cId="1054010972" sldId="347"/>
            <ac:spMk id="4" creationId="{CDE99A79-8AB3-CA9B-D7D9-12E200B3488F}"/>
          </ac:spMkLst>
        </pc:spChg>
        <pc:spChg chg="mod">
          <ac:chgData name="Alex Jordan" userId="30755697-3be4-4efa-ad5c-ca2e4102b45a" providerId="ADAL" clId="{FC76EA98-9B1A-4F2F-9A6E-876FE3C87E8A}" dt="2025-06-25T08:46:32.056" v="101958" actId="790"/>
          <ac:spMkLst>
            <pc:docMk/>
            <pc:sldMk cId="1054010972" sldId="347"/>
            <ac:spMk id="5" creationId="{F1F6A37F-50BF-DCB7-0242-41D843655760}"/>
          </ac:spMkLst>
        </pc:spChg>
        <pc:spChg chg="mod">
          <ac:chgData name="Alex Jordan" userId="30755697-3be4-4efa-ad5c-ca2e4102b45a" providerId="ADAL" clId="{FC76EA98-9B1A-4F2F-9A6E-876FE3C87E8A}" dt="2025-06-25T08:46:32.056" v="101958" actId="790"/>
          <ac:spMkLst>
            <pc:docMk/>
            <pc:sldMk cId="1054010972" sldId="347"/>
            <ac:spMk id="6" creationId="{352CFCF8-7E61-1ADB-C4DD-C08A4399256A}"/>
          </ac:spMkLst>
        </pc:spChg>
        <pc:spChg chg="mod">
          <ac:chgData name="Alex Jordan" userId="30755697-3be4-4efa-ad5c-ca2e4102b45a" providerId="ADAL" clId="{FC76EA98-9B1A-4F2F-9A6E-876FE3C87E8A}" dt="2025-06-25T08:46:32.056" v="101958" actId="790"/>
          <ac:spMkLst>
            <pc:docMk/>
            <pc:sldMk cId="1054010972" sldId="347"/>
            <ac:spMk id="8" creationId="{3246AF8B-E99F-898B-A2FD-855157EB077E}"/>
          </ac:spMkLst>
        </pc:spChg>
        <pc:spChg chg="mod">
          <ac:chgData name="Alex Jordan" userId="30755697-3be4-4efa-ad5c-ca2e4102b45a" providerId="ADAL" clId="{FC76EA98-9B1A-4F2F-9A6E-876FE3C87E8A}" dt="2025-06-25T08:46:32.056" v="101958" actId="790"/>
          <ac:spMkLst>
            <pc:docMk/>
            <pc:sldMk cId="1054010972" sldId="347"/>
            <ac:spMk id="9" creationId="{8D50FBBD-C291-0DBB-0839-59E388429C43}"/>
          </ac:spMkLst>
        </pc:spChg>
        <pc:spChg chg="mod">
          <ac:chgData name="Alex Jordan" userId="30755697-3be4-4efa-ad5c-ca2e4102b45a" providerId="ADAL" clId="{FC76EA98-9B1A-4F2F-9A6E-876FE3C87E8A}" dt="2025-06-25T08:46:32.056" v="101958" actId="790"/>
          <ac:spMkLst>
            <pc:docMk/>
            <pc:sldMk cId="1054010972" sldId="347"/>
            <ac:spMk id="40" creationId="{0D8883FC-7DC2-8844-3259-E95561AB4A1C}"/>
          </ac:spMkLst>
        </pc:spChg>
        <pc:graphicFrameChg chg="mod">
          <ac:chgData name="Alex Jordan" userId="30755697-3be4-4efa-ad5c-ca2e4102b45a" providerId="ADAL" clId="{FC76EA98-9B1A-4F2F-9A6E-876FE3C87E8A}" dt="2025-06-25T08:46:34.906" v="103932"/>
          <ac:graphicFrameMkLst>
            <pc:docMk/>
            <pc:sldMk cId="1054010972" sldId="347"/>
            <ac:graphicFrameMk id="7" creationId="{CA28E6BF-5BBA-4A9A-8E55-401E89D05FFC}"/>
          </ac:graphicFrameMkLst>
        </pc:graphicFrameChg>
      </pc:sldChg>
      <pc:sldChg chg="addSp delSp modSp mod modNotes">
        <pc:chgData name="Alex Jordan" userId="30755697-3be4-4efa-ad5c-ca2e4102b45a" providerId="ADAL" clId="{FC76EA98-9B1A-4F2F-9A6E-876FE3C87E8A}" dt="2025-06-27T11:06:36.738" v="104809"/>
        <pc:sldMkLst>
          <pc:docMk/>
          <pc:sldMk cId="2164014164" sldId="348"/>
        </pc:sldMkLst>
        <pc:spChg chg="mod ord">
          <ac:chgData name="Alex Jordan" userId="30755697-3be4-4efa-ad5c-ca2e4102b45a" providerId="ADAL" clId="{FC76EA98-9B1A-4F2F-9A6E-876FE3C87E8A}" dt="2025-06-25T08:46:32.812" v="102042" actId="948"/>
          <ac:spMkLst>
            <pc:docMk/>
            <pc:sldMk cId="2164014164" sldId="348"/>
            <ac:spMk id="2" creationId="{8A87C2FC-705B-BDE4-0F25-D5018E16EC69}"/>
          </ac:spMkLst>
        </pc:spChg>
        <pc:spChg chg="add mod">
          <ac:chgData name="Alex Jordan" userId="30755697-3be4-4efa-ad5c-ca2e4102b45a" providerId="ADAL" clId="{FC76EA98-9B1A-4F2F-9A6E-876FE3C87E8A}" dt="2025-06-27T11:06:36.738" v="104809"/>
          <ac:spMkLst>
            <pc:docMk/>
            <pc:sldMk cId="2164014164" sldId="348"/>
            <ac:spMk id="3" creationId="{3B9F993C-8619-3420-DCC9-65D52D148652}"/>
          </ac:spMkLst>
        </pc:spChg>
        <pc:spChg chg="del mod ord">
          <ac:chgData name="Alex Jordan" userId="30755697-3be4-4efa-ad5c-ca2e4102b45a" providerId="ADAL" clId="{FC76EA98-9B1A-4F2F-9A6E-876FE3C87E8A}" dt="2025-06-27T11:06:14.418" v="104801" actId="478"/>
          <ac:spMkLst>
            <pc:docMk/>
            <pc:sldMk cId="2164014164" sldId="348"/>
            <ac:spMk id="4" creationId="{D8BEB1B5-47B8-75FC-F6B3-77657DB11046}"/>
          </ac:spMkLst>
        </pc:spChg>
        <pc:spChg chg="del mod ord">
          <ac:chgData name="Alex Jordan" userId="30755697-3be4-4efa-ad5c-ca2e4102b45a" providerId="ADAL" clId="{FC76EA98-9B1A-4F2F-9A6E-876FE3C87E8A}" dt="2025-06-27T11:06:14.418" v="104801" actId="478"/>
          <ac:spMkLst>
            <pc:docMk/>
            <pc:sldMk cId="2164014164" sldId="348"/>
            <ac:spMk id="5" creationId="{6841FE57-875A-151B-96E7-0DF98C69CED6}"/>
          </ac:spMkLst>
        </pc:spChg>
        <pc:spChg chg="del mod ord">
          <ac:chgData name="Alex Jordan" userId="30755697-3be4-4efa-ad5c-ca2e4102b45a" providerId="ADAL" clId="{FC76EA98-9B1A-4F2F-9A6E-876FE3C87E8A}" dt="2025-06-27T11:06:14.418" v="104801" actId="478"/>
          <ac:spMkLst>
            <pc:docMk/>
            <pc:sldMk cId="2164014164" sldId="348"/>
            <ac:spMk id="6" creationId="{9FA18B21-8DB7-3B54-8A19-6E7115563319}"/>
          </ac:spMkLst>
        </pc:spChg>
        <pc:spChg chg="del mod ord">
          <ac:chgData name="Alex Jordan" userId="30755697-3be4-4efa-ad5c-ca2e4102b45a" providerId="ADAL" clId="{FC76EA98-9B1A-4F2F-9A6E-876FE3C87E8A}" dt="2025-06-27T11:06:14.418" v="104801" actId="478"/>
          <ac:spMkLst>
            <pc:docMk/>
            <pc:sldMk cId="2164014164" sldId="348"/>
            <ac:spMk id="8" creationId="{4B0F6A68-A2CA-079B-5BC9-F7E1E9C39553}"/>
          </ac:spMkLst>
        </pc:spChg>
        <pc:spChg chg="del mod ord">
          <ac:chgData name="Alex Jordan" userId="30755697-3be4-4efa-ad5c-ca2e4102b45a" providerId="ADAL" clId="{FC76EA98-9B1A-4F2F-9A6E-876FE3C87E8A}" dt="2025-06-27T11:06:14.418" v="104801" actId="478"/>
          <ac:spMkLst>
            <pc:docMk/>
            <pc:sldMk cId="2164014164" sldId="348"/>
            <ac:spMk id="9" creationId="{5CF1EF65-28D2-A890-94F2-1B7523358D43}"/>
          </ac:spMkLst>
        </pc:spChg>
        <pc:spChg chg="mod ord">
          <ac:chgData name="Alex Jordan" userId="30755697-3be4-4efa-ad5c-ca2e4102b45a" providerId="ADAL" clId="{FC76EA98-9B1A-4F2F-9A6E-876FE3C87E8A}" dt="2025-06-25T08:46:29.791" v="99521" actId="947"/>
          <ac:spMkLst>
            <pc:docMk/>
            <pc:sldMk cId="2164014164" sldId="348"/>
            <ac:spMk id="10" creationId="{2CF3BFC7-3F8E-0FBD-46C1-C44955BC484A}"/>
          </ac:spMkLst>
        </pc:spChg>
        <pc:spChg chg="add mod">
          <ac:chgData name="Alex Jordan" userId="30755697-3be4-4efa-ad5c-ca2e4102b45a" providerId="ADAL" clId="{FC76EA98-9B1A-4F2F-9A6E-876FE3C87E8A}" dt="2025-06-25T08:46:29.800" v="99531" actId="947"/>
          <ac:spMkLst>
            <pc:docMk/>
            <pc:sldMk cId="2164014164" sldId="348"/>
            <ac:spMk id="12" creationId="{D60AF66B-609B-DD8F-C8D7-A71A3DAD3CB8}"/>
          </ac:spMkLst>
        </pc:spChg>
        <pc:spChg chg="add mod">
          <ac:chgData name="Alex Jordan" userId="30755697-3be4-4efa-ad5c-ca2e4102b45a" providerId="ADAL" clId="{FC76EA98-9B1A-4F2F-9A6E-876FE3C87E8A}" dt="2025-06-25T08:46:32.056" v="101958" actId="790"/>
          <ac:spMkLst>
            <pc:docMk/>
            <pc:sldMk cId="2164014164" sldId="348"/>
            <ac:spMk id="13" creationId="{82CE8F5B-6725-9FBB-88CA-E2F5DEFC569B}"/>
          </ac:spMkLst>
        </pc:spChg>
        <pc:spChg chg="add mod">
          <ac:chgData name="Alex Jordan" userId="30755697-3be4-4efa-ad5c-ca2e4102b45a" providerId="ADAL" clId="{FC76EA98-9B1A-4F2F-9A6E-876FE3C87E8A}" dt="2025-06-25T08:46:29.800" v="99527" actId="947"/>
          <ac:spMkLst>
            <pc:docMk/>
            <pc:sldMk cId="2164014164" sldId="348"/>
            <ac:spMk id="14" creationId="{30F46AF2-6C71-9528-1B36-6530D7E6D331}"/>
          </ac:spMkLst>
        </pc:spChg>
        <pc:spChg chg="add mod">
          <ac:chgData name="Alex Jordan" userId="30755697-3be4-4efa-ad5c-ca2e4102b45a" providerId="ADAL" clId="{FC76EA98-9B1A-4F2F-9A6E-876FE3C87E8A}" dt="2025-06-25T08:46:29.800" v="99525" actId="947"/>
          <ac:spMkLst>
            <pc:docMk/>
            <pc:sldMk cId="2164014164" sldId="348"/>
            <ac:spMk id="15" creationId="{E797292D-8DE9-39B7-36B8-BDD5BE3C4AA1}"/>
          </ac:spMkLst>
        </pc:spChg>
        <pc:spChg chg="add mod">
          <ac:chgData name="Alex Jordan" userId="30755697-3be4-4efa-ad5c-ca2e4102b45a" providerId="ADAL" clId="{FC76EA98-9B1A-4F2F-9A6E-876FE3C87E8A}" dt="2025-06-27T11:06:36.738" v="104809"/>
          <ac:spMkLst>
            <pc:docMk/>
            <pc:sldMk cId="2164014164" sldId="348"/>
            <ac:spMk id="16" creationId="{82216177-8F10-C2EE-B4DA-315E5247895D}"/>
          </ac:spMkLst>
        </pc:spChg>
        <pc:spChg chg="add mod">
          <ac:chgData name="Alex Jordan" userId="30755697-3be4-4efa-ad5c-ca2e4102b45a" providerId="ADAL" clId="{FC76EA98-9B1A-4F2F-9A6E-876FE3C87E8A}" dt="2025-06-27T11:06:36.738" v="104809"/>
          <ac:spMkLst>
            <pc:docMk/>
            <pc:sldMk cId="2164014164" sldId="348"/>
            <ac:spMk id="17" creationId="{A12DAE26-2332-B01A-2D25-07DCE71A11CA}"/>
          </ac:spMkLst>
        </pc:spChg>
        <pc:spChg chg="mod ord">
          <ac:chgData name="Alex Jordan" userId="30755697-3be4-4efa-ad5c-ca2e4102b45a" providerId="ADAL" clId="{FC76EA98-9B1A-4F2F-9A6E-876FE3C87E8A}" dt="2025-06-25T08:46:29.810" v="99537" actId="947"/>
          <ac:spMkLst>
            <pc:docMk/>
            <pc:sldMk cId="2164014164" sldId="348"/>
            <ac:spMk id="19" creationId="{96B8DC7F-E415-B018-9A7F-4382F3F3BD99}"/>
          </ac:spMkLst>
        </pc:spChg>
        <pc:spChg chg="mod ord">
          <ac:chgData name="Alex Jordan" userId="30755697-3be4-4efa-ad5c-ca2e4102b45a" providerId="ADAL" clId="{FC76EA98-9B1A-4F2F-9A6E-876FE3C87E8A}" dt="2025-06-25T08:46:29.823" v="99563" actId="947"/>
          <ac:spMkLst>
            <pc:docMk/>
            <pc:sldMk cId="2164014164" sldId="348"/>
            <ac:spMk id="26" creationId="{650C0B36-EFDF-65A1-DC91-D4AF739ED24F}"/>
          </ac:spMkLst>
        </pc:spChg>
        <pc:spChg chg="mod ord">
          <ac:chgData name="Alex Jordan" userId="30755697-3be4-4efa-ad5c-ca2e4102b45a" providerId="ADAL" clId="{FC76EA98-9B1A-4F2F-9A6E-876FE3C87E8A}" dt="2025-06-25T08:46:32.056" v="101958" actId="790"/>
          <ac:spMkLst>
            <pc:docMk/>
            <pc:sldMk cId="2164014164" sldId="348"/>
            <ac:spMk id="27" creationId="{F7377075-7606-F282-734C-AB12561FAE0F}"/>
          </ac:spMkLst>
        </pc:spChg>
        <pc:spChg chg="add mod ord">
          <ac:chgData name="Alex Jordan" userId="30755697-3be4-4efa-ad5c-ca2e4102b45a" providerId="ADAL" clId="{FC76EA98-9B1A-4F2F-9A6E-876FE3C87E8A}" dt="2025-06-25T08:46:29.823" v="99565" actId="947"/>
          <ac:spMkLst>
            <pc:docMk/>
            <pc:sldMk cId="2164014164" sldId="348"/>
            <ac:spMk id="28" creationId="{C24D795D-5AFB-70AF-AE71-CF14D731695A}"/>
          </ac:spMkLst>
        </pc:spChg>
        <pc:spChg chg="mod ord">
          <ac:chgData name="Alex Jordan" userId="30755697-3be4-4efa-ad5c-ca2e4102b45a" providerId="ADAL" clId="{FC76EA98-9B1A-4F2F-9A6E-876FE3C87E8A}" dt="2025-06-25T08:46:29.823" v="99567" actId="947"/>
          <ac:spMkLst>
            <pc:docMk/>
            <pc:sldMk cId="2164014164" sldId="348"/>
            <ac:spMk id="29" creationId="{4B75F728-327E-E34B-9D65-BE28B1B9CB3F}"/>
          </ac:spMkLst>
        </pc:spChg>
        <pc:spChg chg="mod ord">
          <ac:chgData name="Alex Jordan" userId="30755697-3be4-4efa-ad5c-ca2e4102b45a" providerId="ADAL" clId="{FC76EA98-9B1A-4F2F-9A6E-876FE3C87E8A}" dt="2025-06-25T08:46:32.056" v="101958" actId="790"/>
          <ac:spMkLst>
            <pc:docMk/>
            <pc:sldMk cId="2164014164" sldId="348"/>
            <ac:spMk id="30" creationId="{3D1E0D82-4F73-9630-5948-CD081C83307C}"/>
          </ac:spMkLst>
        </pc:spChg>
        <pc:spChg chg="mod ord">
          <ac:chgData name="Alex Jordan" userId="30755697-3be4-4efa-ad5c-ca2e4102b45a" providerId="ADAL" clId="{FC76EA98-9B1A-4F2F-9A6E-876FE3C87E8A}" dt="2025-06-25T08:46:29.833" v="99571" actId="947"/>
          <ac:spMkLst>
            <pc:docMk/>
            <pc:sldMk cId="2164014164" sldId="348"/>
            <ac:spMk id="31" creationId="{DAA2FB62-00BA-171F-AA85-49F1B32D1DD1}"/>
          </ac:spMkLst>
        </pc:spChg>
        <pc:spChg chg="mod ord">
          <ac:chgData name="Alex Jordan" userId="30755697-3be4-4efa-ad5c-ca2e4102b45a" providerId="ADAL" clId="{FC76EA98-9B1A-4F2F-9A6E-876FE3C87E8A}" dt="2025-06-25T08:46:29.833" v="99573" actId="947"/>
          <ac:spMkLst>
            <pc:docMk/>
            <pc:sldMk cId="2164014164" sldId="348"/>
            <ac:spMk id="32" creationId="{1CE15D75-ECF6-EEDF-C0B5-12121B5DE976}"/>
          </ac:spMkLst>
        </pc:spChg>
        <pc:spChg chg="mod ord">
          <ac:chgData name="Alex Jordan" userId="30755697-3be4-4efa-ad5c-ca2e4102b45a" providerId="ADAL" clId="{FC76EA98-9B1A-4F2F-9A6E-876FE3C87E8A}" dt="2025-06-25T08:46:29.839" v="99575" actId="947"/>
          <ac:spMkLst>
            <pc:docMk/>
            <pc:sldMk cId="2164014164" sldId="348"/>
            <ac:spMk id="33" creationId="{B604840A-0C14-4486-A08D-32BE4D814494}"/>
          </ac:spMkLst>
        </pc:spChg>
        <pc:spChg chg="mod ord">
          <ac:chgData name="Alex Jordan" userId="30755697-3be4-4efa-ad5c-ca2e4102b45a" providerId="ADAL" clId="{FC76EA98-9B1A-4F2F-9A6E-876FE3C87E8A}" dt="2025-06-25T08:46:29.839" v="99577" actId="947"/>
          <ac:spMkLst>
            <pc:docMk/>
            <pc:sldMk cId="2164014164" sldId="348"/>
            <ac:spMk id="34" creationId="{F20280B2-E116-4D12-B389-C4889F021B61}"/>
          </ac:spMkLst>
        </pc:spChg>
        <pc:spChg chg="mod ord">
          <ac:chgData name="Alex Jordan" userId="30755697-3be4-4efa-ad5c-ca2e4102b45a" providerId="ADAL" clId="{FC76EA98-9B1A-4F2F-9A6E-876FE3C87E8A}" dt="2025-06-25T08:46:29.844" v="99579" actId="947"/>
          <ac:spMkLst>
            <pc:docMk/>
            <pc:sldMk cId="2164014164" sldId="348"/>
            <ac:spMk id="35" creationId="{8E68CAE5-9910-9DDF-7B0E-4505CB88727C}"/>
          </ac:spMkLst>
        </pc:spChg>
        <pc:spChg chg="add mod ord">
          <ac:chgData name="Alex Jordan" userId="30755697-3be4-4efa-ad5c-ca2e4102b45a" providerId="ADAL" clId="{FC76EA98-9B1A-4F2F-9A6E-876FE3C87E8A}" dt="2025-06-25T08:46:29.844" v="99581" actId="947"/>
          <ac:spMkLst>
            <pc:docMk/>
            <pc:sldMk cId="2164014164" sldId="348"/>
            <ac:spMk id="36" creationId="{B9A21439-1F60-5040-F5BA-197D2481436D}"/>
          </ac:spMkLst>
        </pc:spChg>
        <pc:spChg chg="mod ord">
          <ac:chgData name="Alex Jordan" userId="30755697-3be4-4efa-ad5c-ca2e4102b45a" providerId="ADAL" clId="{FC76EA98-9B1A-4F2F-9A6E-876FE3C87E8A}" dt="2025-06-25T08:46:32.056" v="101958" actId="790"/>
          <ac:spMkLst>
            <pc:docMk/>
            <pc:sldMk cId="2164014164" sldId="348"/>
            <ac:spMk id="37" creationId="{296E5468-CD6C-D5AA-F459-B0A204C490E3}"/>
          </ac:spMkLst>
        </pc:spChg>
        <pc:spChg chg="mod ord">
          <ac:chgData name="Alex Jordan" userId="30755697-3be4-4efa-ad5c-ca2e4102b45a" providerId="ADAL" clId="{FC76EA98-9B1A-4F2F-9A6E-876FE3C87E8A}" dt="2025-06-25T08:46:29.847" v="99585" actId="947"/>
          <ac:spMkLst>
            <pc:docMk/>
            <pc:sldMk cId="2164014164" sldId="348"/>
            <ac:spMk id="38" creationId="{A24E1D09-1A7F-CB7C-FBB9-44983D11B35A}"/>
          </ac:spMkLst>
        </pc:spChg>
        <pc:spChg chg="add mod ord">
          <ac:chgData name="Alex Jordan" userId="30755697-3be4-4efa-ad5c-ca2e4102b45a" providerId="ADAL" clId="{FC76EA98-9B1A-4F2F-9A6E-876FE3C87E8A}" dt="2025-06-25T08:46:29.853" v="99587" actId="947"/>
          <ac:spMkLst>
            <pc:docMk/>
            <pc:sldMk cId="2164014164" sldId="348"/>
            <ac:spMk id="39" creationId="{BEC94D69-A688-EC2B-528A-B477077168D4}"/>
          </ac:spMkLst>
        </pc:spChg>
        <pc:spChg chg="add mod">
          <ac:chgData name="Alex Jordan" userId="30755697-3be4-4efa-ad5c-ca2e4102b45a" providerId="ADAL" clId="{FC76EA98-9B1A-4F2F-9A6E-876FE3C87E8A}" dt="2025-06-25T08:46:32.056" v="101958" actId="790"/>
          <ac:spMkLst>
            <pc:docMk/>
            <pc:sldMk cId="2164014164" sldId="348"/>
            <ac:spMk id="40" creationId="{12CB775C-1EC2-9F6D-50B2-1E0E34F33EDE}"/>
          </ac:spMkLst>
        </pc:spChg>
        <pc:spChg chg="mod">
          <ac:chgData name="Alex Jordan" userId="30755697-3be4-4efa-ad5c-ca2e4102b45a" providerId="ADAL" clId="{FC76EA98-9B1A-4F2F-9A6E-876FE3C87E8A}" dt="2025-06-25T08:46:29.823" v="99559" actId="947"/>
          <ac:spMkLst>
            <pc:docMk/>
            <pc:sldMk cId="2164014164" sldId="348"/>
            <ac:spMk id="41" creationId="{813959CA-2EDC-D938-2BC1-30B7422E3936}"/>
          </ac:spMkLst>
        </pc:spChg>
        <pc:spChg chg="add mod">
          <ac:chgData name="Alex Jordan" userId="30755697-3be4-4efa-ad5c-ca2e4102b45a" providerId="ADAL" clId="{FC76EA98-9B1A-4F2F-9A6E-876FE3C87E8A}" dt="2025-06-25T08:46:29.823" v="99557" actId="947"/>
          <ac:spMkLst>
            <pc:docMk/>
            <pc:sldMk cId="2164014164" sldId="348"/>
            <ac:spMk id="42" creationId="{4AA4AEB3-28FA-FDF3-6C86-930A50D0ED04}"/>
          </ac:spMkLst>
        </pc:spChg>
        <pc:spChg chg="add mod">
          <ac:chgData name="Alex Jordan" userId="30755697-3be4-4efa-ad5c-ca2e4102b45a" providerId="ADAL" clId="{FC76EA98-9B1A-4F2F-9A6E-876FE3C87E8A}" dt="2025-06-25T08:46:32.056" v="101958" actId="790"/>
          <ac:spMkLst>
            <pc:docMk/>
            <pc:sldMk cId="2164014164" sldId="348"/>
            <ac:spMk id="43" creationId="{0216FE56-EDA3-F54A-6547-A050763BB633}"/>
          </ac:spMkLst>
        </pc:spChg>
        <pc:spChg chg="mod">
          <ac:chgData name="Alex Jordan" userId="30755697-3be4-4efa-ad5c-ca2e4102b45a" providerId="ADAL" clId="{FC76EA98-9B1A-4F2F-9A6E-876FE3C87E8A}" dt="2025-06-25T08:46:29.810" v="99553" actId="947"/>
          <ac:spMkLst>
            <pc:docMk/>
            <pc:sldMk cId="2164014164" sldId="348"/>
            <ac:spMk id="44" creationId="{D54CAB43-9CC9-C83E-A11B-8C70734835E1}"/>
          </ac:spMkLst>
        </pc:spChg>
        <pc:spChg chg="add mod">
          <ac:chgData name="Alex Jordan" userId="30755697-3be4-4efa-ad5c-ca2e4102b45a" providerId="ADAL" clId="{FC76EA98-9B1A-4F2F-9A6E-876FE3C87E8A}" dt="2025-06-25T08:46:29.810" v="99551" actId="947"/>
          <ac:spMkLst>
            <pc:docMk/>
            <pc:sldMk cId="2164014164" sldId="348"/>
            <ac:spMk id="45" creationId="{BADBC323-5D22-D1B2-E6D1-E47AE485B438}"/>
          </ac:spMkLst>
        </pc:spChg>
        <pc:spChg chg="mod">
          <ac:chgData name="Alex Jordan" userId="30755697-3be4-4efa-ad5c-ca2e4102b45a" providerId="ADAL" clId="{FC76EA98-9B1A-4F2F-9A6E-876FE3C87E8A}" dt="2025-06-25T08:46:29.810" v="99549" actId="947"/>
          <ac:spMkLst>
            <pc:docMk/>
            <pc:sldMk cId="2164014164" sldId="348"/>
            <ac:spMk id="46" creationId="{2F019D0E-1B0D-8A9F-A5A4-849581EBFD4B}"/>
          </ac:spMkLst>
        </pc:spChg>
        <pc:spChg chg="add mod">
          <ac:chgData name="Alex Jordan" userId="30755697-3be4-4efa-ad5c-ca2e4102b45a" providerId="ADAL" clId="{FC76EA98-9B1A-4F2F-9A6E-876FE3C87E8A}" dt="2025-06-25T08:46:29.810" v="99547" actId="947"/>
          <ac:spMkLst>
            <pc:docMk/>
            <pc:sldMk cId="2164014164" sldId="348"/>
            <ac:spMk id="47" creationId="{90E194E3-7486-74E1-6C4F-DF2FCAC4D046}"/>
          </ac:spMkLst>
        </pc:spChg>
        <pc:spChg chg="mod">
          <ac:chgData name="Alex Jordan" userId="30755697-3be4-4efa-ad5c-ca2e4102b45a" providerId="ADAL" clId="{FC76EA98-9B1A-4F2F-9A6E-876FE3C87E8A}" dt="2025-06-25T08:46:32.056" v="101958" actId="790"/>
          <ac:spMkLst>
            <pc:docMk/>
            <pc:sldMk cId="2164014164" sldId="348"/>
            <ac:spMk id="48" creationId="{774DCEF9-9741-1C0D-1689-D39BAC57AD59}"/>
          </ac:spMkLst>
        </pc:spChg>
        <pc:spChg chg="mod">
          <ac:chgData name="Alex Jordan" userId="30755697-3be4-4efa-ad5c-ca2e4102b45a" providerId="ADAL" clId="{FC76EA98-9B1A-4F2F-9A6E-876FE3C87E8A}" dt="2025-06-25T08:46:29.810" v="99543" actId="947"/>
          <ac:spMkLst>
            <pc:docMk/>
            <pc:sldMk cId="2164014164" sldId="348"/>
            <ac:spMk id="49" creationId="{227C5CE5-E008-3969-A04E-A96A3C60B490}"/>
          </ac:spMkLst>
        </pc:spChg>
        <pc:spChg chg="add mod">
          <ac:chgData name="Alex Jordan" userId="30755697-3be4-4efa-ad5c-ca2e4102b45a" providerId="ADAL" clId="{FC76EA98-9B1A-4F2F-9A6E-876FE3C87E8A}" dt="2025-06-25T08:46:29.810" v="99541" actId="947"/>
          <ac:spMkLst>
            <pc:docMk/>
            <pc:sldMk cId="2164014164" sldId="348"/>
            <ac:spMk id="50" creationId="{3AABA4CA-6160-931C-44D5-B22709D7E1E7}"/>
          </ac:spMkLst>
        </pc:spChg>
        <pc:spChg chg="mod">
          <ac:chgData name="Alex Jordan" userId="30755697-3be4-4efa-ad5c-ca2e4102b45a" providerId="ADAL" clId="{FC76EA98-9B1A-4F2F-9A6E-876FE3C87E8A}" dt="2025-06-25T08:46:29.810" v="99539" actId="947"/>
          <ac:spMkLst>
            <pc:docMk/>
            <pc:sldMk cId="2164014164" sldId="348"/>
            <ac:spMk id="51" creationId="{1D101536-961B-0FFA-B8AC-D2662CEDF772}"/>
          </ac:spMkLst>
        </pc:spChg>
        <pc:spChg chg="add mod">
          <ac:chgData name="Alex Jordan" userId="30755697-3be4-4efa-ad5c-ca2e4102b45a" providerId="ADAL" clId="{FC76EA98-9B1A-4F2F-9A6E-876FE3C87E8A}" dt="2025-06-25T08:46:29.807" v="99535" actId="947"/>
          <ac:spMkLst>
            <pc:docMk/>
            <pc:sldMk cId="2164014164" sldId="348"/>
            <ac:spMk id="52" creationId="{77BA0669-76E3-218B-2DBB-D75465173B47}"/>
          </ac:spMkLst>
        </pc:spChg>
        <pc:spChg chg="mod">
          <ac:chgData name="Alex Jordan" userId="30755697-3be4-4efa-ad5c-ca2e4102b45a" providerId="ADAL" clId="{FC76EA98-9B1A-4F2F-9A6E-876FE3C87E8A}" dt="2025-06-25T08:46:29.807" v="99533" actId="947"/>
          <ac:spMkLst>
            <pc:docMk/>
            <pc:sldMk cId="2164014164" sldId="348"/>
            <ac:spMk id="53" creationId="{699E778B-AC3B-6338-30E7-2CFF38A33D2A}"/>
          </ac:spMkLst>
        </pc:spChg>
        <pc:spChg chg="add mod ord">
          <ac:chgData name="Alex Jordan" userId="30755697-3be4-4efa-ad5c-ca2e4102b45a" providerId="ADAL" clId="{FC76EA98-9B1A-4F2F-9A6E-876FE3C87E8A}" dt="2025-06-25T08:46:32.056" v="101958" actId="790"/>
          <ac:spMkLst>
            <pc:docMk/>
            <pc:sldMk cId="2164014164" sldId="348"/>
            <ac:spMk id="55" creationId="{4AF38A8F-7B25-7C3C-4C98-DE23B1CD9824}"/>
          </ac:spMkLst>
        </pc:spChg>
        <pc:spChg chg="mod">
          <ac:chgData name="Alex Jordan" userId="30755697-3be4-4efa-ad5c-ca2e4102b45a" providerId="ADAL" clId="{FC76EA98-9B1A-4F2F-9A6E-876FE3C87E8A}" dt="2025-06-25T08:46:29.857" v="99591" actId="947"/>
          <ac:spMkLst>
            <pc:docMk/>
            <pc:sldMk cId="2164014164" sldId="348"/>
            <ac:spMk id="57" creationId="{CCC2EA27-8E32-9CFB-A51A-C72A7AA0C748}"/>
          </ac:spMkLst>
        </pc:spChg>
        <pc:spChg chg="mod">
          <ac:chgData name="Alex Jordan" userId="30755697-3be4-4efa-ad5c-ca2e4102b45a" providerId="ADAL" clId="{FC76EA98-9B1A-4F2F-9A6E-876FE3C87E8A}" dt="2025-06-25T08:46:29.855" v="99589" actId="947"/>
          <ac:spMkLst>
            <pc:docMk/>
            <pc:sldMk cId="2164014164" sldId="348"/>
            <ac:spMk id="58" creationId="{CF010335-34AE-AF08-EBE0-554A63A1DFB4}"/>
          </ac:spMkLst>
        </pc:spChg>
        <pc:spChg chg="add mod">
          <ac:chgData name="Alex Jordan" userId="30755697-3be4-4efa-ad5c-ca2e4102b45a" providerId="ADAL" clId="{FC76EA98-9B1A-4F2F-9A6E-876FE3C87E8A}" dt="2025-06-25T08:46:29.859" v="99593" actId="947"/>
          <ac:spMkLst>
            <pc:docMk/>
            <pc:sldMk cId="2164014164" sldId="348"/>
            <ac:spMk id="59" creationId="{C8CC29A2-6E93-068C-958A-313949A84284}"/>
          </ac:spMkLst>
        </pc:spChg>
        <pc:spChg chg="add mod">
          <ac:chgData name="Alex Jordan" userId="30755697-3be4-4efa-ad5c-ca2e4102b45a" providerId="ADAL" clId="{FC76EA98-9B1A-4F2F-9A6E-876FE3C87E8A}" dt="2025-06-25T08:46:32.056" v="101958" actId="790"/>
          <ac:spMkLst>
            <pc:docMk/>
            <pc:sldMk cId="2164014164" sldId="348"/>
            <ac:spMk id="60" creationId="{1B48EAA5-82A4-6625-C83A-B40B2FA9219F}"/>
          </ac:spMkLst>
        </pc:spChg>
        <pc:spChg chg="add mod">
          <ac:chgData name="Alex Jordan" userId="30755697-3be4-4efa-ad5c-ca2e4102b45a" providerId="ADAL" clId="{FC76EA98-9B1A-4F2F-9A6E-876FE3C87E8A}" dt="2025-06-25T08:46:32.056" v="101958" actId="790"/>
          <ac:spMkLst>
            <pc:docMk/>
            <pc:sldMk cId="2164014164" sldId="348"/>
            <ac:spMk id="61" creationId="{8E9A659A-CD95-1FFC-4E44-70F51745BAAC}"/>
          </ac:spMkLst>
        </pc:spChg>
        <pc:spChg chg="mod">
          <ac:chgData name="Alex Jordan" userId="30755697-3be4-4efa-ad5c-ca2e4102b45a" providerId="ADAL" clId="{FC76EA98-9B1A-4F2F-9A6E-876FE3C87E8A}" dt="2025-06-25T08:46:29.865" v="99601" actId="947"/>
          <ac:spMkLst>
            <pc:docMk/>
            <pc:sldMk cId="2164014164" sldId="348"/>
            <ac:spMk id="63" creationId="{08246587-AC9C-E716-475E-9FB5EF9F8F6E}"/>
          </ac:spMkLst>
        </pc:spChg>
        <pc:spChg chg="mod">
          <ac:chgData name="Alex Jordan" userId="30755697-3be4-4efa-ad5c-ca2e4102b45a" providerId="ADAL" clId="{FC76EA98-9B1A-4F2F-9A6E-876FE3C87E8A}" dt="2025-06-25T08:46:29.863" v="99599" actId="947"/>
          <ac:spMkLst>
            <pc:docMk/>
            <pc:sldMk cId="2164014164" sldId="348"/>
            <ac:spMk id="64" creationId="{AB31E55B-381C-44BF-55B2-002C2996F370}"/>
          </ac:spMkLst>
        </pc:spChg>
        <pc:spChg chg="add mod">
          <ac:chgData name="Alex Jordan" userId="30755697-3be4-4efa-ad5c-ca2e4102b45a" providerId="ADAL" clId="{FC76EA98-9B1A-4F2F-9A6E-876FE3C87E8A}" dt="2025-06-25T08:46:29.865" v="99603" actId="947"/>
          <ac:spMkLst>
            <pc:docMk/>
            <pc:sldMk cId="2164014164" sldId="348"/>
            <ac:spMk id="65" creationId="{75A2F757-05AC-3B53-B7EA-DD1D70DA2E52}"/>
          </ac:spMkLst>
        </pc:spChg>
        <pc:spChg chg="add mod">
          <ac:chgData name="Alex Jordan" userId="30755697-3be4-4efa-ad5c-ca2e4102b45a" providerId="ADAL" clId="{FC76EA98-9B1A-4F2F-9A6E-876FE3C87E8A}" dt="2025-06-25T08:46:29.867" v="99605" actId="947"/>
          <ac:spMkLst>
            <pc:docMk/>
            <pc:sldMk cId="2164014164" sldId="348"/>
            <ac:spMk id="66" creationId="{0BCC7324-DAAF-DDEB-FB00-38D8E3E786B9}"/>
          </ac:spMkLst>
        </pc:spChg>
        <pc:spChg chg="add mod">
          <ac:chgData name="Alex Jordan" userId="30755697-3be4-4efa-ad5c-ca2e4102b45a" providerId="ADAL" clId="{FC76EA98-9B1A-4F2F-9A6E-876FE3C87E8A}" dt="2025-06-27T11:06:36.738" v="104809"/>
          <ac:spMkLst>
            <pc:docMk/>
            <pc:sldMk cId="2164014164" sldId="348"/>
            <ac:spMk id="67" creationId="{951FFE3C-3197-23A7-113E-C1B396419A24}"/>
          </ac:spMkLst>
        </pc:spChg>
        <pc:grpChg chg="mod ord">
          <ac:chgData name="Alex Jordan" userId="30755697-3be4-4efa-ad5c-ca2e4102b45a" providerId="ADAL" clId="{FC76EA98-9B1A-4F2F-9A6E-876FE3C87E8A}" dt="2025-06-25T06:50:39.555" v="96425"/>
          <ac:grpSpMkLst>
            <pc:docMk/>
            <pc:sldMk cId="2164014164" sldId="348"/>
            <ac:grpSpMk id="18" creationId="{C5C95268-8C1B-C05E-6287-99F75EDBFE5D}"/>
          </ac:grpSpMkLst>
        </pc:grpChg>
        <pc:grpChg chg="mod ord">
          <ac:chgData name="Alex Jordan" userId="30755697-3be4-4efa-ad5c-ca2e4102b45a" providerId="ADAL" clId="{FC76EA98-9B1A-4F2F-9A6E-876FE3C87E8A}" dt="2025-06-25T06:50:39.556" v="96429"/>
          <ac:grpSpMkLst>
            <pc:docMk/>
            <pc:sldMk cId="2164014164" sldId="348"/>
            <ac:grpSpMk id="20" creationId="{E1F894F2-6F51-1A63-620C-B0427E513067}"/>
          </ac:grpSpMkLst>
        </pc:grpChg>
        <pc:grpChg chg="mod ord">
          <ac:chgData name="Alex Jordan" userId="30755697-3be4-4efa-ad5c-ca2e4102b45a" providerId="ADAL" clId="{FC76EA98-9B1A-4F2F-9A6E-876FE3C87E8A}" dt="2025-06-25T06:50:39.556" v="96431"/>
          <ac:grpSpMkLst>
            <pc:docMk/>
            <pc:sldMk cId="2164014164" sldId="348"/>
            <ac:grpSpMk id="21" creationId="{322079C4-D7E4-7651-E863-D869FF387802}"/>
          </ac:grpSpMkLst>
        </pc:grpChg>
        <pc:grpChg chg="mod ord">
          <ac:chgData name="Alex Jordan" userId="30755697-3be4-4efa-ad5c-ca2e4102b45a" providerId="ADAL" clId="{FC76EA98-9B1A-4F2F-9A6E-876FE3C87E8A}" dt="2025-06-25T06:50:39.557" v="96433"/>
          <ac:grpSpMkLst>
            <pc:docMk/>
            <pc:sldMk cId="2164014164" sldId="348"/>
            <ac:grpSpMk id="22" creationId="{DF16F3B3-39F2-30FB-F299-1704D6FB9339}"/>
          </ac:grpSpMkLst>
        </pc:grpChg>
        <pc:grpChg chg="mod ord">
          <ac:chgData name="Alex Jordan" userId="30755697-3be4-4efa-ad5c-ca2e4102b45a" providerId="ADAL" clId="{FC76EA98-9B1A-4F2F-9A6E-876FE3C87E8A}" dt="2025-06-25T06:50:39.558" v="96435"/>
          <ac:grpSpMkLst>
            <pc:docMk/>
            <pc:sldMk cId="2164014164" sldId="348"/>
            <ac:grpSpMk id="23" creationId="{120AC4BB-CA2C-3097-F669-A85D1D0F96B7}"/>
          </ac:grpSpMkLst>
        </pc:grpChg>
        <pc:grpChg chg="mod ord">
          <ac:chgData name="Alex Jordan" userId="30755697-3be4-4efa-ad5c-ca2e4102b45a" providerId="ADAL" clId="{FC76EA98-9B1A-4F2F-9A6E-876FE3C87E8A}" dt="2025-06-25T06:52:23.927" v="96491" actId="1076"/>
          <ac:grpSpMkLst>
            <pc:docMk/>
            <pc:sldMk cId="2164014164" sldId="348"/>
            <ac:grpSpMk id="24" creationId="{4F312E6B-B0B0-1ED9-31BA-8ED578F60217}"/>
          </ac:grpSpMkLst>
        </pc:grpChg>
        <pc:grpChg chg="mod ord">
          <ac:chgData name="Alex Jordan" userId="30755697-3be4-4efa-ad5c-ca2e4102b45a" providerId="ADAL" clId="{FC76EA98-9B1A-4F2F-9A6E-876FE3C87E8A}" dt="2025-06-25T06:50:39.561" v="96439"/>
          <ac:grpSpMkLst>
            <pc:docMk/>
            <pc:sldMk cId="2164014164" sldId="348"/>
            <ac:grpSpMk id="25" creationId="{8B73A474-90D8-B2DF-8F68-35551ED9171F}"/>
          </ac:grpSpMkLst>
        </pc:grpChg>
        <pc:grpChg chg="add mod">
          <ac:chgData name="Alex Jordan" userId="30755697-3be4-4efa-ad5c-ca2e4102b45a" providerId="ADAL" clId="{FC76EA98-9B1A-4F2F-9A6E-876FE3C87E8A}" dt="2025-06-25T06:59:28.010" v="96620"/>
          <ac:grpSpMkLst>
            <pc:docMk/>
            <pc:sldMk cId="2164014164" sldId="348"/>
            <ac:grpSpMk id="54" creationId="{6110DEBF-B6A5-AFF1-2780-ED9E3D0A0925}"/>
          </ac:grpSpMkLst>
        </pc:grpChg>
        <pc:grpChg chg="add mod">
          <ac:chgData name="Alex Jordan" userId="30755697-3be4-4efa-ad5c-ca2e4102b45a" providerId="ADAL" clId="{FC76EA98-9B1A-4F2F-9A6E-876FE3C87E8A}" dt="2025-06-25T06:52:45.067" v="96493" actId="1076"/>
          <ac:grpSpMkLst>
            <pc:docMk/>
            <pc:sldMk cId="2164014164" sldId="348"/>
            <ac:grpSpMk id="56" creationId="{A2230C53-E51A-D47A-898B-C9BBA99545B3}"/>
          </ac:grpSpMkLst>
        </pc:grpChg>
        <pc:grpChg chg="add mod">
          <ac:chgData name="Alex Jordan" userId="30755697-3be4-4efa-ad5c-ca2e4102b45a" providerId="ADAL" clId="{FC76EA98-9B1A-4F2F-9A6E-876FE3C87E8A}" dt="2025-06-25T07:01:18.515" v="96658" actId="1076"/>
          <ac:grpSpMkLst>
            <pc:docMk/>
            <pc:sldMk cId="2164014164" sldId="348"/>
            <ac:grpSpMk id="62" creationId="{937389EF-CD9C-1074-B9E1-DB58EE3B8D21}"/>
          </ac:grpSpMkLst>
        </pc:grpChg>
        <pc:graphicFrameChg chg="mod">
          <ac:chgData name="Alex Jordan" userId="30755697-3be4-4efa-ad5c-ca2e4102b45a" providerId="ADAL" clId="{FC76EA98-9B1A-4F2F-9A6E-876FE3C87E8A}" dt="2025-06-25T08:46:34.824" v="103880"/>
          <ac:graphicFrameMkLst>
            <pc:docMk/>
            <pc:sldMk cId="2164014164" sldId="348"/>
            <ac:graphicFrameMk id="7" creationId="{D3D37026-7075-63DE-8596-49AC89094FB1}"/>
          </ac:graphicFrameMkLst>
        </pc:graphicFrameChg>
        <pc:picChg chg="add mod">
          <ac:chgData name="Alex Jordan" userId="30755697-3be4-4efa-ad5c-ca2e4102b45a" providerId="ADAL" clId="{FC76EA98-9B1A-4F2F-9A6E-876FE3C87E8A}" dt="2025-06-25T06:59:12.141" v="96591"/>
          <ac:picMkLst>
            <pc:docMk/>
            <pc:sldMk cId="2164014164" sldId="348"/>
            <ac:picMk id="11" creationId="{9B9B8D3F-DA4E-99EA-0766-6FCF31C6C0DB}"/>
          </ac:picMkLst>
        </pc:picChg>
      </pc:sldChg>
      <pc:sldChg chg="addSp delSp modSp mod modNotes">
        <pc:chgData name="Alex Jordan" userId="30755697-3be4-4efa-ad5c-ca2e4102b45a" providerId="ADAL" clId="{FC76EA98-9B1A-4F2F-9A6E-876FE3C87E8A}" dt="2025-06-27T11:03:48.755" v="104683"/>
        <pc:sldMkLst>
          <pc:docMk/>
          <pc:sldMk cId="3996541464" sldId="349"/>
        </pc:sldMkLst>
        <pc:spChg chg="mod">
          <ac:chgData name="Alex Jordan" userId="30755697-3be4-4efa-ad5c-ca2e4102b45a" providerId="ADAL" clId="{FC76EA98-9B1A-4F2F-9A6E-876FE3C87E8A}" dt="2025-06-25T08:46:33.409" v="102561" actId="948"/>
          <ac:spMkLst>
            <pc:docMk/>
            <pc:sldMk cId="3996541464" sldId="349"/>
            <ac:spMk id="2" creationId="{BB88C329-D479-4D85-8791-CA50F5ADB262}"/>
          </ac:spMkLst>
        </pc:spChg>
        <pc:spChg chg="add mod">
          <ac:chgData name="Alex Jordan" userId="30755697-3be4-4efa-ad5c-ca2e4102b45a" providerId="ADAL" clId="{FC76EA98-9B1A-4F2F-9A6E-876FE3C87E8A}" dt="2025-06-25T08:46:32.056" v="101958" actId="790"/>
          <ac:spMkLst>
            <pc:docMk/>
            <pc:sldMk cId="3996541464" sldId="349"/>
            <ac:spMk id="3" creationId="{BDD6C0F7-C054-98BE-6BCC-18A943E7360C}"/>
          </ac:spMkLst>
        </pc:spChg>
        <pc:spChg chg="del mod">
          <ac:chgData name="Alex Jordan" userId="30755697-3be4-4efa-ad5c-ca2e4102b45a" providerId="ADAL" clId="{FC76EA98-9B1A-4F2F-9A6E-876FE3C87E8A}" dt="2025-06-27T11:03:48.378" v="104682" actId="478"/>
          <ac:spMkLst>
            <pc:docMk/>
            <pc:sldMk cId="3996541464" sldId="349"/>
            <ac:spMk id="4" creationId="{4F560686-D3D0-3559-9AB2-0FD7A8E8725D}"/>
          </ac:spMkLst>
        </pc:spChg>
        <pc:spChg chg="del mod">
          <ac:chgData name="Alex Jordan" userId="30755697-3be4-4efa-ad5c-ca2e4102b45a" providerId="ADAL" clId="{FC76EA98-9B1A-4F2F-9A6E-876FE3C87E8A}" dt="2025-06-27T11:03:48.378" v="104682" actId="478"/>
          <ac:spMkLst>
            <pc:docMk/>
            <pc:sldMk cId="3996541464" sldId="349"/>
            <ac:spMk id="5" creationId="{83C23D1B-40FB-1958-084B-9703EF075FE4}"/>
          </ac:spMkLst>
        </pc:spChg>
        <pc:spChg chg="del mod">
          <ac:chgData name="Alex Jordan" userId="30755697-3be4-4efa-ad5c-ca2e4102b45a" providerId="ADAL" clId="{FC76EA98-9B1A-4F2F-9A6E-876FE3C87E8A}" dt="2025-06-27T11:03:48.378" v="104682" actId="478"/>
          <ac:spMkLst>
            <pc:docMk/>
            <pc:sldMk cId="3996541464" sldId="349"/>
            <ac:spMk id="6" creationId="{20491FAD-84BB-165B-9123-2FB17F0B29AF}"/>
          </ac:spMkLst>
        </pc:spChg>
        <pc:spChg chg="del mod">
          <ac:chgData name="Alex Jordan" userId="30755697-3be4-4efa-ad5c-ca2e4102b45a" providerId="ADAL" clId="{FC76EA98-9B1A-4F2F-9A6E-876FE3C87E8A}" dt="2025-06-27T11:03:48.378" v="104682" actId="478"/>
          <ac:spMkLst>
            <pc:docMk/>
            <pc:sldMk cId="3996541464" sldId="349"/>
            <ac:spMk id="8" creationId="{5A0B022D-42C9-72F0-C2D2-0273A2D5A9E7}"/>
          </ac:spMkLst>
        </pc:spChg>
        <pc:spChg chg="del mod">
          <ac:chgData name="Alex Jordan" userId="30755697-3be4-4efa-ad5c-ca2e4102b45a" providerId="ADAL" clId="{FC76EA98-9B1A-4F2F-9A6E-876FE3C87E8A}" dt="2025-06-27T11:03:48.378" v="104682" actId="478"/>
          <ac:spMkLst>
            <pc:docMk/>
            <pc:sldMk cId="3996541464" sldId="349"/>
            <ac:spMk id="9" creationId="{FC46066E-1D2E-B2F4-88F9-CD729DE03388}"/>
          </ac:spMkLst>
        </pc:spChg>
        <pc:spChg chg="mod">
          <ac:chgData name="Alex Jordan" userId="30755697-3be4-4efa-ad5c-ca2e4102b45a" providerId="ADAL" clId="{FC76EA98-9B1A-4F2F-9A6E-876FE3C87E8A}" dt="2025-06-25T08:46:32.056" v="101958" actId="790"/>
          <ac:spMkLst>
            <pc:docMk/>
            <pc:sldMk cId="3996541464" sldId="349"/>
            <ac:spMk id="11" creationId="{58BBEF91-9301-7F55-B3AB-3F33AF059491}"/>
          </ac:spMkLst>
        </pc:spChg>
        <pc:spChg chg="mod">
          <ac:chgData name="Alex Jordan" userId="30755697-3be4-4efa-ad5c-ca2e4102b45a" providerId="ADAL" clId="{FC76EA98-9B1A-4F2F-9A6E-876FE3C87E8A}" dt="2025-06-25T08:46:31.266" v="101149" actId="947"/>
          <ac:spMkLst>
            <pc:docMk/>
            <pc:sldMk cId="3996541464" sldId="349"/>
            <ac:spMk id="12" creationId="{9CFA7BD2-28F1-C144-DE4A-D5F4DF763BC5}"/>
          </ac:spMkLst>
        </pc:spChg>
        <pc:spChg chg="add mod">
          <ac:chgData name="Alex Jordan" userId="30755697-3be4-4efa-ad5c-ca2e4102b45a" providerId="ADAL" clId="{FC76EA98-9B1A-4F2F-9A6E-876FE3C87E8A}" dt="2025-06-25T08:46:32.056" v="101958" actId="790"/>
          <ac:spMkLst>
            <pc:docMk/>
            <pc:sldMk cId="3996541464" sldId="349"/>
            <ac:spMk id="13" creationId="{ED17FC71-11FB-B38D-FE57-137A4846867C}"/>
          </ac:spMkLst>
        </pc:spChg>
        <pc:spChg chg="add mod">
          <ac:chgData name="Alex Jordan" userId="30755697-3be4-4efa-ad5c-ca2e4102b45a" providerId="ADAL" clId="{FC76EA98-9B1A-4F2F-9A6E-876FE3C87E8A}" dt="2025-06-27T11:03:48.755" v="104683"/>
          <ac:spMkLst>
            <pc:docMk/>
            <pc:sldMk cId="3996541464" sldId="349"/>
            <ac:spMk id="15" creationId="{C1926DF3-3F78-CF64-E84A-6F348C2E7784}"/>
          </ac:spMkLst>
        </pc:spChg>
        <pc:spChg chg="add mod">
          <ac:chgData name="Alex Jordan" userId="30755697-3be4-4efa-ad5c-ca2e4102b45a" providerId="ADAL" clId="{FC76EA98-9B1A-4F2F-9A6E-876FE3C87E8A}" dt="2025-06-27T11:03:48.755" v="104683"/>
          <ac:spMkLst>
            <pc:docMk/>
            <pc:sldMk cId="3996541464" sldId="349"/>
            <ac:spMk id="16" creationId="{6BA849C4-36C1-E243-4F25-B42332313320}"/>
          </ac:spMkLst>
        </pc:spChg>
        <pc:spChg chg="add mod">
          <ac:chgData name="Alex Jordan" userId="30755697-3be4-4efa-ad5c-ca2e4102b45a" providerId="ADAL" clId="{FC76EA98-9B1A-4F2F-9A6E-876FE3C87E8A}" dt="2025-06-27T11:03:48.755" v="104683"/>
          <ac:spMkLst>
            <pc:docMk/>
            <pc:sldMk cId="3996541464" sldId="349"/>
            <ac:spMk id="17" creationId="{1F03AC38-213F-7CBD-39B8-DC9D21B074B7}"/>
          </ac:spMkLst>
        </pc:spChg>
        <pc:spChg chg="add mod">
          <ac:chgData name="Alex Jordan" userId="30755697-3be4-4efa-ad5c-ca2e4102b45a" providerId="ADAL" clId="{FC76EA98-9B1A-4F2F-9A6E-876FE3C87E8A}" dt="2025-06-27T11:03:48.755" v="104683"/>
          <ac:spMkLst>
            <pc:docMk/>
            <pc:sldMk cId="3996541464" sldId="349"/>
            <ac:spMk id="18" creationId="{4BC98204-F40A-124B-FD62-D4408EF5EDC1}"/>
          </ac:spMkLst>
        </pc:spChg>
        <pc:spChg chg="mod">
          <ac:chgData name="Alex Jordan" userId="30755697-3be4-4efa-ad5c-ca2e4102b45a" providerId="ADAL" clId="{FC76EA98-9B1A-4F2F-9A6E-876FE3C87E8A}" dt="2025-06-25T08:46:32.056" v="101958" actId="790"/>
          <ac:spMkLst>
            <pc:docMk/>
            <pc:sldMk cId="3996541464" sldId="349"/>
            <ac:spMk id="48" creationId="{2DCF2928-61A8-50FE-F34F-183EDEE66CB7}"/>
          </ac:spMkLst>
        </pc:spChg>
        <pc:grpChg chg="add mod">
          <ac:chgData name="Alex Jordan" userId="30755697-3be4-4efa-ad5c-ca2e4102b45a" providerId="ADAL" clId="{FC76EA98-9B1A-4F2F-9A6E-876FE3C87E8A}" dt="2025-06-24T21:30:59.482" v="87696" actId="1076"/>
          <ac:grpSpMkLst>
            <pc:docMk/>
            <pc:sldMk cId="3996541464" sldId="349"/>
            <ac:grpSpMk id="10" creationId="{CD86870A-4317-B0E8-74E7-70E2F169DF8D}"/>
          </ac:grpSpMkLst>
        </pc:grpChg>
        <pc:graphicFrameChg chg="mod">
          <ac:chgData name="Alex Jordan" userId="30755697-3be4-4efa-ad5c-ca2e4102b45a" providerId="ADAL" clId="{FC76EA98-9B1A-4F2F-9A6E-876FE3C87E8A}" dt="2025-06-25T08:46:34.980" v="103982"/>
          <ac:graphicFrameMkLst>
            <pc:docMk/>
            <pc:sldMk cId="3996541464" sldId="349"/>
            <ac:graphicFrameMk id="7" creationId="{75720B7B-7A16-BF7B-9758-0729DE0AF8DB}"/>
          </ac:graphicFrameMkLst>
        </pc:graphicFrameChg>
        <pc:picChg chg="add mod">
          <ac:chgData name="Alex Jordan" userId="30755697-3be4-4efa-ad5c-ca2e4102b45a" providerId="ADAL" clId="{FC76EA98-9B1A-4F2F-9A6E-876FE3C87E8A}" dt="2025-06-24T21:31:29.191" v="87705" actId="1076"/>
          <ac:picMkLst>
            <pc:docMk/>
            <pc:sldMk cId="3996541464" sldId="349"/>
            <ac:picMk id="14" creationId="{E2C72385-CD68-32D9-1229-42684A1E15D2}"/>
          </ac:picMkLst>
        </pc:picChg>
        <pc:cxnChg chg="add mod">
          <ac:chgData name="Alex Jordan" userId="30755697-3be4-4efa-ad5c-ca2e4102b45a" providerId="ADAL" clId="{FC76EA98-9B1A-4F2F-9A6E-876FE3C87E8A}" dt="2025-06-24T21:31:47.918" v="87710" actId="1076"/>
          <ac:cxnSpMkLst>
            <pc:docMk/>
            <pc:sldMk cId="3996541464" sldId="349"/>
            <ac:cxnSpMk id="39" creationId="{55DAF27C-673A-4A50-6D20-7DC4127B4201}"/>
          </ac:cxnSpMkLst>
        </pc:cxnChg>
      </pc:sldChg>
      <pc:sldChg chg="addSp delSp modSp mod modNotes">
        <pc:chgData name="Alex Jordan" userId="30755697-3be4-4efa-ad5c-ca2e4102b45a" providerId="ADAL" clId="{FC76EA98-9B1A-4F2F-9A6E-876FE3C87E8A}" dt="2025-06-27T11:03:52.242" v="104685"/>
        <pc:sldMkLst>
          <pc:docMk/>
          <pc:sldMk cId="3806575274" sldId="350"/>
        </pc:sldMkLst>
        <pc:spChg chg="mod">
          <ac:chgData name="Alex Jordan" userId="30755697-3be4-4efa-ad5c-ca2e4102b45a" providerId="ADAL" clId="{FC76EA98-9B1A-4F2F-9A6E-876FE3C87E8A}" dt="2025-06-25T08:46:33.430" v="102582" actId="948"/>
          <ac:spMkLst>
            <pc:docMk/>
            <pc:sldMk cId="3806575274" sldId="350"/>
            <ac:spMk id="2" creationId="{113C2BBD-7F8D-B194-8281-B00367B4C729}"/>
          </ac:spMkLst>
        </pc:spChg>
        <pc:spChg chg="add mod">
          <ac:chgData name="Alex Jordan" userId="30755697-3be4-4efa-ad5c-ca2e4102b45a" providerId="ADAL" clId="{FC76EA98-9B1A-4F2F-9A6E-876FE3C87E8A}" dt="2025-06-25T08:46:31.296" v="101169" actId="947"/>
          <ac:spMkLst>
            <pc:docMk/>
            <pc:sldMk cId="3806575274" sldId="350"/>
            <ac:spMk id="3" creationId="{3D820C95-AC50-F448-D078-87273EE1180C}"/>
          </ac:spMkLst>
        </pc:spChg>
        <pc:spChg chg="del mod">
          <ac:chgData name="Alex Jordan" userId="30755697-3be4-4efa-ad5c-ca2e4102b45a" providerId="ADAL" clId="{FC76EA98-9B1A-4F2F-9A6E-876FE3C87E8A}" dt="2025-06-27T11:03:51.659" v="104684" actId="478"/>
          <ac:spMkLst>
            <pc:docMk/>
            <pc:sldMk cId="3806575274" sldId="350"/>
            <ac:spMk id="4" creationId="{3A734070-2D65-817F-E4D3-89E1AE9E2B9B}"/>
          </ac:spMkLst>
        </pc:spChg>
        <pc:spChg chg="del mod">
          <ac:chgData name="Alex Jordan" userId="30755697-3be4-4efa-ad5c-ca2e4102b45a" providerId="ADAL" clId="{FC76EA98-9B1A-4F2F-9A6E-876FE3C87E8A}" dt="2025-06-27T11:03:51.659" v="104684" actId="478"/>
          <ac:spMkLst>
            <pc:docMk/>
            <pc:sldMk cId="3806575274" sldId="350"/>
            <ac:spMk id="5" creationId="{A09BB674-61DF-BC0B-F02D-7EE09C03115C}"/>
          </ac:spMkLst>
        </pc:spChg>
        <pc:spChg chg="del mod">
          <ac:chgData name="Alex Jordan" userId="30755697-3be4-4efa-ad5c-ca2e4102b45a" providerId="ADAL" clId="{FC76EA98-9B1A-4F2F-9A6E-876FE3C87E8A}" dt="2025-06-27T11:03:51.659" v="104684" actId="478"/>
          <ac:spMkLst>
            <pc:docMk/>
            <pc:sldMk cId="3806575274" sldId="350"/>
            <ac:spMk id="6" creationId="{C613D762-BDC8-1376-C26A-91F07CC63436}"/>
          </ac:spMkLst>
        </pc:spChg>
        <pc:spChg chg="del mod">
          <ac:chgData name="Alex Jordan" userId="30755697-3be4-4efa-ad5c-ca2e4102b45a" providerId="ADAL" clId="{FC76EA98-9B1A-4F2F-9A6E-876FE3C87E8A}" dt="2025-06-27T11:03:51.659" v="104684" actId="478"/>
          <ac:spMkLst>
            <pc:docMk/>
            <pc:sldMk cId="3806575274" sldId="350"/>
            <ac:spMk id="8" creationId="{F9914343-CE1D-85F9-01B2-D050A95E10B3}"/>
          </ac:spMkLst>
        </pc:spChg>
        <pc:spChg chg="del mod">
          <ac:chgData name="Alex Jordan" userId="30755697-3be4-4efa-ad5c-ca2e4102b45a" providerId="ADAL" clId="{FC76EA98-9B1A-4F2F-9A6E-876FE3C87E8A}" dt="2025-06-27T11:03:51.659" v="104684" actId="478"/>
          <ac:spMkLst>
            <pc:docMk/>
            <pc:sldMk cId="3806575274" sldId="350"/>
            <ac:spMk id="9" creationId="{C588047D-E8FF-C29C-754C-38CE03DA84C1}"/>
          </ac:spMkLst>
        </pc:spChg>
        <pc:spChg chg="add mod">
          <ac:chgData name="Alex Jordan" userId="30755697-3be4-4efa-ad5c-ca2e4102b45a" providerId="ADAL" clId="{FC76EA98-9B1A-4F2F-9A6E-876FE3C87E8A}" dt="2025-06-27T11:03:52.242" v="104685"/>
          <ac:spMkLst>
            <pc:docMk/>
            <pc:sldMk cId="3806575274" sldId="350"/>
            <ac:spMk id="12" creationId="{2101E0CB-64C3-E6B5-7908-F2C8901CA728}"/>
          </ac:spMkLst>
        </pc:spChg>
        <pc:spChg chg="mod">
          <ac:chgData name="Alex Jordan" userId="30755697-3be4-4efa-ad5c-ca2e4102b45a" providerId="ADAL" clId="{FC76EA98-9B1A-4F2F-9A6E-876FE3C87E8A}" dt="2025-06-25T08:46:31.306" v="101183" actId="947"/>
          <ac:spMkLst>
            <pc:docMk/>
            <pc:sldMk cId="3806575274" sldId="350"/>
            <ac:spMk id="13" creationId="{43596C61-A0B3-D3BD-CAEC-165F7A7762D0}"/>
          </ac:spMkLst>
        </pc:spChg>
        <pc:spChg chg="add mod">
          <ac:chgData name="Alex Jordan" userId="30755697-3be4-4efa-ad5c-ca2e4102b45a" providerId="ADAL" clId="{FC76EA98-9B1A-4F2F-9A6E-876FE3C87E8A}" dt="2025-06-25T08:46:31.306" v="101185" actId="947"/>
          <ac:spMkLst>
            <pc:docMk/>
            <pc:sldMk cId="3806575274" sldId="350"/>
            <ac:spMk id="14" creationId="{C8790D0E-35C0-7B42-63FE-05A118319505}"/>
          </ac:spMkLst>
        </pc:spChg>
        <pc:spChg chg="mod">
          <ac:chgData name="Alex Jordan" userId="30755697-3be4-4efa-ad5c-ca2e4102b45a" providerId="ADAL" clId="{FC76EA98-9B1A-4F2F-9A6E-876FE3C87E8A}" dt="2025-06-25T08:46:31.306" v="101187" actId="947"/>
          <ac:spMkLst>
            <pc:docMk/>
            <pc:sldMk cId="3806575274" sldId="350"/>
            <ac:spMk id="15" creationId="{59DCDC2F-F2B5-960A-9EAF-84F564E9EDF2}"/>
          </ac:spMkLst>
        </pc:spChg>
        <pc:spChg chg="mod">
          <ac:chgData name="Alex Jordan" userId="30755697-3be4-4efa-ad5c-ca2e4102b45a" providerId="ADAL" clId="{FC76EA98-9B1A-4F2F-9A6E-876FE3C87E8A}" dt="2025-06-25T08:46:31.317" v="101189" actId="947"/>
          <ac:spMkLst>
            <pc:docMk/>
            <pc:sldMk cId="3806575274" sldId="350"/>
            <ac:spMk id="16" creationId="{D2704C3B-9CF7-8921-EE5F-C55328595EFE}"/>
          </ac:spMkLst>
        </pc:spChg>
        <pc:spChg chg="add mod">
          <ac:chgData name="Alex Jordan" userId="30755697-3be4-4efa-ad5c-ca2e4102b45a" providerId="ADAL" clId="{FC76EA98-9B1A-4F2F-9A6E-876FE3C87E8A}" dt="2025-06-25T08:46:32.056" v="101958" actId="790"/>
          <ac:spMkLst>
            <pc:docMk/>
            <pc:sldMk cId="3806575274" sldId="350"/>
            <ac:spMk id="17" creationId="{358DEAAF-BC9E-6FEA-ED30-1A4EED65018F}"/>
          </ac:spMkLst>
        </pc:spChg>
        <pc:spChg chg="mod">
          <ac:chgData name="Alex Jordan" userId="30755697-3be4-4efa-ad5c-ca2e4102b45a" providerId="ADAL" clId="{FC76EA98-9B1A-4F2F-9A6E-876FE3C87E8A}" dt="2025-06-25T08:46:31.317" v="101193" actId="947"/>
          <ac:spMkLst>
            <pc:docMk/>
            <pc:sldMk cId="3806575274" sldId="350"/>
            <ac:spMk id="18" creationId="{A58B3D0A-3B3C-CE38-F4B2-2E31015460E7}"/>
          </ac:spMkLst>
        </pc:spChg>
        <pc:spChg chg="add mod">
          <ac:chgData name="Alex Jordan" userId="30755697-3be4-4efa-ad5c-ca2e4102b45a" providerId="ADAL" clId="{FC76EA98-9B1A-4F2F-9A6E-876FE3C87E8A}" dt="2025-06-25T08:46:32.056" v="101958" actId="790"/>
          <ac:spMkLst>
            <pc:docMk/>
            <pc:sldMk cId="3806575274" sldId="350"/>
            <ac:spMk id="19" creationId="{0CD100A5-F465-10F1-5DA9-C5B8F46F40F0}"/>
          </ac:spMkLst>
        </pc:spChg>
        <pc:spChg chg="add mod">
          <ac:chgData name="Alex Jordan" userId="30755697-3be4-4efa-ad5c-ca2e4102b45a" providerId="ADAL" clId="{FC76EA98-9B1A-4F2F-9A6E-876FE3C87E8A}" dt="2025-06-25T08:46:32.056" v="101958" actId="790"/>
          <ac:spMkLst>
            <pc:docMk/>
            <pc:sldMk cId="3806575274" sldId="350"/>
            <ac:spMk id="20" creationId="{4E62D4C2-F9BD-9F16-1791-17DFAC2A2579}"/>
          </ac:spMkLst>
        </pc:spChg>
        <pc:spChg chg="mod">
          <ac:chgData name="Alex Jordan" userId="30755697-3be4-4efa-ad5c-ca2e4102b45a" providerId="ADAL" clId="{FC76EA98-9B1A-4F2F-9A6E-876FE3C87E8A}" dt="2025-06-25T08:46:31.322" v="101199" actId="947"/>
          <ac:spMkLst>
            <pc:docMk/>
            <pc:sldMk cId="3806575274" sldId="350"/>
            <ac:spMk id="21" creationId="{90B51717-BA86-1A2E-8AED-7223E2733D51}"/>
          </ac:spMkLst>
        </pc:spChg>
        <pc:spChg chg="add mod">
          <ac:chgData name="Alex Jordan" userId="30755697-3be4-4efa-ad5c-ca2e4102b45a" providerId="ADAL" clId="{FC76EA98-9B1A-4F2F-9A6E-876FE3C87E8A}" dt="2025-06-25T08:46:32.056" v="101958" actId="790"/>
          <ac:spMkLst>
            <pc:docMk/>
            <pc:sldMk cId="3806575274" sldId="350"/>
            <ac:spMk id="22" creationId="{2EA6CD43-C605-7D6E-046D-ACFA5D0D5A59}"/>
          </ac:spMkLst>
        </pc:spChg>
        <pc:spChg chg="mod">
          <ac:chgData name="Alex Jordan" userId="30755697-3be4-4efa-ad5c-ca2e4102b45a" providerId="ADAL" clId="{FC76EA98-9B1A-4F2F-9A6E-876FE3C87E8A}" dt="2025-06-25T08:46:31.327" v="101203" actId="947"/>
          <ac:spMkLst>
            <pc:docMk/>
            <pc:sldMk cId="3806575274" sldId="350"/>
            <ac:spMk id="23" creationId="{D6770371-2F78-9C46-6482-4CA625261216}"/>
          </ac:spMkLst>
        </pc:spChg>
        <pc:spChg chg="mod">
          <ac:chgData name="Alex Jordan" userId="30755697-3be4-4efa-ad5c-ca2e4102b45a" providerId="ADAL" clId="{FC76EA98-9B1A-4F2F-9A6E-876FE3C87E8A}" dt="2025-06-25T08:46:31.306" v="101181" actId="947"/>
          <ac:spMkLst>
            <pc:docMk/>
            <pc:sldMk cId="3806575274" sldId="350"/>
            <ac:spMk id="24" creationId="{BBE97069-F104-68E1-FFD2-DC3BA5310B70}"/>
          </ac:spMkLst>
        </pc:spChg>
        <pc:spChg chg="add mod">
          <ac:chgData name="Alex Jordan" userId="30755697-3be4-4efa-ad5c-ca2e4102b45a" providerId="ADAL" clId="{FC76EA98-9B1A-4F2F-9A6E-876FE3C87E8A}" dt="2025-06-25T08:46:32.056" v="101958" actId="790"/>
          <ac:spMkLst>
            <pc:docMk/>
            <pc:sldMk cId="3806575274" sldId="350"/>
            <ac:spMk id="25" creationId="{4BAEC180-E388-34BC-1521-B9E1845F0446}"/>
          </ac:spMkLst>
        </pc:spChg>
        <pc:spChg chg="mod">
          <ac:chgData name="Alex Jordan" userId="30755697-3be4-4efa-ad5c-ca2e4102b45a" providerId="ADAL" clId="{FC76EA98-9B1A-4F2F-9A6E-876FE3C87E8A}" dt="2025-06-25T08:46:31.305" v="101177" actId="947"/>
          <ac:spMkLst>
            <pc:docMk/>
            <pc:sldMk cId="3806575274" sldId="350"/>
            <ac:spMk id="26" creationId="{86FC9883-AC7B-1CB8-9F39-29A086049557}"/>
          </ac:spMkLst>
        </pc:spChg>
        <pc:spChg chg="add mod">
          <ac:chgData name="Alex Jordan" userId="30755697-3be4-4efa-ad5c-ca2e4102b45a" providerId="ADAL" clId="{FC76EA98-9B1A-4F2F-9A6E-876FE3C87E8A}" dt="2025-06-25T08:46:32.056" v="101958" actId="790"/>
          <ac:spMkLst>
            <pc:docMk/>
            <pc:sldMk cId="3806575274" sldId="350"/>
            <ac:spMk id="27" creationId="{18FE3C97-CB59-0AE8-0E50-6B22EAB040BA}"/>
          </ac:spMkLst>
        </pc:spChg>
        <pc:spChg chg="add mod">
          <ac:chgData name="Alex Jordan" userId="30755697-3be4-4efa-ad5c-ca2e4102b45a" providerId="ADAL" clId="{FC76EA98-9B1A-4F2F-9A6E-876FE3C87E8A}" dt="2025-06-25T08:46:31.298" v="101173" actId="947"/>
          <ac:spMkLst>
            <pc:docMk/>
            <pc:sldMk cId="3806575274" sldId="350"/>
            <ac:spMk id="28" creationId="{7BAFF979-874D-B54A-3DBD-D52DED3F2789}"/>
          </ac:spMkLst>
        </pc:spChg>
        <pc:spChg chg="add mod">
          <ac:chgData name="Alex Jordan" userId="30755697-3be4-4efa-ad5c-ca2e4102b45a" providerId="ADAL" clId="{FC76EA98-9B1A-4F2F-9A6E-876FE3C87E8A}" dt="2025-06-25T08:46:32.056" v="101958" actId="790"/>
          <ac:spMkLst>
            <pc:docMk/>
            <pc:sldMk cId="3806575274" sldId="350"/>
            <ac:spMk id="29" creationId="{4204F7BA-217B-0146-8C8D-F089EB13BE32}"/>
          </ac:spMkLst>
        </pc:spChg>
        <pc:spChg chg="add mod">
          <ac:chgData name="Alex Jordan" userId="30755697-3be4-4efa-ad5c-ca2e4102b45a" providerId="ADAL" clId="{FC76EA98-9B1A-4F2F-9A6E-876FE3C87E8A}" dt="2025-06-27T11:03:52.242" v="104685"/>
          <ac:spMkLst>
            <pc:docMk/>
            <pc:sldMk cId="3806575274" sldId="350"/>
            <ac:spMk id="30" creationId="{63F775B9-4F15-7129-48E2-F1C9F31D962C}"/>
          </ac:spMkLst>
        </pc:spChg>
        <pc:spChg chg="add mod">
          <ac:chgData name="Alex Jordan" userId="30755697-3be4-4efa-ad5c-ca2e4102b45a" providerId="ADAL" clId="{FC76EA98-9B1A-4F2F-9A6E-876FE3C87E8A}" dt="2025-06-27T11:03:52.242" v="104685"/>
          <ac:spMkLst>
            <pc:docMk/>
            <pc:sldMk cId="3806575274" sldId="350"/>
            <ac:spMk id="31" creationId="{06A0F8B8-0FFB-803F-26A5-79276C9A1C64}"/>
          </ac:spMkLst>
        </pc:spChg>
        <pc:spChg chg="add mod">
          <ac:chgData name="Alex Jordan" userId="30755697-3be4-4efa-ad5c-ca2e4102b45a" providerId="ADAL" clId="{FC76EA98-9B1A-4F2F-9A6E-876FE3C87E8A}" dt="2025-06-27T11:03:52.242" v="104685"/>
          <ac:spMkLst>
            <pc:docMk/>
            <pc:sldMk cId="3806575274" sldId="350"/>
            <ac:spMk id="32" creationId="{3A9FA266-E917-C386-2896-8DC17B9CB6EA}"/>
          </ac:spMkLst>
        </pc:spChg>
        <pc:spChg chg="mod">
          <ac:chgData name="Alex Jordan" userId="30755697-3be4-4efa-ad5c-ca2e4102b45a" providerId="ADAL" clId="{FC76EA98-9B1A-4F2F-9A6E-876FE3C87E8A}" dt="2025-06-25T08:46:31.291" v="101167" actId="947"/>
          <ac:spMkLst>
            <pc:docMk/>
            <pc:sldMk cId="3806575274" sldId="350"/>
            <ac:spMk id="48" creationId="{1DD45A18-7A70-5697-4840-4A8123A553BA}"/>
          </ac:spMkLst>
        </pc:spChg>
        <pc:grpChg chg="mod">
          <ac:chgData name="Alex Jordan" userId="30755697-3be4-4efa-ad5c-ca2e4102b45a" providerId="ADAL" clId="{FC76EA98-9B1A-4F2F-9A6E-876FE3C87E8A}" dt="2025-06-24T21:39:54.198" v="87898" actId="207"/>
          <ac:grpSpMkLst>
            <pc:docMk/>
            <pc:sldMk cId="3806575274" sldId="350"/>
            <ac:grpSpMk id="10" creationId="{AD47BC1C-76D4-8ACA-2F28-525BD283CD30}"/>
          </ac:grpSpMkLst>
        </pc:grpChg>
        <pc:graphicFrameChg chg="mod">
          <ac:chgData name="Alex Jordan" userId="30755697-3be4-4efa-ad5c-ca2e4102b45a" providerId="ADAL" clId="{FC76EA98-9B1A-4F2F-9A6E-876FE3C87E8A}" dt="2025-06-25T08:46:34.984" v="103986"/>
          <ac:graphicFrameMkLst>
            <pc:docMk/>
            <pc:sldMk cId="3806575274" sldId="350"/>
            <ac:graphicFrameMk id="7" creationId="{2714EFE6-0D20-9AA2-63B6-010D8DAE5722}"/>
          </ac:graphicFrameMkLst>
        </pc:graphicFrameChg>
      </pc:sldChg>
      <pc:sldChg chg="addSp delSp modSp del mod modNotes">
        <pc:chgData name="Alex Jordan" userId="30755697-3be4-4efa-ad5c-ca2e4102b45a" providerId="ADAL" clId="{FC76EA98-9B1A-4F2F-9A6E-876FE3C87E8A}" dt="2025-06-24T21:43:52.501" v="88128" actId="47"/>
        <pc:sldMkLst>
          <pc:docMk/>
          <pc:sldMk cId="2924490370" sldId="351"/>
        </pc:sldMkLst>
      </pc:sldChg>
      <pc:sldChg chg="addSp delSp modSp mod modNotes">
        <pc:chgData name="Alex Jordan" userId="30755697-3be4-4efa-ad5c-ca2e4102b45a" providerId="ADAL" clId="{FC76EA98-9B1A-4F2F-9A6E-876FE3C87E8A}" dt="2025-06-27T11:05:27.600" v="104775"/>
        <pc:sldMkLst>
          <pc:docMk/>
          <pc:sldMk cId="552453391" sldId="352"/>
        </pc:sldMkLst>
        <pc:spChg chg="mod ord">
          <ac:chgData name="Alex Jordan" userId="30755697-3be4-4efa-ad5c-ca2e4102b45a" providerId="ADAL" clId="{FC76EA98-9B1A-4F2F-9A6E-876FE3C87E8A}" dt="2025-06-25T08:46:32.929" v="102147" actId="948"/>
          <ac:spMkLst>
            <pc:docMk/>
            <pc:sldMk cId="552453391" sldId="352"/>
            <ac:spMk id="2" creationId="{C53FA140-62C9-B1F6-5920-DF24AACF2ACD}"/>
          </ac:spMkLst>
        </pc:spChg>
        <pc:spChg chg="add mod">
          <ac:chgData name="Alex Jordan" userId="30755697-3be4-4efa-ad5c-ca2e4102b45a" providerId="ADAL" clId="{FC76EA98-9B1A-4F2F-9A6E-876FE3C87E8A}" dt="2025-06-27T11:05:13.162" v="104763"/>
          <ac:spMkLst>
            <pc:docMk/>
            <pc:sldMk cId="552453391" sldId="352"/>
            <ac:spMk id="3" creationId="{4B6B86DA-36D4-94F9-AE6C-853BE04269E5}"/>
          </ac:spMkLst>
        </pc:spChg>
        <pc:spChg chg="del mod ord">
          <ac:chgData name="Alex Jordan" userId="30755697-3be4-4efa-ad5c-ca2e4102b45a" providerId="ADAL" clId="{FC76EA98-9B1A-4F2F-9A6E-876FE3C87E8A}" dt="2025-06-27T11:04:30.735" v="104749" actId="478"/>
          <ac:spMkLst>
            <pc:docMk/>
            <pc:sldMk cId="552453391" sldId="352"/>
            <ac:spMk id="4" creationId="{3C2EAA65-FE98-DA7F-7004-1598DB7AB948}"/>
          </ac:spMkLst>
        </pc:spChg>
        <pc:spChg chg="del mod ord">
          <ac:chgData name="Alex Jordan" userId="30755697-3be4-4efa-ad5c-ca2e4102b45a" providerId="ADAL" clId="{FC76EA98-9B1A-4F2F-9A6E-876FE3C87E8A}" dt="2025-06-27T11:04:30.735" v="104749" actId="478"/>
          <ac:spMkLst>
            <pc:docMk/>
            <pc:sldMk cId="552453391" sldId="352"/>
            <ac:spMk id="5" creationId="{5ACAA40B-B0D7-E855-8995-45C30EC669CF}"/>
          </ac:spMkLst>
        </pc:spChg>
        <pc:spChg chg="del mod ord">
          <ac:chgData name="Alex Jordan" userId="30755697-3be4-4efa-ad5c-ca2e4102b45a" providerId="ADAL" clId="{FC76EA98-9B1A-4F2F-9A6E-876FE3C87E8A}" dt="2025-06-27T11:04:30.735" v="104749" actId="478"/>
          <ac:spMkLst>
            <pc:docMk/>
            <pc:sldMk cId="552453391" sldId="352"/>
            <ac:spMk id="6" creationId="{8B06B390-4D55-6D6D-2ECF-00F581723728}"/>
          </ac:spMkLst>
        </pc:spChg>
        <pc:spChg chg="del mod ord">
          <ac:chgData name="Alex Jordan" userId="30755697-3be4-4efa-ad5c-ca2e4102b45a" providerId="ADAL" clId="{FC76EA98-9B1A-4F2F-9A6E-876FE3C87E8A}" dt="2025-06-27T11:04:30.735" v="104749" actId="478"/>
          <ac:spMkLst>
            <pc:docMk/>
            <pc:sldMk cId="552453391" sldId="352"/>
            <ac:spMk id="8" creationId="{CEBA4F3D-A34B-766B-8DE4-133CF8D4E88B}"/>
          </ac:spMkLst>
        </pc:spChg>
        <pc:spChg chg="del mod ord">
          <ac:chgData name="Alex Jordan" userId="30755697-3be4-4efa-ad5c-ca2e4102b45a" providerId="ADAL" clId="{FC76EA98-9B1A-4F2F-9A6E-876FE3C87E8A}" dt="2025-06-27T11:04:30.735" v="104749" actId="478"/>
          <ac:spMkLst>
            <pc:docMk/>
            <pc:sldMk cId="552453391" sldId="352"/>
            <ac:spMk id="9" creationId="{A2130C1C-30BB-215B-F768-2666B2571C73}"/>
          </ac:spMkLst>
        </pc:spChg>
        <pc:spChg chg="add mod">
          <ac:chgData name="Alex Jordan" userId="30755697-3be4-4efa-ad5c-ca2e4102b45a" providerId="ADAL" clId="{FC76EA98-9B1A-4F2F-9A6E-876FE3C87E8A}" dt="2025-06-27T11:05:13.162" v="104763"/>
          <ac:spMkLst>
            <pc:docMk/>
            <pc:sldMk cId="552453391" sldId="352"/>
            <ac:spMk id="10" creationId="{8E4082C8-3AEF-AEB5-38DC-3F60EFA0AB49}"/>
          </ac:spMkLst>
        </pc:spChg>
        <pc:spChg chg="add mod">
          <ac:chgData name="Alex Jordan" userId="30755697-3be4-4efa-ad5c-ca2e4102b45a" providerId="ADAL" clId="{FC76EA98-9B1A-4F2F-9A6E-876FE3C87E8A}" dt="2025-06-27T11:05:13.162" v="104763"/>
          <ac:spMkLst>
            <pc:docMk/>
            <pc:sldMk cId="552453391" sldId="352"/>
            <ac:spMk id="11" creationId="{043D7BDD-B0A0-3DAD-90AA-A1C49844DB8C}"/>
          </ac:spMkLst>
        </pc:spChg>
        <pc:spChg chg="add mod">
          <ac:chgData name="Alex Jordan" userId="30755697-3be4-4efa-ad5c-ca2e4102b45a" providerId="ADAL" clId="{FC76EA98-9B1A-4F2F-9A6E-876FE3C87E8A}" dt="2025-06-27T11:05:27.600" v="104775"/>
          <ac:spMkLst>
            <pc:docMk/>
            <pc:sldMk cId="552453391" sldId="352"/>
            <ac:spMk id="12" creationId="{A2723265-B7E6-14ED-5926-BEAA3ADA2614}"/>
          </ac:spMkLst>
        </pc:spChg>
        <pc:spChg chg="add mod">
          <ac:chgData name="Alex Jordan" userId="30755697-3be4-4efa-ad5c-ca2e4102b45a" providerId="ADAL" clId="{FC76EA98-9B1A-4F2F-9A6E-876FE3C87E8A}" dt="2025-06-27T11:05:27.600" v="104775"/>
          <ac:spMkLst>
            <pc:docMk/>
            <pc:sldMk cId="552453391" sldId="352"/>
            <ac:spMk id="13" creationId="{DFE24614-C9C5-A9FD-21E5-D27A3EF5A0E2}"/>
          </ac:spMkLst>
        </pc:spChg>
        <pc:spChg chg="add mod">
          <ac:chgData name="Alex Jordan" userId="30755697-3be4-4efa-ad5c-ca2e4102b45a" providerId="ADAL" clId="{FC76EA98-9B1A-4F2F-9A6E-876FE3C87E8A}" dt="2025-06-27T11:05:27.600" v="104775"/>
          <ac:spMkLst>
            <pc:docMk/>
            <pc:sldMk cId="552453391" sldId="352"/>
            <ac:spMk id="14" creationId="{B77AD3E7-08CC-FD85-E2D1-05B282DF4774}"/>
          </ac:spMkLst>
        </pc:spChg>
        <pc:spChg chg="add mod">
          <ac:chgData name="Alex Jordan" userId="30755697-3be4-4efa-ad5c-ca2e4102b45a" providerId="ADAL" clId="{FC76EA98-9B1A-4F2F-9A6E-876FE3C87E8A}" dt="2025-06-27T11:05:27.600" v="104775"/>
          <ac:spMkLst>
            <pc:docMk/>
            <pc:sldMk cId="552453391" sldId="352"/>
            <ac:spMk id="15" creationId="{7876F090-A7F5-8774-E9AD-4D1D30AEEBE4}"/>
          </ac:spMkLst>
        </pc:spChg>
        <pc:spChg chg="mod ord">
          <ac:chgData name="Alex Jordan" userId="30755697-3be4-4efa-ad5c-ca2e4102b45a" providerId="ADAL" clId="{FC76EA98-9B1A-4F2F-9A6E-876FE3C87E8A}" dt="2025-06-25T08:46:32.056" v="101958" actId="790"/>
          <ac:spMkLst>
            <pc:docMk/>
            <pc:sldMk cId="552453391" sldId="352"/>
            <ac:spMk id="38" creationId="{BA5BB2A2-74B3-8F04-2B7B-8D4CB4367664}"/>
          </ac:spMkLst>
        </pc:spChg>
        <pc:spChg chg="mod ord">
          <ac:chgData name="Alex Jordan" userId="30755697-3be4-4efa-ad5c-ca2e4102b45a" providerId="ADAL" clId="{FC76EA98-9B1A-4F2F-9A6E-876FE3C87E8A}" dt="2025-06-25T08:46:32.056" v="101958" actId="790"/>
          <ac:spMkLst>
            <pc:docMk/>
            <pc:sldMk cId="552453391" sldId="352"/>
            <ac:spMk id="56" creationId="{1D2D818B-68CC-B457-1CED-222AE309713F}"/>
          </ac:spMkLst>
        </pc:spChg>
        <pc:spChg chg="mod">
          <ac:chgData name="Alex Jordan" userId="30755697-3be4-4efa-ad5c-ca2e4102b45a" providerId="ADAL" clId="{FC76EA98-9B1A-4F2F-9A6E-876FE3C87E8A}" dt="2025-06-25T08:46:30.235" v="100023" actId="947"/>
          <ac:spMkLst>
            <pc:docMk/>
            <pc:sldMk cId="552453391" sldId="352"/>
            <ac:spMk id="57" creationId="{87983369-1FA1-59D6-192D-7BE56CD467F3}"/>
          </ac:spMkLst>
        </pc:spChg>
        <pc:spChg chg="mod">
          <ac:chgData name="Alex Jordan" userId="30755697-3be4-4efa-ad5c-ca2e4102b45a" providerId="ADAL" clId="{FC76EA98-9B1A-4F2F-9A6E-876FE3C87E8A}" dt="2025-06-25T08:46:30.235" v="100021" actId="947"/>
          <ac:spMkLst>
            <pc:docMk/>
            <pc:sldMk cId="552453391" sldId="352"/>
            <ac:spMk id="60" creationId="{9AE975FB-D51D-C534-AAAF-5C2B8FFBF298}"/>
          </ac:spMkLst>
        </pc:spChg>
        <pc:spChg chg="mod">
          <ac:chgData name="Alex Jordan" userId="30755697-3be4-4efa-ad5c-ca2e4102b45a" providerId="ADAL" clId="{FC76EA98-9B1A-4F2F-9A6E-876FE3C87E8A}" dt="2025-06-25T08:46:32.056" v="101958" actId="790"/>
          <ac:spMkLst>
            <pc:docMk/>
            <pc:sldMk cId="552453391" sldId="352"/>
            <ac:spMk id="6183" creationId="{81B3C9F1-3915-7604-7008-7FDD97886A7F}"/>
          </ac:spMkLst>
        </pc:spChg>
        <pc:spChg chg="mod">
          <ac:chgData name="Alex Jordan" userId="30755697-3be4-4efa-ad5c-ca2e4102b45a" providerId="ADAL" clId="{FC76EA98-9B1A-4F2F-9A6E-876FE3C87E8A}" dt="2025-06-25T08:46:30.244" v="100027" actId="947"/>
          <ac:spMkLst>
            <pc:docMk/>
            <pc:sldMk cId="552453391" sldId="352"/>
            <ac:spMk id="6184" creationId="{47304F1D-52BD-41A0-7D9B-B00E830260F5}"/>
          </ac:spMkLst>
        </pc:spChg>
        <pc:spChg chg="mod">
          <ac:chgData name="Alex Jordan" userId="30755697-3be4-4efa-ad5c-ca2e4102b45a" providerId="ADAL" clId="{FC76EA98-9B1A-4F2F-9A6E-876FE3C87E8A}" dt="2025-06-25T08:46:30.247" v="100029" actId="947"/>
          <ac:spMkLst>
            <pc:docMk/>
            <pc:sldMk cId="552453391" sldId="352"/>
            <ac:spMk id="6185" creationId="{FF5B014B-03D7-0F84-9A88-FB15C8A6B64E}"/>
          </ac:spMkLst>
        </pc:spChg>
        <pc:spChg chg="mod">
          <ac:chgData name="Alex Jordan" userId="30755697-3be4-4efa-ad5c-ca2e4102b45a" providerId="ADAL" clId="{FC76EA98-9B1A-4F2F-9A6E-876FE3C87E8A}" dt="2025-06-25T08:46:30.247" v="100031" actId="947"/>
          <ac:spMkLst>
            <pc:docMk/>
            <pc:sldMk cId="552453391" sldId="352"/>
            <ac:spMk id="6186" creationId="{8DF0318A-141F-E6C6-095F-CCF120EA08C8}"/>
          </ac:spMkLst>
        </pc:spChg>
        <pc:spChg chg="mod">
          <ac:chgData name="Alex Jordan" userId="30755697-3be4-4efa-ad5c-ca2e4102b45a" providerId="ADAL" clId="{FC76EA98-9B1A-4F2F-9A6E-876FE3C87E8A}" dt="2025-06-25T08:46:30.247" v="100033" actId="947"/>
          <ac:spMkLst>
            <pc:docMk/>
            <pc:sldMk cId="552453391" sldId="352"/>
            <ac:spMk id="6187" creationId="{4696D614-C3EA-49F9-20C2-55FD0A83A042}"/>
          </ac:spMkLst>
        </pc:spChg>
        <pc:spChg chg="mod">
          <ac:chgData name="Alex Jordan" userId="30755697-3be4-4efa-ad5c-ca2e4102b45a" providerId="ADAL" clId="{FC76EA98-9B1A-4F2F-9A6E-876FE3C87E8A}" dt="2025-06-25T08:46:30.251" v="100035" actId="947"/>
          <ac:spMkLst>
            <pc:docMk/>
            <pc:sldMk cId="552453391" sldId="352"/>
            <ac:spMk id="6188" creationId="{70412B45-C426-6C05-03B7-B59C768D273B}"/>
          </ac:spMkLst>
        </pc:spChg>
        <pc:spChg chg="mod">
          <ac:chgData name="Alex Jordan" userId="30755697-3be4-4efa-ad5c-ca2e4102b45a" providerId="ADAL" clId="{FC76EA98-9B1A-4F2F-9A6E-876FE3C87E8A}" dt="2025-06-25T08:46:30.253" v="100037" actId="947"/>
          <ac:spMkLst>
            <pc:docMk/>
            <pc:sldMk cId="552453391" sldId="352"/>
            <ac:spMk id="6189" creationId="{AEFB3EFB-FBD4-E1D3-4BDD-0037EDDAD002}"/>
          </ac:spMkLst>
        </pc:spChg>
        <pc:spChg chg="mod">
          <ac:chgData name="Alex Jordan" userId="30755697-3be4-4efa-ad5c-ca2e4102b45a" providerId="ADAL" clId="{FC76EA98-9B1A-4F2F-9A6E-876FE3C87E8A}" dt="2025-06-25T08:46:30.253" v="100039" actId="947"/>
          <ac:spMkLst>
            <pc:docMk/>
            <pc:sldMk cId="552453391" sldId="352"/>
            <ac:spMk id="6191" creationId="{2F1BDBD0-C92D-1814-ACAE-3B01C75D3E3A}"/>
          </ac:spMkLst>
        </pc:spChg>
        <pc:spChg chg="mod">
          <ac:chgData name="Alex Jordan" userId="30755697-3be4-4efa-ad5c-ca2e4102b45a" providerId="ADAL" clId="{FC76EA98-9B1A-4F2F-9A6E-876FE3C87E8A}" dt="2025-06-25T08:46:32.056" v="101958" actId="790"/>
          <ac:spMkLst>
            <pc:docMk/>
            <pc:sldMk cId="552453391" sldId="352"/>
            <ac:spMk id="6192" creationId="{0CF46CFE-A191-00DD-6BCE-869A18182487}"/>
          </ac:spMkLst>
        </pc:spChg>
        <pc:spChg chg="add mod">
          <ac:chgData name="Alex Jordan" userId="30755697-3be4-4efa-ad5c-ca2e4102b45a" providerId="ADAL" clId="{FC76EA98-9B1A-4F2F-9A6E-876FE3C87E8A}" dt="2025-06-25T08:46:30.257" v="100043" actId="947"/>
          <ac:spMkLst>
            <pc:docMk/>
            <pc:sldMk cId="552453391" sldId="352"/>
            <ac:spMk id="6195" creationId="{EF9AA056-40C3-CE87-D8DB-9A8347E7AE45}"/>
          </ac:spMkLst>
        </pc:spChg>
        <pc:spChg chg="mod">
          <ac:chgData name="Alex Jordan" userId="30755697-3be4-4efa-ad5c-ca2e4102b45a" providerId="ADAL" clId="{FC76EA98-9B1A-4F2F-9A6E-876FE3C87E8A}" dt="2025-06-25T08:46:30.257" v="100045" actId="947"/>
          <ac:spMkLst>
            <pc:docMk/>
            <pc:sldMk cId="552453391" sldId="352"/>
            <ac:spMk id="6196" creationId="{AAFDDEC0-6BA5-7A8A-7488-3071CA605F3E}"/>
          </ac:spMkLst>
        </pc:spChg>
        <pc:spChg chg="add mod">
          <ac:chgData name="Alex Jordan" userId="30755697-3be4-4efa-ad5c-ca2e4102b45a" providerId="ADAL" clId="{FC76EA98-9B1A-4F2F-9A6E-876FE3C87E8A}" dt="2025-06-25T08:46:32.056" v="101958" actId="790"/>
          <ac:spMkLst>
            <pc:docMk/>
            <pc:sldMk cId="552453391" sldId="352"/>
            <ac:spMk id="6197" creationId="{77EB3E35-E630-BFC2-37D3-DE330387BC14}"/>
          </ac:spMkLst>
        </pc:spChg>
        <pc:spChg chg="mod">
          <ac:chgData name="Alex Jordan" userId="30755697-3be4-4efa-ad5c-ca2e4102b45a" providerId="ADAL" clId="{FC76EA98-9B1A-4F2F-9A6E-876FE3C87E8A}" dt="2025-06-25T08:46:30.257" v="100049" actId="947"/>
          <ac:spMkLst>
            <pc:docMk/>
            <pc:sldMk cId="552453391" sldId="352"/>
            <ac:spMk id="6199" creationId="{B4754805-D84A-6834-3002-773BEBBE90A1}"/>
          </ac:spMkLst>
        </pc:spChg>
        <pc:spChg chg="mod">
          <ac:chgData name="Alex Jordan" userId="30755697-3be4-4efa-ad5c-ca2e4102b45a" providerId="ADAL" clId="{FC76EA98-9B1A-4F2F-9A6E-876FE3C87E8A}" dt="2025-06-25T08:46:30.257" v="100051" actId="947"/>
          <ac:spMkLst>
            <pc:docMk/>
            <pc:sldMk cId="552453391" sldId="352"/>
            <ac:spMk id="6200" creationId="{781F364B-9EA0-1B17-8244-BD0B7897595C}"/>
          </ac:spMkLst>
        </pc:spChg>
        <pc:spChg chg="mod">
          <ac:chgData name="Alex Jordan" userId="30755697-3be4-4efa-ad5c-ca2e4102b45a" providerId="ADAL" clId="{FC76EA98-9B1A-4F2F-9A6E-876FE3C87E8A}" dt="2025-06-25T08:46:30.257" v="100053" actId="947"/>
          <ac:spMkLst>
            <pc:docMk/>
            <pc:sldMk cId="552453391" sldId="352"/>
            <ac:spMk id="6203" creationId="{0C4E5E8C-25AC-FDE1-910A-542B3571FEB6}"/>
          </ac:spMkLst>
        </pc:spChg>
        <pc:spChg chg="mod">
          <ac:chgData name="Alex Jordan" userId="30755697-3be4-4efa-ad5c-ca2e4102b45a" providerId="ADAL" clId="{FC76EA98-9B1A-4F2F-9A6E-876FE3C87E8A}" dt="2025-06-25T08:46:32.056" v="101958" actId="790"/>
          <ac:spMkLst>
            <pc:docMk/>
            <pc:sldMk cId="552453391" sldId="352"/>
            <ac:spMk id="6204" creationId="{AB5E6DC5-DF0F-A8A6-5E12-2BF5FD633B6B}"/>
          </ac:spMkLst>
        </pc:spChg>
        <pc:spChg chg="mod">
          <ac:chgData name="Alex Jordan" userId="30755697-3be4-4efa-ad5c-ca2e4102b45a" providerId="ADAL" clId="{FC76EA98-9B1A-4F2F-9A6E-876FE3C87E8A}" dt="2025-06-25T08:46:30.269" v="100057" actId="947"/>
          <ac:spMkLst>
            <pc:docMk/>
            <pc:sldMk cId="552453391" sldId="352"/>
            <ac:spMk id="6205" creationId="{B0910D8A-29A7-6914-2DCB-EB153F0DA5B5}"/>
          </ac:spMkLst>
        </pc:spChg>
        <pc:spChg chg="mod">
          <ac:chgData name="Alex Jordan" userId="30755697-3be4-4efa-ad5c-ca2e4102b45a" providerId="ADAL" clId="{FC76EA98-9B1A-4F2F-9A6E-876FE3C87E8A}" dt="2025-06-25T08:46:30.271" v="100059" actId="947"/>
          <ac:spMkLst>
            <pc:docMk/>
            <pc:sldMk cId="552453391" sldId="352"/>
            <ac:spMk id="6206" creationId="{43389625-787C-DA26-B258-01DF0F8706CB}"/>
          </ac:spMkLst>
        </pc:spChg>
        <pc:spChg chg="mod">
          <ac:chgData name="Alex Jordan" userId="30755697-3be4-4efa-ad5c-ca2e4102b45a" providerId="ADAL" clId="{FC76EA98-9B1A-4F2F-9A6E-876FE3C87E8A}" dt="2025-06-25T08:46:30.273" v="100061" actId="947"/>
          <ac:spMkLst>
            <pc:docMk/>
            <pc:sldMk cId="552453391" sldId="352"/>
            <ac:spMk id="6207" creationId="{AF3AC14A-D245-765D-B04A-55B1EC2B8C43}"/>
          </ac:spMkLst>
        </pc:spChg>
        <pc:spChg chg="mod">
          <ac:chgData name="Alex Jordan" userId="30755697-3be4-4efa-ad5c-ca2e4102b45a" providerId="ADAL" clId="{FC76EA98-9B1A-4F2F-9A6E-876FE3C87E8A}" dt="2025-06-25T08:46:30.273" v="100063" actId="947"/>
          <ac:spMkLst>
            <pc:docMk/>
            <pc:sldMk cId="552453391" sldId="352"/>
            <ac:spMk id="6208" creationId="{B9DAFEEC-E42E-9C71-862D-05FE6E787E6A}"/>
          </ac:spMkLst>
        </pc:spChg>
        <pc:spChg chg="mod">
          <ac:chgData name="Alex Jordan" userId="30755697-3be4-4efa-ad5c-ca2e4102b45a" providerId="ADAL" clId="{FC76EA98-9B1A-4F2F-9A6E-876FE3C87E8A}" dt="2025-06-25T08:46:30.275" v="100065" actId="947"/>
          <ac:spMkLst>
            <pc:docMk/>
            <pc:sldMk cId="552453391" sldId="352"/>
            <ac:spMk id="6209" creationId="{3F64CF45-88DA-FFE0-E7CE-F18B8D8EA494}"/>
          </ac:spMkLst>
        </pc:spChg>
        <pc:spChg chg="mod">
          <ac:chgData name="Alex Jordan" userId="30755697-3be4-4efa-ad5c-ca2e4102b45a" providerId="ADAL" clId="{FC76EA98-9B1A-4F2F-9A6E-876FE3C87E8A}" dt="2025-06-25T08:46:30.277" v="100067" actId="947"/>
          <ac:spMkLst>
            <pc:docMk/>
            <pc:sldMk cId="552453391" sldId="352"/>
            <ac:spMk id="6210" creationId="{B6EB989F-9DB0-5F37-C7CC-4028383CD53B}"/>
          </ac:spMkLst>
        </pc:spChg>
        <pc:spChg chg="mod">
          <ac:chgData name="Alex Jordan" userId="30755697-3be4-4efa-ad5c-ca2e4102b45a" providerId="ADAL" clId="{FC76EA98-9B1A-4F2F-9A6E-876FE3C87E8A}" dt="2025-06-25T08:46:30.277" v="100069" actId="947"/>
          <ac:spMkLst>
            <pc:docMk/>
            <pc:sldMk cId="552453391" sldId="352"/>
            <ac:spMk id="6211" creationId="{EDD5A2E9-5FDE-E259-BF45-FFF336F2E7D2}"/>
          </ac:spMkLst>
        </pc:spChg>
        <pc:spChg chg="mod">
          <ac:chgData name="Alex Jordan" userId="30755697-3be4-4efa-ad5c-ca2e4102b45a" providerId="ADAL" clId="{FC76EA98-9B1A-4F2F-9A6E-876FE3C87E8A}" dt="2025-06-25T08:46:30.282" v="100071" actId="947"/>
          <ac:spMkLst>
            <pc:docMk/>
            <pc:sldMk cId="552453391" sldId="352"/>
            <ac:spMk id="6212" creationId="{3017A995-B8A8-F9FD-72E1-12655D261D05}"/>
          </ac:spMkLst>
        </pc:spChg>
        <pc:spChg chg="mod">
          <ac:chgData name="Alex Jordan" userId="30755697-3be4-4efa-ad5c-ca2e4102b45a" providerId="ADAL" clId="{FC76EA98-9B1A-4F2F-9A6E-876FE3C87E8A}" dt="2025-06-25T08:46:30.283" v="100073" actId="947"/>
          <ac:spMkLst>
            <pc:docMk/>
            <pc:sldMk cId="552453391" sldId="352"/>
            <ac:spMk id="6213" creationId="{458E71B9-9FC8-EED8-FF98-7942F9956355}"/>
          </ac:spMkLst>
        </pc:spChg>
        <pc:spChg chg="mod">
          <ac:chgData name="Alex Jordan" userId="30755697-3be4-4efa-ad5c-ca2e4102b45a" providerId="ADAL" clId="{FC76EA98-9B1A-4F2F-9A6E-876FE3C87E8A}" dt="2025-06-25T08:46:30.288" v="100075" actId="947"/>
          <ac:spMkLst>
            <pc:docMk/>
            <pc:sldMk cId="552453391" sldId="352"/>
            <ac:spMk id="6214" creationId="{DEAC0AEA-4ACF-9E81-0102-77089E06B059}"/>
          </ac:spMkLst>
        </pc:spChg>
        <pc:spChg chg="mod">
          <ac:chgData name="Alex Jordan" userId="30755697-3be4-4efa-ad5c-ca2e4102b45a" providerId="ADAL" clId="{FC76EA98-9B1A-4F2F-9A6E-876FE3C87E8A}" dt="2025-06-25T08:46:30.288" v="100077" actId="947"/>
          <ac:spMkLst>
            <pc:docMk/>
            <pc:sldMk cId="552453391" sldId="352"/>
            <ac:spMk id="6215" creationId="{15A8F84C-453D-0405-AA73-9C3A2F25C1C0}"/>
          </ac:spMkLst>
        </pc:spChg>
        <pc:spChg chg="mod">
          <ac:chgData name="Alex Jordan" userId="30755697-3be4-4efa-ad5c-ca2e4102b45a" providerId="ADAL" clId="{FC76EA98-9B1A-4F2F-9A6E-876FE3C87E8A}" dt="2025-06-25T08:46:30.288" v="100079" actId="947"/>
          <ac:spMkLst>
            <pc:docMk/>
            <pc:sldMk cId="552453391" sldId="352"/>
            <ac:spMk id="6217" creationId="{5B207863-83A8-3AA8-2874-571831DE596E}"/>
          </ac:spMkLst>
        </pc:spChg>
        <pc:spChg chg="add mod">
          <ac:chgData name="Alex Jordan" userId="30755697-3be4-4efa-ad5c-ca2e4102b45a" providerId="ADAL" clId="{FC76EA98-9B1A-4F2F-9A6E-876FE3C87E8A}" dt="2025-06-25T08:46:30.288" v="100081" actId="947"/>
          <ac:spMkLst>
            <pc:docMk/>
            <pc:sldMk cId="552453391" sldId="352"/>
            <ac:spMk id="6218" creationId="{92D9425D-7F0C-86AD-C3DB-BF0491B69A7C}"/>
          </ac:spMkLst>
        </pc:spChg>
        <pc:spChg chg="mod">
          <ac:chgData name="Alex Jordan" userId="30755697-3be4-4efa-ad5c-ca2e4102b45a" providerId="ADAL" clId="{FC76EA98-9B1A-4F2F-9A6E-876FE3C87E8A}" dt="2025-06-25T08:46:30.288" v="100083" actId="947"/>
          <ac:spMkLst>
            <pc:docMk/>
            <pc:sldMk cId="552453391" sldId="352"/>
            <ac:spMk id="6222" creationId="{371CC4B0-E0A7-C409-AA31-40A08FC2FA57}"/>
          </ac:spMkLst>
        </pc:spChg>
        <pc:spChg chg="add mod">
          <ac:chgData name="Alex Jordan" userId="30755697-3be4-4efa-ad5c-ca2e4102b45a" providerId="ADAL" clId="{FC76EA98-9B1A-4F2F-9A6E-876FE3C87E8A}" dt="2025-06-25T08:46:30.288" v="100085" actId="947"/>
          <ac:spMkLst>
            <pc:docMk/>
            <pc:sldMk cId="552453391" sldId="352"/>
            <ac:spMk id="6223" creationId="{531509F4-0DFB-31DB-FBB7-E98E180EC998}"/>
          </ac:spMkLst>
        </pc:spChg>
        <pc:spChg chg="add mod">
          <ac:chgData name="Alex Jordan" userId="30755697-3be4-4efa-ad5c-ca2e4102b45a" providerId="ADAL" clId="{FC76EA98-9B1A-4F2F-9A6E-876FE3C87E8A}" dt="2025-06-25T08:46:32.056" v="101958" actId="790"/>
          <ac:spMkLst>
            <pc:docMk/>
            <pc:sldMk cId="552453391" sldId="352"/>
            <ac:spMk id="6224" creationId="{F6B01DCB-B861-D246-69C0-842941D10271}"/>
          </ac:spMkLst>
        </pc:spChg>
        <pc:spChg chg="mod">
          <ac:chgData name="Alex Jordan" userId="30755697-3be4-4efa-ad5c-ca2e4102b45a" providerId="ADAL" clId="{FC76EA98-9B1A-4F2F-9A6E-876FE3C87E8A}" dt="2025-06-25T08:46:30.298" v="100089" actId="947"/>
          <ac:spMkLst>
            <pc:docMk/>
            <pc:sldMk cId="552453391" sldId="352"/>
            <ac:spMk id="6225" creationId="{9C01D509-2A37-8CE3-03D8-DF89B3658B8C}"/>
          </ac:spMkLst>
        </pc:spChg>
        <pc:spChg chg="mod">
          <ac:chgData name="Alex Jordan" userId="30755697-3be4-4efa-ad5c-ca2e4102b45a" providerId="ADAL" clId="{FC76EA98-9B1A-4F2F-9A6E-876FE3C87E8A}" dt="2025-06-25T08:46:30.299" v="100091" actId="947"/>
          <ac:spMkLst>
            <pc:docMk/>
            <pc:sldMk cId="552453391" sldId="352"/>
            <ac:spMk id="6226" creationId="{227A7512-5AEF-642C-6E87-A2C56FC51150}"/>
          </ac:spMkLst>
        </pc:spChg>
        <pc:spChg chg="mod">
          <ac:chgData name="Alex Jordan" userId="30755697-3be4-4efa-ad5c-ca2e4102b45a" providerId="ADAL" clId="{FC76EA98-9B1A-4F2F-9A6E-876FE3C87E8A}" dt="2025-06-25T08:46:30.299" v="100093" actId="947"/>
          <ac:spMkLst>
            <pc:docMk/>
            <pc:sldMk cId="552453391" sldId="352"/>
            <ac:spMk id="6227" creationId="{02230E32-AD68-8ABA-4A0A-FA3F86CEF14C}"/>
          </ac:spMkLst>
        </pc:spChg>
        <pc:spChg chg="add mod">
          <ac:chgData name="Alex Jordan" userId="30755697-3be4-4efa-ad5c-ca2e4102b45a" providerId="ADAL" clId="{FC76EA98-9B1A-4F2F-9A6E-876FE3C87E8A}" dt="2025-06-25T08:46:32.056" v="101958" actId="790"/>
          <ac:spMkLst>
            <pc:docMk/>
            <pc:sldMk cId="552453391" sldId="352"/>
            <ac:spMk id="6229" creationId="{C68D9ABB-C1AE-0337-6D7A-A3427F495D2C}"/>
          </ac:spMkLst>
        </pc:spChg>
        <pc:spChg chg="add mod">
          <ac:chgData name="Alex Jordan" userId="30755697-3be4-4efa-ad5c-ca2e4102b45a" providerId="ADAL" clId="{FC76EA98-9B1A-4F2F-9A6E-876FE3C87E8A}" dt="2025-06-25T08:46:30.299" v="100097" actId="947"/>
          <ac:spMkLst>
            <pc:docMk/>
            <pc:sldMk cId="552453391" sldId="352"/>
            <ac:spMk id="6230" creationId="{A629ECCD-9FD3-1F80-C9C6-998F55A3A84D}"/>
          </ac:spMkLst>
        </pc:spChg>
        <pc:spChg chg="mod">
          <ac:chgData name="Alex Jordan" userId="30755697-3be4-4efa-ad5c-ca2e4102b45a" providerId="ADAL" clId="{FC76EA98-9B1A-4F2F-9A6E-876FE3C87E8A}" dt="2025-06-25T08:46:30.299" v="100099" actId="947"/>
          <ac:spMkLst>
            <pc:docMk/>
            <pc:sldMk cId="552453391" sldId="352"/>
            <ac:spMk id="6235" creationId="{D6C802C2-A51F-8A5B-4F6A-CED037CF58DD}"/>
          </ac:spMkLst>
        </pc:spChg>
        <pc:spChg chg="mod">
          <ac:chgData name="Alex Jordan" userId="30755697-3be4-4efa-ad5c-ca2e4102b45a" providerId="ADAL" clId="{FC76EA98-9B1A-4F2F-9A6E-876FE3C87E8A}" dt="2025-06-25T08:46:30.308" v="100101" actId="947"/>
          <ac:spMkLst>
            <pc:docMk/>
            <pc:sldMk cId="552453391" sldId="352"/>
            <ac:spMk id="6236" creationId="{B52EC0D5-792C-5686-DB81-6737DF602B16}"/>
          </ac:spMkLst>
        </pc:spChg>
        <pc:spChg chg="mod">
          <ac:chgData name="Alex Jordan" userId="30755697-3be4-4efa-ad5c-ca2e4102b45a" providerId="ADAL" clId="{FC76EA98-9B1A-4F2F-9A6E-876FE3C87E8A}" dt="2025-06-25T08:46:30.308" v="100103" actId="947"/>
          <ac:spMkLst>
            <pc:docMk/>
            <pc:sldMk cId="552453391" sldId="352"/>
            <ac:spMk id="6237" creationId="{75275AA2-3E9E-4BB6-5E31-C41E5349D328}"/>
          </ac:spMkLst>
        </pc:spChg>
        <pc:spChg chg="mod">
          <ac:chgData name="Alex Jordan" userId="30755697-3be4-4efa-ad5c-ca2e4102b45a" providerId="ADAL" clId="{FC76EA98-9B1A-4F2F-9A6E-876FE3C87E8A}" dt="2025-06-25T08:46:30.308" v="100105" actId="947"/>
          <ac:spMkLst>
            <pc:docMk/>
            <pc:sldMk cId="552453391" sldId="352"/>
            <ac:spMk id="6238" creationId="{3466F6B5-65A0-8715-ACE6-B8EEFAD1FF92}"/>
          </ac:spMkLst>
        </pc:spChg>
        <pc:spChg chg="add mod">
          <ac:chgData name="Alex Jordan" userId="30755697-3be4-4efa-ad5c-ca2e4102b45a" providerId="ADAL" clId="{FC76EA98-9B1A-4F2F-9A6E-876FE3C87E8A}" dt="2025-06-25T08:46:30.308" v="100107" actId="947"/>
          <ac:spMkLst>
            <pc:docMk/>
            <pc:sldMk cId="552453391" sldId="352"/>
            <ac:spMk id="6239" creationId="{DB056CC8-04BF-0348-06F1-9D72D4D2F8D1}"/>
          </ac:spMkLst>
        </pc:spChg>
        <pc:spChg chg="mod">
          <ac:chgData name="Alex Jordan" userId="30755697-3be4-4efa-ad5c-ca2e4102b45a" providerId="ADAL" clId="{FC76EA98-9B1A-4F2F-9A6E-876FE3C87E8A}" dt="2025-06-25T08:46:30.308" v="100109" actId="947"/>
          <ac:spMkLst>
            <pc:docMk/>
            <pc:sldMk cId="552453391" sldId="352"/>
            <ac:spMk id="6240" creationId="{CAEF8F25-312B-3BDE-4095-F4FE00B33C20}"/>
          </ac:spMkLst>
        </pc:spChg>
        <pc:spChg chg="mod">
          <ac:chgData name="Alex Jordan" userId="30755697-3be4-4efa-ad5c-ca2e4102b45a" providerId="ADAL" clId="{FC76EA98-9B1A-4F2F-9A6E-876FE3C87E8A}" dt="2025-06-25T08:46:30.315" v="100111" actId="947"/>
          <ac:spMkLst>
            <pc:docMk/>
            <pc:sldMk cId="552453391" sldId="352"/>
            <ac:spMk id="6241" creationId="{2BDFAD2C-7FAD-7780-D074-202B279634A1}"/>
          </ac:spMkLst>
        </pc:spChg>
        <pc:spChg chg="add mod">
          <ac:chgData name="Alex Jordan" userId="30755697-3be4-4efa-ad5c-ca2e4102b45a" providerId="ADAL" clId="{FC76EA98-9B1A-4F2F-9A6E-876FE3C87E8A}" dt="2025-06-25T08:46:30.319" v="100113" actId="947"/>
          <ac:spMkLst>
            <pc:docMk/>
            <pc:sldMk cId="552453391" sldId="352"/>
            <ac:spMk id="6242" creationId="{F29E49AC-DCBD-8F13-8052-975E3E9C5795}"/>
          </ac:spMkLst>
        </pc:spChg>
        <pc:spChg chg="mod">
          <ac:chgData name="Alex Jordan" userId="30755697-3be4-4efa-ad5c-ca2e4102b45a" providerId="ADAL" clId="{FC76EA98-9B1A-4F2F-9A6E-876FE3C87E8A}" dt="2025-06-25T08:46:32.056" v="101958" actId="790"/>
          <ac:spMkLst>
            <pc:docMk/>
            <pc:sldMk cId="552453391" sldId="352"/>
            <ac:spMk id="6244" creationId="{5E64B2B0-6BCF-4BF3-315E-362E3B5E22A2}"/>
          </ac:spMkLst>
        </pc:spChg>
        <pc:spChg chg="mod">
          <ac:chgData name="Alex Jordan" userId="30755697-3be4-4efa-ad5c-ca2e4102b45a" providerId="ADAL" clId="{FC76EA98-9B1A-4F2F-9A6E-876FE3C87E8A}" dt="2025-06-25T08:46:30.319" v="100117" actId="947"/>
          <ac:spMkLst>
            <pc:docMk/>
            <pc:sldMk cId="552453391" sldId="352"/>
            <ac:spMk id="6245" creationId="{6FA2ECC7-74E8-9BE8-3940-E6AE9FEEAEF1}"/>
          </ac:spMkLst>
        </pc:spChg>
        <pc:spChg chg="mod">
          <ac:chgData name="Alex Jordan" userId="30755697-3be4-4efa-ad5c-ca2e4102b45a" providerId="ADAL" clId="{FC76EA98-9B1A-4F2F-9A6E-876FE3C87E8A}" dt="2025-06-25T08:46:30.319" v="100119" actId="947"/>
          <ac:spMkLst>
            <pc:docMk/>
            <pc:sldMk cId="552453391" sldId="352"/>
            <ac:spMk id="6246" creationId="{BD34D37F-BC62-9FD8-9936-B3BDCC82EDC5}"/>
          </ac:spMkLst>
        </pc:spChg>
        <pc:spChg chg="mod">
          <ac:chgData name="Alex Jordan" userId="30755697-3be4-4efa-ad5c-ca2e4102b45a" providerId="ADAL" clId="{FC76EA98-9B1A-4F2F-9A6E-876FE3C87E8A}" dt="2025-06-25T08:46:30.319" v="100121" actId="947"/>
          <ac:spMkLst>
            <pc:docMk/>
            <pc:sldMk cId="552453391" sldId="352"/>
            <ac:spMk id="6247" creationId="{A481AB26-2F74-9A5B-0BB5-AC5CA6D4F7E5}"/>
          </ac:spMkLst>
        </pc:spChg>
        <pc:spChg chg="mod">
          <ac:chgData name="Alex Jordan" userId="30755697-3be4-4efa-ad5c-ca2e4102b45a" providerId="ADAL" clId="{FC76EA98-9B1A-4F2F-9A6E-876FE3C87E8A}" dt="2025-06-25T08:46:30.319" v="100123" actId="947"/>
          <ac:spMkLst>
            <pc:docMk/>
            <pc:sldMk cId="552453391" sldId="352"/>
            <ac:spMk id="6250" creationId="{76630085-81F8-C89D-D5ED-A316DADBAED2}"/>
          </ac:spMkLst>
        </pc:spChg>
        <pc:spChg chg="add mod">
          <ac:chgData name="Alex Jordan" userId="30755697-3be4-4efa-ad5c-ca2e4102b45a" providerId="ADAL" clId="{FC76EA98-9B1A-4F2F-9A6E-876FE3C87E8A}" dt="2025-06-25T08:46:32.056" v="101958" actId="790"/>
          <ac:spMkLst>
            <pc:docMk/>
            <pc:sldMk cId="552453391" sldId="352"/>
            <ac:spMk id="6251" creationId="{CFA0BDB9-F731-F37C-E87A-CE15AA07DB0E}"/>
          </ac:spMkLst>
        </pc:spChg>
        <pc:spChg chg="mod">
          <ac:chgData name="Alex Jordan" userId="30755697-3be4-4efa-ad5c-ca2e4102b45a" providerId="ADAL" clId="{FC76EA98-9B1A-4F2F-9A6E-876FE3C87E8A}" dt="2025-06-25T08:46:30.329" v="100127" actId="947"/>
          <ac:spMkLst>
            <pc:docMk/>
            <pc:sldMk cId="552453391" sldId="352"/>
            <ac:spMk id="6252" creationId="{E102875C-D571-77F5-03F3-B84D910AF3AF}"/>
          </ac:spMkLst>
        </pc:spChg>
        <pc:spChg chg="mod">
          <ac:chgData name="Alex Jordan" userId="30755697-3be4-4efa-ad5c-ca2e4102b45a" providerId="ADAL" clId="{FC76EA98-9B1A-4F2F-9A6E-876FE3C87E8A}" dt="2025-06-25T08:46:30.331" v="100129" actId="947"/>
          <ac:spMkLst>
            <pc:docMk/>
            <pc:sldMk cId="552453391" sldId="352"/>
            <ac:spMk id="6253" creationId="{4433D945-3E75-BD58-9B4E-0CA36BE818C0}"/>
          </ac:spMkLst>
        </pc:spChg>
        <pc:spChg chg="mod">
          <ac:chgData name="Alex Jordan" userId="30755697-3be4-4efa-ad5c-ca2e4102b45a" providerId="ADAL" clId="{FC76EA98-9B1A-4F2F-9A6E-876FE3C87E8A}" dt="2025-06-25T08:46:30.334" v="100131" actId="947"/>
          <ac:spMkLst>
            <pc:docMk/>
            <pc:sldMk cId="552453391" sldId="352"/>
            <ac:spMk id="6254" creationId="{BEF13463-DD25-15DA-A766-98718BB26705}"/>
          </ac:spMkLst>
        </pc:spChg>
        <pc:spChg chg="mod">
          <ac:chgData name="Alex Jordan" userId="30755697-3be4-4efa-ad5c-ca2e4102b45a" providerId="ADAL" clId="{FC76EA98-9B1A-4F2F-9A6E-876FE3C87E8A}" dt="2025-06-25T08:46:30.334" v="100133" actId="947"/>
          <ac:spMkLst>
            <pc:docMk/>
            <pc:sldMk cId="552453391" sldId="352"/>
            <ac:spMk id="6255" creationId="{A8B0295B-A503-340F-2F11-34DE09A9BE4A}"/>
          </ac:spMkLst>
        </pc:spChg>
        <pc:spChg chg="mod">
          <ac:chgData name="Alex Jordan" userId="30755697-3be4-4efa-ad5c-ca2e4102b45a" providerId="ADAL" clId="{FC76EA98-9B1A-4F2F-9A6E-876FE3C87E8A}" dt="2025-06-25T08:46:30.336" v="100135" actId="947"/>
          <ac:spMkLst>
            <pc:docMk/>
            <pc:sldMk cId="552453391" sldId="352"/>
            <ac:spMk id="6256" creationId="{A3EC2F39-1AE0-7967-7795-BECCA6E61F5B}"/>
          </ac:spMkLst>
        </pc:spChg>
        <pc:spChg chg="mod">
          <ac:chgData name="Alex Jordan" userId="30755697-3be4-4efa-ad5c-ca2e4102b45a" providerId="ADAL" clId="{FC76EA98-9B1A-4F2F-9A6E-876FE3C87E8A}" dt="2025-06-25T08:46:30.338" v="100137" actId="947"/>
          <ac:spMkLst>
            <pc:docMk/>
            <pc:sldMk cId="552453391" sldId="352"/>
            <ac:spMk id="6257" creationId="{30E6D053-7B88-FA88-CE3F-9B7C03C8FDFA}"/>
          </ac:spMkLst>
        </pc:spChg>
        <pc:grpChg chg="add mod ord">
          <ac:chgData name="Alex Jordan" userId="30755697-3be4-4efa-ad5c-ca2e4102b45a" providerId="ADAL" clId="{FC76EA98-9B1A-4F2F-9A6E-876FE3C87E8A}" dt="2025-06-24T13:00:00.940" v="2869"/>
          <ac:grpSpMkLst>
            <pc:docMk/>
            <pc:sldMk cId="552453391" sldId="352"/>
            <ac:grpSpMk id="55" creationId="{F401C56D-8221-77CA-A91E-494EFBC879E5}"/>
          </ac:grpSpMkLst>
        </pc:grpChg>
        <pc:grpChg chg="mod">
          <ac:chgData name="Alex Jordan" userId="30755697-3be4-4efa-ad5c-ca2e4102b45a" providerId="ADAL" clId="{FC76EA98-9B1A-4F2F-9A6E-876FE3C87E8A}" dt="2025-06-24T12:57:48.485" v="2366"/>
          <ac:grpSpMkLst>
            <pc:docMk/>
            <pc:sldMk cId="552453391" sldId="352"/>
            <ac:grpSpMk id="58" creationId="{65C14EAF-E822-537E-E65A-729B5AE7AA9D}"/>
          </ac:grpSpMkLst>
        </pc:grpChg>
        <pc:graphicFrameChg chg="mod">
          <ac:chgData name="Alex Jordan" userId="30755697-3be4-4efa-ad5c-ca2e4102b45a" providerId="ADAL" clId="{FC76EA98-9B1A-4F2F-9A6E-876FE3C87E8A}" dt="2025-06-25T08:46:34.860" v="103900"/>
          <ac:graphicFrameMkLst>
            <pc:docMk/>
            <pc:sldMk cId="552453391" sldId="352"/>
            <ac:graphicFrameMk id="7" creationId="{82200CD8-96B8-7E85-020A-5104D9030D62}"/>
          </ac:graphicFrameMkLst>
        </pc:graphicFrameChg>
        <pc:cxnChg chg="mod">
          <ac:chgData name="Alex Jordan" userId="30755697-3be4-4efa-ad5c-ca2e4102b45a" providerId="ADAL" clId="{FC76EA98-9B1A-4F2F-9A6E-876FE3C87E8A}" dt="2025-06-24T12:57:48.485" v="2366"/>
          <ac:cxnSpMkLst>
            <pc:docMk/>
            <pc:sldMk cId="552453391" sldId="352"/>
            <ac:cxnSpMk id="59" creationId="{1ECDE37C-EE9E-5F0E-1878-57B09264C5B4}"/>
          </ac:cxnSpMkLst>
        </pc:cxnChg>
        <pc:cxnChg chg="mod">
          <ac:chgData name="Alex Jordan" userId="30755697-3be4-4efa-ad5c-ca2e4102b45a" providerId="ADAL" clId="{FC76EA98-9B1A-4F2F-9A6E-876FE3C87E8A}" dt="2025-06-24T12:59:20.498" v="2489" actId="208"/>
          <ac:cxnSpMkLst>
            <pc:docMk/>
            <pc:sldMk cId="552453391" sldId="352"/>
            <ac:cxnSpMk id="61" creationId="{F7CDF57F-515A-FF7C-C783-58DC8D7D20E3}"/>
          </ac:cxnSpMkLst>
        </pc:cxnChg>
        <pc:cxnChg chg="mod">
          <ac:chgData name="Alex Jordan" userId="30755697-3be4-4efa-ad5c-ca2e4102b45a" providerId="ADAL" clId="{FC76EA98-9B1A-4F2F-9A6E-876FE3C87E8A}" dt="2025-06-24T12:59:20.498" v="2489" actId="208"/>
          <ac:cxnSpMkLst>
            <pc:docMk/>
            <pc:sldMk cId="552453391" sldId="352"/>
            <ac:cxnSpMk id="62" creationId="{D602A6C6-DCF1-18C4-7F23-C2AA9343AD5F}"/>
          </ac:cxnSpMkLst>
        </pc:cxnChg>
        <pc:cxnChg chg="mod">
          <ac:chgData name="Alex Jordan" userId="30755697-3be4-4efa-ad5c-ca2e4102b45a" providerId="ADAL" clId="{FC76EA98-9B1A-4F2F-9A6E-876FE3C87E8A}" dt="2025-06-24T12:59:20.498" v="2489" actId="208"/>
          <ac:cxnSpMkLst>
            <pc:docMk/>
            <pc:sldMk cId="552453391" sldId="352"/>
            <ac:cxnSpMk id="63" creationId="{C9EDE8CF-51E4-3AF1-6F41-32992C49BF50}"/>
          </ac:cxnSpMkLst>
        </pc:cxnChg>
        <pc:cxnChg chg="mod">
          <ac:chgData name="Alex Jordan" userId="30755697-3be4-4efa-ad5c-ca2e4102b45a" providerId="ADAL" clId="{FC76EA98-9B1A-4F2F-9A6E-876FE3C87E8A}" dt="2025-06-24T12:59:20.498" v="2489" actId="208"/>
          <ac:cxnSpMkLst>
            <pc:docMk/>
            <pc:sldMk cId="552453391" sldId="352"/>
            <ac:cxnSpMk id="6144" creationId="{81154FD4-4256-36B0-CC6C-C7AAC8DDFCD1}"/>
          </ac:cxnSpMkLst>
        </pc:cxnChg>
        <pc:cxnChg chg="mod">
          <ac:chgData name="Alex Jordan" userId="30755697-3be4-4efa-ad5c-ca2e4102b45a" providerId="ADAL" clId="{FC76EA98-9B1A-4F2F-9A6E-876FE3C87E8A}" dt="2025-06-24T12:59:20.498" v="2489" actId="208"/>
          <ac:cxnSpMkLst>
            <pc:docMk/>
            <pc:sldMk cId="552453391" sldId="352"/>
            <ac:cxnSpMk id="6145" creationId="{B63EAFE3-5EFD-1D2A-70CB-B8940D687286}"/>
          </ac:cxnSpMkLst>
        </pc:cxnChg>
        <pc:cxnChg chg="mod">
          <ac:chgData name="Alex Jordan" userId="30755697-3be4-4efa-ad5c-ca2e4102b45a" providerId="ADAL" clId="{FC76EA98-9B1A-4F2F-9A6E-876FE3C87E8A}" dt="2025-06-24T12:59:20.498" v="2489" actId="208"/>
          <ac:cxnSpMkLst>
            <pc:docMk/>
            <pc:sldMk cId="552453391" sldId="352"/>
            <ac:cxnSpMk id="6146" creationId="{8747FB74-DEE3-9F39-256E-ADC22D3D3CC5}"/>
          </ac:cxnSpMkLst>
        </pc:cxnChg>
        <pc:cxnChg chg="mod">
          <ac:chgData name="Alex Jordan" userId="30755697-3be4-4efa-ad5c-ca2e4102b45a" providerId="ADAL" clId="{FC76EA98-9B1A-4F2F-9A6E-876FE3C87E8A}" dt="2025-06-24T12:59:20.498" v="2489" actId="208"/>
          <ac:cxnSpMkLst>
            <pc:docMk/>
            <pc:sldMk cId="552453391" sldId="352"/>
            <ac:cxnSpMk id="6147" creationId="{680EA6D6-7664-B77A-DA11-A5F10E2B78B5}"/>
          </ac:cxnSpMkLst>
        </pc:cxnChg>
        <pc:cxnChg chg="mod">
          <ac:chgData name="Alex Jordan" userId="30755697-3be4-4efa-ad5c-ca2e4102b45a" providerId="ADAL" clId="{FC76EA98-9B1A-4F2F-9A6E-876FE3C87E8A}" dt="2025-06-24T12:59:20.498" v="2489" actId="208"/>
          <ac:cxnSpMkLst>
            <pc:docMk/>
            <pc:sldMk cId="552453391" sldId="352"/>
            <ac:cxnSpMk id="6148" creationId="{FADEAB40-6DC6-F709-C2E4-FE402248FE17}"/>
          </ac:cxnSpMkLst>
        </pc:cxnChg>
        <pc:cxnChg chg="mod">
          <ac:chgData name="Alex Jordan" userId="30755697-3be4-4efa-ad5c-ca2e4102b45a" providerId="ADAL" clId="{FC76EA98-9B1A-4F2F-9A6E-876FE3C87E8A}" dt="2025-06-24T12:59:29.675" v="2491" actId="208"/>
          <ac:cxnSpMkLst>
            <pc:docMk/>
            <pc:sldMk cId="552453391" sldId="352"/>
            <ac:cxnSpMk id="6150" creationId="{A0DACDBA-1439-747C-CA6D-5388B2F69504}"/>
          </ac:cxnSpMkLst>
        </pc:cxnChg>
        <pc:cxnChg chg="mod">
          <ac:chgData name="Alex Jordan" userId="30755697-3be4-4efa-ad5c-ca2e4102b45a" providerId="ADAL" clId="{FC76EA98-9B1A-4F2F-9A6E-876FE3C87E8A}" dt="2025-06-24T13:32:45.093" v="4409" actId="1038"/>
          <ac:cxnSpMkLst>
            <pc:docMk/>
            <pc:sldMk cId="552453391" sldId="352"/>
            <ac:cxnSpMk id="6194" creationId="{EBF74405-75F1-30D6-1881-6AD9567092E6}"/>
          </ac:cxnSpMkLst>
        </pc:cxnChg>
      </pc:sldChg>
      <pc:sldChg chg="del">
        <pc:chgData name="Alex Jordan" userId="30755697-3be4-4efa-ad5c-ca2e4102b45a" providerId="ADAL" clId="{FC76EA98-9B1A-4F2F-9A6E-876FE3C87E8A}" dt="2025-06-24T13:04:53.652" v="3276" actId="47"/>
        <pc:sldMkLst>
          <pc:docMk/>
          <pc:sldMk cId="2527108895" sldId="353"/>
        </pc:sldMkLst>
      </pc:sldChg>
      <pc:sldChg chg="del">
        <pc:chgData name="Alex Jordan" userId="30755697-3be4-4efa-ad5c-ca2e4102b45a" providerId="ADAL" clId="{FC76EA98-9B1A-4F2F-9A6E-876FE3C87E8A}" dt="2025-06-24T13:04:53.652" v="3276" actId="47"/>
        <pc:sldMkLst>
          <pc:docMk/>
          <pc:sldMk cId="3838670244" sldId="354"/>
        </pc:sldMkLst>
      </pc:sldChg>
      <pc:sldChg chg="del">
        <pc:chgData name="Alex Jordan" userId="30755697-3be4-4efa-ad5c-ca2e4102b45a" providerId="ADAL" clId="{FC76EA98-9B1A-4F2F-9A6E-876FE3C87E8A}" dt="2025-06-24T13:04:53.652" v="3276" actId="47"/>
        <pc:sldMkLst>
          <pc:docMk/>
          <pc:sldMk cId="696448331" sldId="355"/>
        </pc:sldMkLst>
      </pc:sldChg>
      <pc:sldChg chg="del">
        <pc:chgData name="Alex Jordan" userId="30755697-3be4-4efa-ad5c-ca2e4102b45a" providerId="ADAL" clId="{FC76EA98-9B1A-4F2F-9A6E-876FE3C87E8A}" dt="2025-06-24T13:04:53.652" v="3276" actId="47"/>
        <pc:sldMkLst>
          <pc:docMk/>
          <pc:sldMk cId="4069010350" sldId="356"/>
        </pc:sldMkLst>
      </pc:sldChg>
      <pc:sldChg chg="addSp delSp modSp mod modNotes">
        <pc:chgData name="Alex Jordan" userId="30755697-3be4-4efa-ad5c-ca2e4102b45a" providerId="ADAL" clId="{FC76EA98-9B1A-4F2F-9A6E-876FE3C87E8A}" dt="2025-06-27T11:05:37.631" v="104790" actId="1038"/>
        <pc:sldMkLst>
          <pc:docMk/>
          <pc:sldMk cId="1566265228" sldId="357"/>
        </pc:sldMkLst>
        <pc:spChg chg="mod">
          <ac:chgData name="Alex Jordan" userId="30755697-3be4-4efa-ad5c-ca2e4102b45a" providerId="ADAL" clId="{FC76EA98-9B1A-4F2F-9A6E-876FE3C87E8A}" dt="2025-06-25T08:46:33.154" v="102336" actId="948"/>
          <ac:spMkLst>
            <pc:docMk/>
            <pc:sldMk cId="1566265228" sldId="357"/>
            <ac:spMk id="2" creationId="{B7EA3725-42B5-23E1-017A-CBC3DBB305CA}"/>
          </ac:spMkLst>
        </pc:spChg>
        <pc:spChg chg="mod">
          <ac:chgData name="Alex Jordan" userId="30755697-3be4-4efa-ad5c-ca2e4102b45a" providerId="ADAL" clId="{FC76EA98-9B1A-4F2F-9A6E-876FE3C87E8A}" dt="2025-06-27T11:05:37.631" v="104790" actId="1038"/>
          <ac:spMkLst>
            <pc:docMk/>
            <pc:sldMk cId="1566265228" sldId="357"/>
            <ac:spMk id="4" creationId="{34F8AC0D-8F99-2EEF-874A-E77937BE58AE}"/>
          </ac:spMkLst>
        </pc:spChg>
        <pc:spChg chg="mod">
          <ac:chgData name="Alex Jordan" userId="30755697-3be4-4efa-ad5c-ca2e4102b45a" providerId="ADAL" clId="{FC76EA98-9B1A-4F2F-9A6E-876FE3C87E8A}" dt="2025-06-27T11:05:37.631" v="104790" actId="1038"/>
          <ac:spMkLst>
            <pc:docMk/>
            <pc:sldMk cId="1566265228" sldId="357"/>
            <ac:spMk id="5" creationId="{706FE572-6341-B0BE-7184-5DF4817718A7}"/>
          </ac:spMkLst>
        </pc:spChg>
        <pc:spChg chg="mod">
          <ac:chgData name="Alex Jordan" userId="30755697-3be4-4efa-ad5c-ca2e4102b45a" providerId="ADAL" clId="{FC76EA98-9B1A-4F2F-9A6E-876FE3C87E8A}" dt="2025-06-27T11:05:37.631" v="104790" actId="1038"/>
          <ac:spMkLst>
            <pc:docMk/>
            <pc:sldMk cId="1566265228" sldId="357"/>
            <ac:spMk id="6" creationId="{2C8620F3-F68F-2EDB-D4F7-48F1498648A7}"/>
          </ac:spMkLst>
        </pc:spChg>
        <pc:spChg chg="del mod">
          <ac:chgData name="Alex Jordan" userId="30755697-3be4-4efa-ad5c-ca2e4102b45a" providerId="ADAL" clId="{FC76EA98-9B1A-4F2F-9A6E-876FE3C87E8A}" dt="2025-06-27T11:05:31.709" v="104786" actId="478"/>
          <ac:spMkLst>
            <pc:docMk/>
            <pc:sldMk cId="1566265228" sldId="357"/>
            <ac:spMk id="8" creationId="{5E9F6DFC-FFD1-73F8-153F-5D74733095A7}"/>
          </ac:spMkLst>
        </pc:spChg>
        <pc:spChg chg="mod">
          <ac:chgData name="Alex Jordan" userId="30755697-3be4-4efa-ad5c-ca2e4102b45a" providerId="ADAL" clId="{FC76EA98-9B1A-4F2F-9A6E-876FE3C87E8A}" dt="2025-06-25T08:46:32.056" v="101958" actId="790"/>
          <ac:spMkLst>
            <pc:docMk/>
            <pc:sldMk cId="1566265228" sldId="357"/>
            <ac:spMk id="9" creationId="{A6A371D6-3763-4B9B-AAA0-404F6913343B}"/>
          </ac:spMkLst>
        </pc:spChg>
        <pc:spChg chg="mod">
          <ac:chgData name="Alex Jordan" userId="30755697-3be4-4efa-ad5c-ca2e4102b45a" providerId="ADAL" clId="{FC76EA98-9B1A-4F2F-9A6E-876FE3C87E8A}" dt="2025-06-25T08:46:30.863" v="100817" actId="947"/>
          <ac:spMkLst>
            <pc:docMk/>
            <pc:sldMk cId="1566265228" sldId="357"/>
            <ac:spMk id="25" creationId="{9F85E581-12A8-061D-7FF0-737CC3553F3B}"/>
          </ac:spMkLst>
        </pc:spChg>
        <pc:spChg chg="mod">
          <ac:chgData name="Alex Jordan" userId="30755697-3be4-4efa-ad5c-ca2e4102b45a" providerId="ADAL" clId="{FC76EA98-9B1A-4F2F-9A6E-876FE3C87E8A}" dt="2025-06-25T08:46:32.056" v="101958" actId="790"/>
          <ac:spMkLst>
            <pc:docMk/>
            <pc:sldMk cId="1566265228" sldId="357"/>
            <ac:spMk id="27" creationId="{52BC3484-8EFD-C041-63ED-83322FC492B4}"/>
          </ac:spMkLst>
        </pc:spChg>
        <pc:spChg chg="mod">
          <ac:chgData name="Alex Jordan" userId="30755697-3be4-4efa-ad5c-ca2e4102b45a" providerId="ADAL" clId="{FC76EA98-9B1A-4F2F-9A6E-876FE3C87E8A}" dt="2025-06-25T08:46:32.056" v="101958" actId="790"/>
          <ac:spMkLst>
            <pc:docMk/>
            <pc:sldMk cId="1566265228" sldId="357"/>
            <ac:spMk id="28" creationId="{154BACFF-B4ED-F2F1-88E2-FDA30842C442}"/>
          </ac:spMkLst>
        </pc:spChg>
        <pc:spChg chg="mod">
          <ac:chgData name="Alex Jordan" userId="30755697-3be4-4efa-ad5c-ca2e4102b45a" providerId="ADAL" clId="{FC76EA98-9B1A-4F2F-9A6E-876FE3C87E8A}" dt="2025-06-25T08:46:32.056" v="101958" actId="790"/>
          <ac:spMkLst>
            <pc:docMk/>
            <pc:sldMk cId="1566265228" sldId="357"/>
            <ac:spMk id="32" creationId="{6570E254-16D1-C481-BC6E-E87B7437075A}"/>
          </ac:spMkLst>
        </pc:spChg>
        <pc:spChg chg="mod">
          <ac:chgData name="Alex Jordan" userId="30755697-3be4-4efa-ad5c-ca2e4102b45a" providerId="ADAL" clId="{FC76EA98-9B1A-4F2F-9A6E-876FE3C87E8A}" dt="2025-06-25T08:46:32.056" v="101958" actId="790"/>
          <ac:spMkLst>
            <pc:docMk/>
            <pc:sldMk cId="1566265228" sldId="357"/>
            <ac:spMk id="33" creationId="{C68E0E36-5BC2-2BE1-C7A1-EF2D3A4EDA63}"/>
          </ac:spMkLst>
        </pc:spChg>
        <pc:spChg chg="mod">
          <ac:chgData name="Alex Jordan" userId="30755697-3be4-4efa-ad5c-ca2e4102b45a" providerId="ADAL" clId="{FC76EA98-9B1A-4F2F-9A6E-876FE3C87E8A}" dt="2025-06-25T08:46:30.874" v="100827" actId="947"/>
          <ac:spMkLst>
            <pc:docMk/>
            <pc:sldMk cId="1566265228" sldId="357"/>
            <ac:spMk id="36" creationId="{56062EC1-E1E8-F84A-40E4-AE1648928CEC}"/>
          </ac:spMkLst>
        </pc:spChg>
        <pc:spChg chg="mod">
          <ac:chgData name="Alex Jordan" userId="30755697-3be4-4efa-ad5c-ca2e4102b45a" providerId="ADAL" clId="{FC76EA98-9B1A-4F2F-9A6E-876FE3C87E8A}" dt="2025-06-25T08:46:32.056" v="101958" actId="790"/>
          <ac:spMkLst>
            <pc:docMk/>
            <pc:sldMk cId="1566265228" sldId="357"/>
            <ac:spMk id="50" creationId="{9FF409DC-7CA3-039C-B4AF-47FDE2E3ED60}"/>
          </ac:spMkLst>
        </pc:spChg>
        <pc:spChg chg="mod">
          <ac:chgData name="Alex Jordan" userId="30755697-3be4-4efa-ad5c-ca2e4102b45a" providerId="ADAL" clId="{FC76EA98-9B1A-4F2F-9A6E-876FE3C87E8A}" dt="2025-06-25T08:46:30.859" v="100813" actId="947"/>
          <ac:spMkLst>
            <pc:docMk/>
            <pc:sldMk cId="1566265228" sldId="357"/>
            <ac:spMk id="51" creationId="{1AF40834-FE5A-4E5A-4772-5A68097718ED}"/>
          </ac:spMkLst>
        </pc:spChg>
        <pc:spChg chg="mod">
          <ac:chgData name="Alex Jordan" userId="30755697-3be4-4efa-ad5c-ca2e4102b45a" providerId="ADAL" clId="{FC76EA98-9B1A-4F2F-9A6E-876FE3C87E8A}" dt="2025-06-25T08:46:30.857" v="100811" actId="947"/>
          <ac:spMkLst>
            <pc:docMk/>
            <pc:sldMk cId="1566265228" sldId="357"/>
            <ac:spMk id="56" creationId="{4D436EDE-367E-F80F-C38E-E577C54C497F}"/>
          </ac:spMkLst>
        </pc:spChg>
        <pc:spChg chg="mod">
          <ac:chgData name="Alex Jordan" userId="30755697-3be4-4efa-ad5c-ca2e4102b45a" providerId="ADAL" clId="{FC76EA98-9B1A-4F2F-9A6E-876FE3C87E8A}" dt="2025-06-25T08:46:30.857" v="100809" actId="947"/>
          <ac:spMkLst>
            <pc:docMk/>
            <pc:sldMk cId="1566265228" sldId="357"/>
            <ac:spMk id="57" creationId="{3A74946C-17DD-9A16-F39B-B48C37B8DDBD}"/>
          </ac:spMkLst>
        </pc:spChg>
        <pc:spChg chg="mod">
          <ac:chgData name="Alex Jordan" userId="30755697-3be4-4efa-ad5c-ca2e4102b45a" providerId="ADAL" clId="{FC76EA98-9B1A-4F2F-9A6E-876FE3C87E8A}" dt="2025-06-25T08:46:30.855" v="100807" actId="947"/>
          <ac:spMkLst>
            <pc:docMk/>
            <pc:sldMk cId="1566265228" sldId="357"/>
            <ac:spMk id="58" creationId="{AF19CD45-1804-F3B4-993B-4AA5CF319452}"/>
          </ac:spMkLst>
        </pc:spChg>
        <pc:spChg chg="mod">
          <ac:chgData name="Alex Jordan" userId="30755697-3be4-4efa-ad5c-ca2e4102b45a" providerId="ADAL" clId="{FC76EA98-9B1A-4F2F-9A6E-876FE3C87E8A}" dt="2025-06-25T08:46:32.056" v="101958" actId="790"/>
          <ac:spMkLst>
            <pc:docMk/>
            <pc:sldMk cId="1566265228" sldId="357"/>
            <ac:spMk id="59" creationId="{040B114C-8265-CD8D-D327-2B3517000ECB}"/>
          </ac:spMkLst>
        </pc:spChg>
        <pc:grpChg chg="mod">
          <ac:chgData name="Alex Jordan" userId="30755697-3be4-4efa-ad5c-ca2e4102b45a" providerId="ADAL" clId="{FC76EA98-9B1A-4F2F-9A6E-876FE3C87E8A}" dt="2025-06-24T22:40:40.529" v="95287" actId="1076"/>
          <ac:grpSpMkLst>
            <pc:docMk/>
            <pc:sldMk cId="1566265228" sldId="357"/>
            <ac:grpSpMk id="18" creationId="{D5A45C5A-F2D6-F3B3-1E6F-1E55520DFA42}"/>
          </ac:grpSpMkLst>
        </pc:grpChg>
        <pc:grpChg chg="mod">
          <ac:chgData name="Alex Jordan" userId="30755697-3be4-4efa-ad5c-ca2e4102b45a" providerId="ADAL" clId="{FC76EA98-9B1A-4F2F-9A6E-876FE3C87E8A}" dt="2025-06-24T22:40:35.285" v="95286" actId="1076"/>
          <ac:grpSpMkLst>
            <pc:docMk/>
            <pc:sldMk cId="1566265228" sldId="357"/>
            <ac:grpSpMk id="19" creationId="{9C0AB335-7269-FF87-6D42-3BFF66E139D2}"/>
          </ac:grpSpMkLst>
        </pc:grpChg>
        <pc:grpChg chg="mod">
          <ac:chgData name="Alex Jordan" userId="30755697-3be4-4efa-ad5c-ca2e4102b45a" providerId="ADAL" clId="{FC76EA98-9B1A-4F2F-9A6E-876FE3C87E8A}" dt="2025-06-24T22:40:35.285" v="95286" actId="1076"/>
          <ac:grpSpMkLst>
            <pc:docMk/>
            <pc:sldMk cId="1566265228" sldId="357"/>
            <ac:grpSpMk id="22" creationId="{4E7B4E6C-BFC7-E3A7-1E40-79E195BD2E34}"/>
          </ac:grpSpMkLst>
        </pc:grpChg>
        <pc:graphicFrameChg chg="mod">
          <ac:chgData name="Alex Jordan" userId="30755697-3be4-4efa-ad5c-ca2e4102b45a" providerId="ADAL" clId="{FC76EA98-9B1A-4F2F-9A6E-876FE3C87E8A}" dt="2025-06-25T08:46:34.906" v="103936"/>
          <ac:graphicFrameMkLst>
            <pc:docMk/>
            <pc:sldMk cId="1566265228" sldId="357"/>
            <ac:graphicFrameMk id="7" creationId="{BC8D42D4-AEDF-9F7C-71D6-70B256CB8DCE}"/>
          </ac:graphicFrameMkLst>
        </pc:graphicFrameChg>
        <pc:graphicFrameChg chg="mod modGraphic">
          <ac:chgData name="Alex Jordan" userId="30755697-3be4-4efa-ad5c-ca2e4102b45a" providerId="ADAL" clId="{FC76EA98-9B1A-4F2F-9A6E-876FE3C87E8A}" dt="2025-06-25T08:46:30.850" v="100803" actId="947"/>
          <ac:graphicFrameMkLst>
            <pc:docMk/>
            <pc:sldMk cId="1566265228" sldId="357"/>
            <ac:graphicFrameMk id="17" creationId="{5D412FA4-3890-A4B4-BC09-C8A3AB2CB1D8}"/>
          </ac:graphicFrameMkLst>
        </pc:graphicFrameChg>
        <pc:picChg chg="mod">
          <ac:chgData name="Alex Jordan" userId="30755697-3be4-4efa-ad5c-ca2e4102b45a" providerId="ADAL" clId="{FC76EA98-9B1A-4F2F-9A6E-876FE3C87E8A}" dt="2025-06-24T22:40:40.529" v="95287" actId="1076"/>
          <ac:picMkLst>
            <pc:docMk/>
            <pc:sldMk cId="1566265228" sldId="357"/>
            <ac:picMk id="80" creationId="{2321A569-3C58-A2F0-5FA5-86B4091C6E3F}"/>
          </ac:picMkLst>
        </pc:picChg>
        <pc:picChg chg="mod">
          <ac:chgData name="Alex Jordan" userId="30755697-3be4-4efa-ad5c-ca2e4102b45a" providerId="ADAL" clId="{FC76EA98-9B1A-4F2F-9A6E-876FE3C87E8A}" dt="2025-06-24T22:40:40.529" v="95287" actId="1076"/>
          <ac:picMkLst>
            <pc:docMk/>
            <pc:sldMk cId="1566265228" sldId="357"/>
            <ac:picMk id="82" creationId="{B795B603-2DBF-EC4B-9644-CE1D521D5B48}"/>
          </ac:picMkLst>
        </pc:picChg>
        <pc:picChg chg="mod">
          <ac:chgData name="Alex Jordan" userId="30755697-3be4-4efa-ad5c-ca2e4102b45a" providerId="ADAL" clId="{FC76EA98-9B1A-4F2F-9A6E-876FE3C87E8A}" dt="2025-06-24T22:40:40.529" v="95287" actId="1076"/>
          <ac:picMkLst>
            <pc:docMk/>
            <pc:sldMk cId="1566265228" sldId="357"/>
            <ac:picMk id="84" creationId="{E2C42629-F3D6-4E20-3C0D-085B103CC959}"/>
          </ac:picMkLst>
        </pc:picChg>
      </pc:sldChg>
      <pc:sldChg chg="del">
        <pc:chgData name="Alex Jordan" userId="30755697-3be4-4efa-ad5c-ca2e4102b45a" providerId="ADAL" clId="{FC76EA98-9B1A-4F2F-9A6E-876FE3C87E8A}" dt="2025-06-24T13:14:12.448" v="3332" actId="47"/>
        <pc:sldMkLst>
          <pc:docMk/>
          <pc:sldMk cId="3633271931" sldId="359"/>
        </pc:sldMkLst>
      </pc:sldChg>
      <pc:sldChg chg="addSp delSp modSp del mod modNotes">
        <pc:chgData name="Alex Jordan" userId="30755697-3be4-4efa-ad5c-ca2e4102b45a" providerId="ADAL" clId="{FC76EA98-9B1A-4F2F-9A6E-876FE3C87E8A}" dt="2025-06-25T07:15:04.867" v="96982" actId="47"/>
        <pc:sldMkLst>
          <pc:docMk/>
          <pc:sldMk cId="2186876379" sldId="360"/>
        </pc:sldMkLst>
      </pc:sldChg>
      <pc:sldChg chg="addSp delSp modSp mod modNotes">
        <pc:chgData name="Alex Jordan" userId="30755697-3be4-4efa-ad5c-ca2e4102b45a" providerId="ADAL" clId="{FC76EA98-9B1A-4F2F-9A6E-876FE3C87E8A}" dt="2025-06-27T11:06:36.747" v="104810"/>
        <pc:sldMkLst>
          <pc:docMk/>
          <pc:sldMk cId="1568432740" sldId="361"/>
        </pc:sldMkLst>
        <pc:spChg chg="mod">
          <ac:chgData name="Alex Jordan" userId="30755697-3be4-4efa-ad5c-ca2e4102b45a" providerId="ADAL" clId="{FC76EA98-9B1A-4F2F-9A6E-876FE3C87E8A}" dt="2025-06-25T08:46:32.790" v="102021" actId="948"/>
          <ac:spMkLst>
            <pc:docMk/>
            <pc:sldMk cId="1568432740" sldId="361"/>
            <ac:spMk id="2" creationId="{8022ADAD-0D05-5A23-6673-7E1343C3D8CE}"/>
          </ac:spMkLst>
        </pc:spChg>
        <pc:spChg chg="add mod">
          <ac:chgData name="Alex Jordan" userId="30755697-3be4-4efa-ad5c-ca2e4102b45a" providerId="ADAL" clId="{FC76EA98-9B1A-4F2F-9A6E-876FE3C87E8A}" dt="2025-06-27T11:06:36.747" v="104810"/>
          <ac:spMkLst>
            <pc:docMk/>
            <pc:sldMk cId="1568432740" sldId="361"/>
            <ac:spMk id="3" creationId="{3018E21F-F249-384C-BD3C-1444C8319741}"/>
          </ac:spMkLst>
        </pc:spChg>
        <pc:spChg chg="del mod">
          <ac:chgData name="Alex Jordan" userId="30755697-3be4-4efa-ad5c-ca2e4102b45a" providerId="ADAL" clId="{FC76EA98-9B1A-4F2F-9A6E-876FE3C87E8A}" dt="2025-06-27T11:06:18.652" v="104804" actId="478"/>
          <ac:spMkLst>
            <pc:docMk/>
            <pc:sldMk cId="1568432740" sldId="361"/>
            <ac:spMk id="4" creationId="{9FCF1FC0-D514-910E-5510-855BC79AB374}"/>
          </ac:spMkLst>
        </pc:spChg>
        <pc:spChg chg="del mod">
          <ac:chgData name="Alex Jordan" userId="30755697-3be4-4efa-ad5c-ca2e4102b45a" providerId="ADAL" clId="{FC76EA98-9B1A-4F2F-9A6E-876FE3C87E8A}" dt="2025-06-27T11:06:18.652" v="104804" actId="478"/>
          <ac:spMkLst>
            <pc:docMk/>
            <pc:sldMk cId="1568432740" sldId="361"/>
            <ac:spMk id="5" creationId="{35989A42-7158-1C8C-58E8-80B891E47368}"/>
          </ac:spMkLst>
        </pc:spChg>
        <pc:spChg chg="del mod">
          <ac:chgData name="Alex Jordan" userId="30755697-3be4-4efa-ad5c-ca2e4102b45a" providerId="ADAL" clId="{FC76EA98-9B1A-4F2F-9A6E-876FE3C87E8A}" dt="2025-06-27T11:06:18.652" v="104804" actId="478"/>
          <ac:spMkLst>
            <pc:docMk/>
            <pc:sldMk cId="1568432740" sldId="361"/>
            <ac:spMk id="6" creationId="{8ED29474-1122-EDE2-6E90-BD05056EC727}"/>
          </ac:spMkLst>
        </pc:spChg>
        <pc:spChg chg="del mod">
          <ac:chgData name="Alex Jordan" userId="30755697-3be4-4efa-ad5c-ca2e4102b45a" providerId="ADAL" clId="{FC76EA98-9B1A-4F2F-9A6E-876FE3C87E8A}" dt="2025-06-27T11:06:18.652" v="104804" actId="478"/>
          <ac:spMkLst>
            <pc:docMk/>
            <pc:sldMk cId="1568432740" sldId="361"/>
            <ac:spMk id="8" creationId="{A50552D6-5CF9-ABFB-193B-9004A2EA4840}"/>
          </ac:spMkLst>
        </pc:spChg>
        <pc:spChg chg="del mod">
          <ac:chgData name="Alex Jordan" userId="30755697-3be4-4efa-ad5c-ca2e4102b45a" providerId="ADAL" clId="{FC76EA98-9B1A-4F2F-9A6E-876FE3C87E8A}" dt="2025-06-27T11:06:18.652" v="104804" actId="478"/>
          <ac:spMkLst>
            <pc:docMk/>
            <pc:sldMk cId="1568432740" sldId="361"/>
            <ac:spMk id="9" creationId="{47DA24DA-9962-FBC1-2CB5-06535AD2731B}"/>
          </ac:spMkLst>
        </pc:spChg>
        <pc:spChg chg="mod">
          <ac:chgData name="Alex Jordan" userId="30755697-3be4-4efa-ad5c-ca2e4102b45a" providerId="ADAL" clId="{FC76EA98-9B1A-4F2F-9A6E-876FE3C87E8A}" dt="2025-06-27T11:06:16.530" v="104803" actId="1076"/>
          <ac:spMkLst>
            <pc:docMk/>
            <pc:sldMk cId="1568432740" sldId="361"/>
            <ac:spMk id="10" creationId="{1586592C-03E7-4E56-49F8-428A329213F5}"/>
          </ac:spMkLst>
        </pc:spChg>
        <pc:spChg chg="add mod">
          <ac:chgData name="Alex Jordan" userId="30755697-3be4-4efa-ad5c-ca2e4102b45a" providerId="ADAL" clId="{FC76EA98-9B1A-4F2F-9A6E-876FE3C87E8A}" dt="2025-06-27T11:06:36.747" v="104810"/>
          <ac:spMkLst>
            <pc:docMk/>
            <pc:sldMk cId="1568432740" sldId="361"/>
            <ac:spMk id="11" creationId="{A5500205-CA10-B597-2E92-44335C75FE8E}"/>
          </ac:spMkLst>
        </pc:spChg>
        <pc:spChg chg="add mod">
          <ac:chgData name="Alex Jordan" userId="30755697-3be4-4efa-ad5c-ca2e4102b45a" providerId="ADAL" clId="{FC76EA98-9B1A-4F2F-9A6E-876FE3C87E8A}" dt="2025-06-25T08:46:29.607" v="99293" actId="947"/>
          <ac:spMkLst>
            <pc:docMk/>
            <pc:sldMk cId="1568432740" sldId="361"/>
            <ac:spMk id="13" creationId="{1DA85051-DFD9-107A-9F89-04BB1AEFBF16}"/>
          </ac:spMkLst>
        </pc:spChg>
        <pc:spChg chg="add mod">
          <ac:chgData name="Alex Jordan" userId="30755697-3be4-4efa-ad5c-ca2e4102b45a" providerId="ADAL" clId="{FC76EA98-9B1A-4F2F-9A6E-876FE3C87E8A}" dt="2025-06-25T08:46:29.607" v="99295" actId="947"/>
          <ac:spMkLst>
            <pc:docMk/>
            <pc:sldMk cId="1568432740" sldId="361"/>
            <ac:spMk id="14" creationId="{18D816E4-E8D9-43D4-9570-D0F02B8D0557}"/>
          </ac:spMkLst>
        </pc:spChg>
        <pc:spChg chg="add mod">
          <ac:chgData name="Alex Jordan" userId="30755697-3be4-4efa-ad5c-ca2e4102b45a" providerId="ADAL" clId="{FC76EA98-9B1A-4F2F-9A6E-876FE3C87E8A}" dt="2025-06-25T08:46:29.614" v="99297" actId="947"/>
          <ac:spMkLst>
            <pc:docMk/>
            <pc:sldMk cId="1568432740" sldId="361"/>
            <ac:spMk id="15" creationId="{D0EF2258-5379-1655-1402-2C7FFAB251C4}"/>
          </ac:spMkLst>
        </pc:spChg>
        <pc:spChg chg="mod">
          <ac:chgData name="Alex Jordan" userId="30755697-3be4-4efa-ad5c-ca2e4102b45a" providerId="ADAL" clId="{FC76EA98-9B1A-4F2F-9A6E-876FE3C87E8A}" dt="2025-06-25T08:46:29.605" v="99291" actId="947"/>
          <ac:spMkLst>
            <pc:docMk/>
            <pc:sldMk cId="1568432740" sldId="361"/>
            <ac:spMk id="27" creationId="{2D8E23D2-692A-4EC2-CC97-9CF6B2897D18}"/>
          </ac:spMkLst>
        </pc:spChg>
        <pc:spChg chg="mod">
          <ac:chgData name="Alex Jordan" userId="30755697-3be4-4efa-ad5c-ca2e4102b45a" providerId="ADAL" clId="{FC76EA98-9B1A-4F2F-9A6E-876FE3C87E8A}" dt="2025-06-25T08:46:29.771" v="99495" actId="947"/>
          <ac:spMkLst>
            <pc:docMk/>
            <pc:sldMk cId="1568432740" sldId="361"/>
            <ac:spMk id="2051" creationId="{C3897C3F-C18F-1454-D02C-3ACD995223B7}"/>
          </ac:spMkLst>
        </pc:spChg>
        <pc:spChg chg="mod">
          <ac:chgData name="Alex Jordan" userId="30755697-3be4-4efa-ad5c-ca2e4102b45a" providerId="ADAL" clId="{FC76EA98-9B1A-4F2F-9A6E-876FE3C87E8A}" dt="2025-06-25T08:46:29.773" v="99497" actId="947"/>
          <ac:spMkLst>
            <pc:docMk/>
            <pc:sldMk cId="1568432740" sldId="361"/>
            <ac:spMk id="2052" creationId="{D706DFA5-E179-ED82-D193-1C440CBE7C0E}"/>
          </ac:spMkLst>
        </pc:spChg>
        <pc:spChg chg="mod">
          <ac:chgData name="Alex Jordan" userId="30755697-3be4-4efa-ad5c-ca2e4102b45a" providerId="ADAL" clId="{FC76EA98-9B1A-4F2F-9A6E-876FE3C87E8A}" dt="2025-06-25T08:46:29.775" v="99499" actId="947"/>
          <ac:spMkLst>
            <pc:docMk/>
            <pc:sldMk cId="1568432740" sldId="361"/>
            <ac:spMk id="2053" creationId="{9DE6A9E4-1F8D-6AA0-DCA3-A3F50A80035C}"/>
          </ac:spMkLst>
        </pc:spChg>
        <pc:spChg chg="add mod">
          <ac:chgData name="Alex Jordan" userId="30755697-3be4-4efa-ad5c-ca2e4102b45a" providerId="ADAL" clId="{FC76EA98-9B1A-4F2F-9A6E-876FE3C87E8A}" dt="2025-06-25T08:46:32.056" v="101958" actId="790"/>
          <ac:spMkLst>
            <pc:docMk/>
            <pc:sldMk cId="1568432740" sldId="361"/>
            <ac:spMk id="2054" creationId="{C52C514F-252F-05F9-8770-FC9531998101}"/>
          </ac:spMkLst>
        </pc:spChg>
        <pc:spChg chg="mod">
          <ac:chgData name="Alex Jordan" userId="30755697-3be4-4efa-ad5c-ca2e4102b45a" providerId="ADAL" clId="{FC76EA98-9B1A-4F2F-9A6E-876FE3C87E8A}" dt="2025-06-25T08:46:29.779" v="99503" actId="947"/>
          <ac:spMkLst>
            <pc:docMk/>
            <pc:sldMk cId="1568432740" sldId="361"/>
            <ac:spMk id="2055" creationId="{78C01349-28C6-47E2-28C8-606664722F02}"/>
          </ac:spMkLst>
        </pc:spChg>
        <pc:spChg chg="mod">
          <ac:chgData name="Alex Jordan" userId="30755697-3be4-4efa-ad5c-ca2e4102b45a" providerId="ADAL" clId="{FC76EA98-9B1A-4F2F-9A6E-876FE3C87E8A}" dt="2025-06-25T08:46:29.779" v="99505" actId="947"/>
          <ac:spMkLst>
            <pc:docMk/>
            <pc:sldMk cId="1568432740" sldId="361"/>
            <ac:spMk id="2056" creationId="{90AA6823-762F-6DF1-A30F-3BBD06177BF6}"/>
          </ac:spMkLst>
        </pc:spChg>
        <pc:spChg chg="mod">
          <ac:chgData name="Alex Jordan" userId="30755697-3be4-4efa-ad5c-ca2e4102b45a" providerId="ADAL" clId="{FC76EA98-9B1A-4F2F-9A6E-876FE3C87E8A}" dt="2025-06-25T08:46:29.616" v="99301" actId="947"/>
          <ac:spMkLst>
            <pc:docMk/>
            <pc:sldMk cId="1568432740" sldId="361"/>
            <ac:spMk id="2057" creationId="{43CF5D87-3B38-9194-FD21-08E50B14BC1A}"/>
          </ac:spMkLst>
        </pc:spChg>
        <pc:spChg chg="mod">
          <ac:chgData name="Alex Jordan" userId="30755697-3be4-4efa-ad5c-ca2e4102b45a" providerId="ADAL" clId="{FC76EA98-9B1A-4F2F-9A6E-876FE3C87E8A}" dt="2025-06-25T08:46:29.614" v="99299" actId="947"/>
          <ac:spMkLst>
            <pc:docMk/>
            <pc:sldMk cId="1568432740" sldId="361"/>
            <ac:spMk id="2058" creationId="{B7F5936E-57E4-7240-7913-D258F26C77FA}"/>
          </ac:spMkLst>
        </pc:spChg>
        <pc:spChg chg="mod">
          <ac:chgData name="Alex Jordan" userId="30755697-3be4-4efa-ad5c-ca2e4102b45a" providerId="ADAL" clId="{FC76EA98-9B1A-4F2F-9A6E-876FE3C87E8A}" dt="2025-06-25T08:46:29.618" v="99305" actId="947"/>
          <ac:spMkLst>
            <pc:docMk/>
            <pc:sldMk cId="1568432740" sldId="361"/>
            <ac:spMk id="2059" creationId="{5079E3F0-B518-A8EE-29C0-959425E89C67}"/>
          </ac:spMkLst>
        </pc:spChg>
        <pc:spChg chg="mod">
          <ac:chgData name="Alex Jordan" userId="30755697-3be4-4efa-ad5c-ca2e4102b45a" providerId="ADAL" clId="{FC76EA98-9B1A-4F2F-9A6E-876FE3C87E8A}" dt="2025-06-25T08:46:29.618" v="99303" actId="947"/>
          <ac:spMkLst>
            <pc:docMk/>
            <pc:sldMk cId="1568432740" sldId="361"/>
            <ac:spMk id="2060" creationId="{1660FBED-3B61-F927-8B8F-EA9344E47F23}"/>
          </ac:spMkLst>
        </pc:spChg>
        <pc:spChg chg="mod">
          <ac:chgData name="Alex Jordan" userId="30755697-3be4-4efa-ad5c-ca2e4102b45a" providerId="ADAL" clId="{FC76EA98-9B1A-4F2F-9A6E-876FE3C87E8A}" dt="2025-06-25T08:46:29.621" v="99309" actId="947"/>
          <ac:spMkLst>
            <pc:docMk/>
            <pc:sldMk cId="1568432740" sldId="361"/>
            <ac:spMk id="2061" creationId="{085B478D-3663-F453-BCAD-5C42D0527C3E}"/>
          </ac:spMkLst>
        </pc:spChg>
        <pc:spChg chg="mod">
          <ac:chgData name="Alex Jordan" userId="30755697-3be4-4efa-ad5c-ca2e4102b45a" providerId="ADAL" clId="{FC76EA98-9B1A-4F2F-9A6E-876FE3C87E8A}" dt="2025-06-25T08:46:29.621" v="99307" actId="947"/>
          <ac:spMkLst>
            <pc:docMk/>
            <pc:sldMk cId="1568432740" sldId="361"/>
            <ac:spMk id="2062" creationId="{6BBB1507-0B01-045D-CB14-DB0BACDBD0DF}"/>
          </ac:spMkLst>
        </pc:spChg>
        <pc:spChg chg="mod">
          <ac:chgData name="Alex Jordan" userId="30755697-3be4-4efa-ad5c-ca2e4102b45a" providerId="ADAL" clId="{FC76EA98-9B1A-4F2F-9A6E-876FE3C87E8A}" dt="2025-06-25T08:46:29.623" v="99313" actId="947"/>
          <ac:spMkLst>
            <pc:docMk/>
            <pc:sldMk cId="1568432740" sldId="361"/>
            <ac:spMk id="2063" creationId="{41B0BECD-9C5E-D8BD-A3AD-05AE99D46811}"/>
          </ac:spMkLst>
        </pc:spChg>
        <pc:spChg chg="mod">
          <ac:chgData name="Alex Jordan" userId="30755697-3be4-4efa-ad5c-ca2e4102b45a" providerId="ADAL" clId="{FC76EA98-9B1A-4F2F-9A6E-876FE3C87E8A}" dt="2025-06-25T08:46:29.623" v="99311" actId="947"/>
          <ac:spMkLst>
            <pc:docMk/>
            <pc:sldMk cId="1568432740" sldId="361"/>
            <ac:spMk id="2064" creationId="{678E705B-D59F-6483-29A7-B50E16F60934}"/>
          </ac:spMkLst>
        </pc:spChg>
        <pc:spChg chg="mod">
          <ac:chgData name="Alex Jordan" userId="30755697-3be4-4efa-ad5c-ca2e4102b45a" providerId="ADAL" clId="{FC76EA98-9B1A-4F2F-9A6E-876FE3C87E8A}" dt="2025-06-25T08:46:29.628" v="99317" actId="947"/>
          <ac:spMkLst>
            <pc:docMk/>
            <pc:sldMk cId="1568432740" sldId="361"/>
            <ac:spMk id="2065" creationId="{09BA1C45-3149-F350-649F-CBF7D3EFFA7F}"/>
          </ac:spMkLst>
        </pc:spChg>
        <pc:spChg chg="mod">
          <ac:chgData name="Alex Jordan" userId="30755697-3be4-4efa-ad5c-ca2e4102b45a" providerId="ADAL" clId="{FC76EA98-9B1A-4F2F-9A6E-876FE3C87E8A}" dt="2025-06-25T08:46:29.628" v="99315" actId="947"/>
          <ac:spMkLst>
            <pc:docMk/>
            <pc:sldMk cId="1568432740" sldId="361"/>
            <ac:spMk id="2066" creationId="{24B6FD47-039E-2A9A-6CCD-14027B065AFA}"/>
          </ac:spMkLst>
        </pc:spChg>
        <pc:spChg chg="mod">
          <ac:chgData name="Alex Jordan" userId="30755697-3be4-4efa-ad5c-ca2e4102b45a" providerId="ADAL" clId="{FC76EA98-9B1A-4F2F-9A6E-876FE3C87E8A}" dt="2025-06-25T08:46:29.631" v="99321" actId="947"/>
          <ac:spMkLst>
            <pc:docMk/>
            <pc:sldMk cId="1568432740" sldId="361"/>
            <ac:spMk id="2067" creationId="{38FDA52F-9167-AB42-0358-C2960B16D28C}"/>
          </ac:spMkLst>
        </pc:spChg>
        <pc:spChg chg="mod">
          <ac:chgData name="Alex Jordan" userId="30755697-3be4-4efa-ad5c-ca2e4102b45a" providerId="ADAL" clId="{FC76EA98-9B1A-4F2F-9A6E-876FE3C87E8A}" dt="2025-06-25T08:46:29.631" v="99319" actId="947"/>
          <ac:spMkLst>
            <pc:docMk/>
            <pc:sldMk cId="1568432740" sldId="361"/>
            <ac:spMk id="2068" creationId="{52B52ACD-0639-DE97-1D0C-697811118DC5}"/>
          </ac:spMkLst>
        </pc:spChg>
        <pc:spChg chg="mod">
          <ac:chgData name="Alex Jordan" userId="30755697-3be4-4efa-ad5c-ca2e4102b45a" providerId="ADAL" clId="{FC76EA98-9B1A-4F2F-9A6E-876FE3C87E8A}" dt="2025-06-25T08:46:29.633" v="99325" actId="947"/>
          <ac:spMkLst>
            <pc:docMk/>
            <pc:sldMk cId="1568432740" sldId="361"/>
            <ac:spMk id="2069" creationId="{E98D411C-43D1-E426-F420-6E8E0B1C7CD5}"/>
          </ac:spMkLst>
        </pc:spChg>
        <pc:spChg chg="mod">
          <ac:chgData name="Alex Jordan" userId="30755697-3be4-4efa-ad5c-ca2e4102b45a" providerId="ADAL" clId="{FC76EA98-9B1A-4F2F-9A6E-876FE3C87E8A}" dt="2025-06-25T08:46:29.633" v="99323" actId="947"/>
          <ac:spMkLst>
            <pc:docMk/>
            <pc:sldMk cId="1568432740" sldId="361"/>
            <ac:spMk id="2070" creationId="{48B0FDA0-6D81-1C96-94A9-9CA9AF9AE838}"/>
          </ac:spMkLst>
        </pc:spChg>
        <pc:spChg chg="mod">
          <ac:chgData name="Alex Jordan" userId="30755697-3be4-4efa-ad5c-ca2e4102b45a" providerId="ADAL" clId="{FC76EA98-9B1A-4F2F-9A6E-876FE3C87E8A}" dt="2025-06-25T08:46:29.640" v="99329" actId="947"/>
          <ac:spMkLst>
            <pc:docMk/>
            <pc:sldMk cId="1568432740" sldId="361"/>
            <ac:spMk id="2071" creationId="{5DE270DD-5FDA-EFFF-2E2F-2FF121058720}"/>
          </ac:spMkLst>
        </pc:spChg>
        <pc:spChg chg="mod">
          <ac:chgData name="Alex Jordan" userId="30755697-3be4-4efa-ad5c-ca2e4102b45a" providerId="ADAL" clId="{FC76EA98-9B1A-4F2F-9A6E-876FE3C87E8A}" dt="2025-06-25T08:46:29.637" v="99327" actId="947"/>
          <ac:spMkLst>
            <pc:docMk/>
            <pc:sldMk cId="1568432740" sldId="361"/>
            <ac:spMk id="2072" creationId="{82665698-EA93-99E0-0FA1-92A917AABAA7}"/>
          </ac:spMkLst>
        </pc:spChg>
        <pc:spChg chg="mod">
          <ac:chgData name="Alex Jordan" userId="30755697-3be4-4efa-ad5c-ca2e4102b45a" providerId="ADAL" clId="{FC76EA98-9B1A-4F2F-9A6E-876FE3C87E8A}" dt="2025-06-25T08:46:29.642" v="99333" actId="947"/>
          <ac:spMkLst>
            <pc:docMk/>
            <pc:sldMk cId="1568432740" sldId="361"/>
            <ac:spMk id="2073" creationId="{E726F728-D2CA-F356-3DA1-8A0C446B6B65}"/>
          </ac:spMkLst>
        </pc:spChg>
        <pc:spChg chg="mod">
          <ac:chgData name="Alex Jordan" userId="30755697-3be4-4efa-ad5c-ca2e4102b45a" providerId="ADAL" clId="{FC76EA98-9B1A-4F2F-9A6E-876FE3C87E8A}" dt="2025-06-25T08:46:29.640" v="99331" actId="947"/>
          <ac:spMkLst>
            <pc:docMk/>
            <pc:sldMk cId="1568432740" sldId="361"/>
            <ac:spMk id="2074" creationId="{E8603024-278E-7461-4A68-025B76286923}"/>
          </ac:spMkLst>
        </pc:spChg>
        <pc:spChg chg="mod">
          <ac:chgData name="Alex Jordan" userId="30755697-3be4-4efa-ad5c-ca2e4102b45a" providerId="ADAL" clId="{FC76EA98-9B1A-4F2F-9A6E-876FE3C87E8A}" dt="2025-06-25T08:46:29.646" v="99337" actId="947"/>
          <ac:spMkLst>
            <pc:docMk/>
            <pc:sldMk cId="1568432740" sldId="361"/>
            <ac:spMk id="2075" creationId="{EC81FEC2-BE6C-2F05-6DF4-F36DB24BCEB7}"/>
          </ac:spMkLst>
        </pc:spChg>
        <pc:spChg chg="mod">
          <ac:chgData name="Alex Jordan" userId="30755697-3be4-4efa-ad5c-ca2e4102b45a" providerId="ADAL" clId="{FC76EA98-9B1A-4F2F-9A6E-876FE3C87E8A}" dt="2025-06-25T08:46:29.644" v="99335" actId="947"/>
          <ac:spMkLst>
            <pc:docMk/>
            <pc:sldMk cId="1568432740" sldId="361"/>
            <ac:spMk id="2076" creationId="{764D9237-1014-B6D0-44A0-EDC4A98B591D}"/>
          </ac:spMkLst>
        </pc:spChg>
        <pc:spChg chg="mod">
          <ac:chgData name="Alex Jordan" userId="30755697-3be4-4efa-ad5c-ca2e4102b45a" providerId="ADAL" clId="{FC76EA98-9B1A-4F2F-9A6E-876FE3C87E8A}" dt="2025-06-25T08:46:29.649" v="99341" actId="947"/>
          <ac:spMkLst>
            <pc:docMk/>
            <pc:sldMk cId="1568432740" sldId="361"/>
            <ac:spMk id="2077" creationId="{C391247C-962E-7DEE-3CE5-DB220EDB4AC4}"/>
          </ac:spMkLst>
        </pc:spChg>
        <pc:spChg chg="mod">
          <ac:chgData name="Alex Jordan" userId="30755697-3be4-4efa-ad5c-ca2e4102b45a" providerId="ADAL" clId="{FC76EA98-9B1A-4F2F-9A6E-876FE3C87E8A}" dt="2025-06-25T08:46:29.646" v="99339" actId="947"/>
          <ac:spMkLst>
            <pc:docMk/>
            <pc:sldMk cId="1568432740" sldId="361"/>
            <ac:spMk id="2078" creationId="{821BE53D-3F08-8491-FB81-765CA3948610}"/>
          </ac:spMkLst>
        </pc:spChg>
        <pc:spChg chg="mod">
          <ac:chgData name="Alex Jordan" userId="30755697-3be4-4efa-ad5c-ca2e4102b45a" providerId="ADAL" clId="{FC76EA98-9B1A-4F2F-9A6E-876FE3C87E8A}" dt="2025-06-25T08:46:29.652" v="99345" actId="947"/>
          <ac:spMkLst>
            <pc:docMk/>
            <pc:sldMk cId="1568432740" sldId="361"/>
            <ac:spMk id="2079" creationId="{1BA05E1F-DB80-9CD0-9350-AB1F549A98F1}"/>
          </ac:spMkLst>
        </pc:spChg>
        <pc:spChg chg="mod">
          <ac:chgData name="Alex Jordan" userId="30755697-3be4-4efa-ad5c-ca2e4102b45a" providerId="ADAL" clId="{FC76EA98-9B1A-4F2F-9A6E-876FE3C87E8A}" dt="2025-06-25T08:46:29.652" v="99343" actId="947"/>
          <ac:spMkLst>
            <pc:docMk/>
            <pc:sldMk cId="1568432740" sldId="361"/>
            <ac:spMk id="2080" creationId="{63394313-FC8F-2408-72E9-DACEDA525A4E}"/>
          </ac:spMkLst>
        </pc:spChg>
        <pc:spChg chg="mod">
          <ac:chgData name="Alex Jordan" userId="30755697-3be4-4efa-ad5c-ca2e4102b45a" providerId="ADAL" clId="{FC76EA98-9B1A-4F2F-9A6E-876FE3C87E8A}" dt="2025-06-25T08:46:29.656" v="99349" actId="947"/>
          <ac:spMkLst>
            <pc:docMk/>
            <pc:sldMk cId="1568432740" sldId="361"/>
            <ac:spMk id="2081" creationId="{EF2E8B87-8725-311D-CE6D-10D05E90765E}"/>
          </ac:spMkLst>
        </pc:spChg>
        <pc:spChg chg="mod">
          <ac:chgData name="Alex Jordan" userId="30755697-3be4-4efa-ad5c-ca2e4102b45a" providerId="ADAL" clId="{FC76EA98-9B1A-4F2F-9A6E-876FE3C87E8A}" dt="2025-06-25T08:46:29.654" v="99347" actId="947"/>
          <ac:spMkLst>
            <pc:docMk/>
            <pc:sldMk cId="1568432740" sldId="361"/>
            <ac:spMk id="2082" creationId="{B295079A-EE37-1E35-7734-F0605323D9B2}"/>
          </ac:spMkLst>
        </pc:spChg>
        <pc:spChg chg="mod">
          <ac:chgData name="Alex Jordan" userId="30755697-3be4-4efa-ad5c-ca2e4102b45a" providerId="ADAL" clId="{FC76EA98-9B1A-4F2F-9A6E-876FE3C87E8A}" dt="2025-06-25T08:46:29.660" v="99353" actId="947"/>
          <ac:spMkLst>
            <pc:docMk/>
            <pc:sldMk cId="1568432740" sldId="361"/>
            <ac:spMk id="2083" creationId="{AD86CEC7-3547-2FD7-C8E8-720FCB08D4DA}"/>
          </ac:spMkLst>
        </pc:spChg>
        <pc:spChg chg="mod">
          <ac:chgData name="Alex Jordan" userId="30755697-3be4-4efa-ad5c-ca2e4102b45a" providerId="ADAL" clId="{FC76EA98-9B1A-4F2F-9A6E-876FE3C87E8A}" dt="2025-06-25T08:46:29.658" v="99351" actId="947"/>
          <ac:spMkLst>
            <pc:docMk/>
            <pc:sldMk cId="1568432740" sldId="361"/>
            <ac:spMk id="2084" creationId="{49376BDD-1A51-74ED-E8C9-B7215D9DDAB6}"/>
          </ac:spMkLst>
        </pc:spChg>
        <pc:spChg chg="mod">
          <ac:chgData name="Alex Jordan" userId="30755697-3be4-4efa-ad5c-ca2e4102b45a" providerId="ADAL" clId="{FC76EA98-9B1A-4F2F-9A6E-876FE3C87E8A}" dt="2025-06-25T08:46:29.662" v="99357" actId="947"/>
          <ac:spMkLst>
            <pc:docMk/>
            <pc:sldMk cId="1568432740" sldId="361"/>
            <ac:spMk id="2085" creationId="{A49E0B64-7F64-6008-2072-5AC3642D8324}"/>
          </ac:spMkLst>
        </pc:spChg>
        <pc:spChg chg="mod">
          <ac:chgData name="Alex Jordan" userId="30755697-3be4-4efa-ad5c-ca2e4102b45a" providerId="ADAL" clId="{FC76EA98-9B1A-4F2F-9A6E-876FE3C87E8A}" dt="2025-06-25T08:46:29.660" v="99355" actId="947"/>
          <ac:spMkLst>
            <pc:docMk/>
            <pc:sldMk cId="1568432740" sldId="361"/>
            <ac:spMk id="2086" creationId="{714DCBF7-D9EF-D5E5-B641-F3C86A178F83}"/>
          </ac:spMkLst>
        </pc:spChg>
        <pc:spChg chg="mod">
          <ac:chgData name="Alex Jordan" userId="30755697-3be4-4efa-ad5c-ca2e4102b45a" providerId="ADAL" clId="{FC76EA98-9B1A-4F2F-9A6E-876FE3C87E8A}" dt="2025-06-25T08:46:29.664" v="99361" actId="947"/>
          <ac:spMkLst>
            <pc:docMk/>
            <pc:sldMk cId="1568432740" sldId="361"/>
            <ac:spMk id="2087" creationId="{1A5F32FD-5A93-85CC-37BD-336C5D73E516}"/>
          </ac:spMkLst>
        </pc:spChg>
        <pc:spChg chg="mod">
          <ac:chgData name="Alex Jordan" userId="30755697-3be4-4efa-ad5c-ca2e4102b45a" providerId="ADAL" clId="{FC76EA98-9B1A-4F2F-9A6E-876FE3C87E8A}" dt="2025-06-25T08:46:29.664" v="99359" actId="947"/>
          <ac:spMkLst>
            <pc:docMk/>
            <pc:sldMk cId="1568432740" sldId="361"/>
            <ac:spMk id="2088" creationId="{29414BE5-8670-DE5B-223B-4D93E5C584E5}"/>
          </ac:spMkLst>
        </pc:spChg>
        <pc:spChg chg="mod">
          <ac:chgData name="Alex Jordan" userId="30755697-3be4-4efa-ad5c-ca2e4102b45a" providerId="ADAL" clId="{FC76EA98-9B1A-4F2F-9A6E-876FE3C87E8A}" dt="2025-06-25T08:46:29.664" v="99365" actId="947"/>
          <ac:spMkLst>
            <pc:docMk/>
            <pc:sldMk cId="1568432740" sldId="361"/>
            <ac:spMk id="2089" creationId="{65D323C4-327C-28B8-2881-D66164A490D3}"/>
          </ac:spMkLst>
        </pc:spChg>
        <pc:spChg chg="mod">
          <ac:chgData name="Alex Jordan" userId="30755697-3be4-4efa-ad5c-ca2e4102b45a" providerId="ADAL" clId="{FC76EA98-9B1A-4F2F-9A6E-876FE3C87E8A}" dt="2025-06-25T08:46:29.664" v="99363" actId="947"/>
          <ac:spMkLst>
            <pc:docMk/>
            <pc:sldMk cId="1568432740" sldId="361"/>
            <ac:spMk id="2090" creationId="{9B8A9876-B7C7-4956-DE1B-895AB4294761}"/>
          </ac:spMkLst>
        </pc:spChg>
        <pc:spChg chg="mod">
          <ac:chgData name="Alex Jordan" userId="30755697-3be4-4efa-ad5c-ca2e4102b45a" providerId="ADAL" clId="{FC76EA98-9B1A-4F2F-9A6E-876FE3C87E8A}" dt="2025-06-25T08:46:29.671" v="99369" actId="947"/>
          <ac:spMkLst>
            <pc:docMk/>
            <pc:sldMk cId="1568432740" sldId="361"/>
            <ac:spMk id="2091" creationId="{C9848EFC-8D54-4540-E148-21C35755E25E}"/>
          </ac:spMkLst>
        </pc:spChg>
        <pc:spChg chg="mod">
          <ac:chgData name="Alex Jordan" userId="30755697-3be4-4efa-ad5c-ca2e4102b45a" providerId="ADAL" clId="{FC76EA98-9B1A-4F2F-9A6E-876FE3C87E8A}" dt="2025-06-25T08:46:29.664" v="99367" actId="947"/>
          <ac:spMkLst>
            <pc:docMk/>
            <pc:sldMk cId="1568432740" sldId="361"/>
            <ac:spMk id="2092" creationId="{4FF1C3EA-6E77-75E2-C023-B00A574DC599}"/>
          </ac:spMkLst>
        </pc:spChg>
        <pc:spChg chg="mod">
          <ac:chgData name="Alex Jordan" userId="30755697-3be4-4efa-ad5c-ca2e4102b45a" providerId="ADAL" clId="{FC76EA98-9B1A-4F2F-9A6E-876FE3C87E8A}" dt="2025-06-25T08:46:29.674" v="99373" actId="947"/>
          <ac:spMkLst>
            <pc:docMk/>
            <pc:sldMk cId="1568432740" sldId="361"/>
            <ac:spMk id="2093" creationId="{CAD8D441-C809-6240-33B4-33C2CE5A7B54}"/>
          </ac:spMkLst>
        </pc:spChg>
        <pc:spChg chg="mod">
          <ac:chgData name="Alex Jordan" userId="30755697-3be4-4efa-ad5c-ca2e4102b45a" providerId="ADAL" clId="{FC76EA98-9B1A-4F2F-9A6E-876FE3C87E8A}" dt="2025-06-25T08:46:29.671" v="99371" actId="947"/>
          <ac:spMkLst>
            <pc:docMk/>
            <pc:sldMk cId="1568432740" sldId="361"/>
            <ac:spMk id="2094" creationId="{69DB7A2A-094F-0CBE-81F4-852A5221BC5C}"/>
          </ac:spMkLst>
        </pc:spChg>
        <pc:spChg chg="mod">
          <ac:chgData name="Alex Jordan" userId="30755697-3be4-4efa-ad5c-ca2e4102b45a" providerId="ADAL" clId="{FC76EA98-9B1A-4F2F-9A6E-876FE3C87E8A}" dt="2025-06-25T08:46:29.677" v="99377" actId="947"/>
          <ac:spMkLst>
            <pc:docMk/>
            <pc:sldMk cId="1568432740" sldId="361"/>
            <ac:spMk id="2095" creationId="{BA59DDAE-1CF2-5742-2B82-48E2823FB30A}"/>
          </ac:spMkLst>
        </pc:spChg>
        <pc:spChg chg="mod">
          <ac:chgData name="Alex Jordan" userId="30755697-3be4-4efa-ad5c-ca2e4102b45a" providerId="ADAL" clId="{FC76EA98-9B1A-4F2F-9A6E-876FE3C87E8A}" dt="2025-06-25T08:46:29.674" v="99375" actId="947"/>
          <ac:spMkLst>
            <pc:docMk/>
            <pc:sldMk cId="1568432740" sldId="361"/>
            <ac:spMk id="2096" creationId="{8342160C-3B96-88FC-4A08-102D1F71241A}"/>
          </ac:spMkLst>
        </pc:spChg>
        <pc:spChg chg="mod">
          <ac:chgData name="Alex Jordan" userId="30755697-3be4-4efa-ad5c-ca2e4102b45a" providerId="ADAL" clId="{FC76EA98-9B1A-4F2F-9A6E-876FE3C87E8A}" dt="2025-06-25T08:46:29.680" v="99381" actId="947"/>
          <ac:spMkLst>
            <pc:docMk/>
            <pc:sldMk cId="1568432740" sldId="361"/>
            <ac:spMk id="2097" creationId="{E513A7D9-782B-68C2-67B8-8B031F39C35E}"/>
          </ac:spMkLst>
        </pc:spChg>
        <pc:spChg chg="mod">
          <ac:chgData name="Alex Jordan" userId="30755697-3be4-4efa-ad5c-ca2e4102b45a" providerId="ADAL" clId="{FC76EA98-9B1A-4F2F-9A6E-876FE3C87E8A}" dt="2025-06-25T08:46:29.680" v="99379" actId="947"/>
          <ac:spMkLst>
            <pc:docMk/>
            <pc:sldMk cId="1568432740" sldId="361"/>
            <ac:spMk id="2098" creationId="{D531FBB8-7C9C-2BA2-3468-30D8EEA10DCC}"/>
          </ac:spMkLst>
        </pc:spChg>
        <pc:spChg chg="mod">
          <ac:chgData name="Alex Jordan" userId="30755697-3be4-4efa-ad5c-ca2e4102b45a" providerId="ADAL" clId="{FC76EA98-9B1A-4F2F-9A6E-876FE3C87E8A}" dt="2025-06-25T08:46:29.685" v="99385" actId="947"/>
          <ac:spMkLst>
            <pc:docMk/>
            <pc:sldMk cId="1568432740" sldId="361"/>
            <ac:spMk id="2099" creationId="{30240A2A-9A84-0673-B70D-BEA7870715CB}"/>
          </ac:spMkLst>
        </pc:spChg>
        <pc:spChg chg="mod">
          <ac:chgData name="Alex Jordan" userId="30755697-3be4-4efa-ad5c-ca2e4102b45a" providerId="ADAL" clId="{FC76EA98-9B1A-4F2F-9A6E-876FE3C87E8A}" dt="2025-06-25T08:46:29.682" v="99383" actId="947"/>
          <ac:spMkLst>
            <pc:docMk/>
            <pc:sldMk cId="1568432740" sldId="361"/>
            <ac:spMk id="2100" creationId="{0CBD1F02-F9D1-8E8E-C910-9021D024FC5C}"/>
          </ac:spMkLst>
        </pc:spChg>
        <pc:spChg chg="mod">
          <ac:chgData name="Alex Jordan" userId="30755697-3be4-4efa-ad5c-ca2e4102b45a" providerId="ADAL" clId="{FC76EA98-9B1A-4F2F-9A6E-876FE3C87E8A}" dt="2025-06-25T08:46:29.687" v="99389" actId="947"/>
          <ac:spMkLst>
            <pc:docMk/>
            <pc:sldMk cId="1568432740" sldId="361"/>
            <ac:spMk id="2101" creationId="{66365623-AD6A-E392-A838-3DC252253FBF}"/>
          </ac:spMkLst>
        </pc:spChg>
        <pc:spChg chg="mod">
          <ac:chgData name="Alex Jordan" userId="30755697-3be4-4efa-ad5c-ca2e4102b45a" providerId="ADAL" clId="{FC76EA98-9B1A-4F2F-9A6E-876FE3C87E8A}" dt="2025-06-25T08:46:29.685" v="99387" actId="947"/>
          <ac:spMkLst>
            <pc:docMk/>
            <pc:sldMk cId="1568432740" sldId="361"/>
            <ac:spMk id="2102" creationId="{BBD9ABC1-7DD6-F490-ADF3-478FA7085BB6}"/>
          </ac:spMkLst>
        </pc:spChg>
        <pc:spChg chg="add mod">
          <ac:chgData name="Alex Jordan" userId="30755697-3be4-4efa-ad5c-ca2e4102b45a" providerId="ADAL" clId="{FC76EA98-9B1A-4F2F-9A6E-876FE3C87E8A}" dt="2025-06-25T08:46:32.056" v="101958" actId="790"/>
          <ac:spMkLst>
            <pc:docMk/>
            <pc:sldMk cId="1568432740" sldId="361"/>
            <ac:spMk id="2103" creationId="{D122D714-2368-825C-E4E4-C32EA8157114}"/>
          </ac:spMkLst>
        </pc:spChg>
        <pc:spChg chg="mod">
          <ac:chgData name="Alex Jordan" userId="30755697-3be4-4efa-ad5c-ca2e4102b45a" providerId="ADAL" clId="{FC76EA98-9B1A-4F2F-9A6E-876FE3C87E8A}" dt="2025-06-25T08:46:29.689" v="99391" actId="947"/>
          <ac:spMkLst>
            <pc:docMk/>
            <pc:sldMk cId="1568432740" sldId="361"/>
            <ac:spMk id="2104" creationId="{B239F350-32F3-FCB7-4C13-84200279E511}"/>
          </ac:spMkLst>
        </pc:spChg>
        <pc:spChg chg="mod">
          <ac:chgData name="Alex Jordan" userId="30755697-3be4-4efa-ad5c-ca2e4102b45a" providerId="ADAL" clId="{FC76EA98-9B1A-4F2F-9A6E-876FE3C87E8A}" dt="2025-06-25T08:46:29.693" v="99397" actId="947"/>
          <ac:spMkLst>
            <pc:docMk/>
            <pc:sldMk cId="1568432740" sldId="361"/>
            <ac:spMk id="2105" creationId="{E338B7BF-0321-1A38-EF5A-047DE2943033}"/>
          </ac:spMkLst>
        </pc:spChg>
        <pc:spChg chg="mod">
          <ac:chgData name="Alex Jordan" userId="30755697-3be4-4efa-ad5c-ca2e4102b45a" providerId="ADAL" clId="{FC76EA98-9B1A-4F2F-9A6E-876FE3C87E8A}" dt="2025-06-25T08:46:29.691" v="99395" actId="947"/>
          <ac:spMkLst>
            <pc:docMk/>
            <pc:sldMk cId="1568432740" sldId="361"/>
            <ac:spMk id="2106" creationId="{1B54AE50-CC15-9749-83A3-ED86330CE913}"/>
          </ac:spMkLst>
        </pc:spChg>
        <pc:spChg chg="mod">
          <ac:chgData name="Alex Jordan" userId="30755697-3be4-4efa-ad5c-ca2e4102b45a" providerId="ADAL" clId="{FC76EA98-9B1A-4F2F-9A6E-876FE3C87E8A}" dt="2025-06-25T08:46:29.695" v="99401" actId="947"/>
          <ac:spMkLst>
            <pc:docMk/>
            <pc:sldMk cId="1568432740" sldId="361"/>
            <ac:spMk id="2107" creationId="{077CE5BA-ECFD-EDA7-18E3-DD74C8C52E98}"/>
          </ac:spMkLst>
        </pc:spChg>
        <pc:spChg chg="add mod">
          <ac:chgData name="Alex Jordan" userId="30755697-3be4-4efa-ad5c-ca2e4102b45a" providerId="ADAL" clId="{FC76EA98-9B1A-4F2F-9A6E-876FE3C87E8A}" dt="2025-06-25T08:46:32.056" v="101958" actId="790"/>
          <ac:spMkLst>
            <pc:docMk/>
            <pc:sldMk cId="1568432740" sldId="361"/>
            <ac:spMk id="2108" creationId="{918C953A-D939-9673-ADF0-F907E0DEEB6C}"/>
          </ac:spMkLst>
        </pc:spChg>
        <pc:spChg chg="add mod">
          <ac:chgData name="Alex Jordan" userId="30755697-3be4-4efa-ad5c-ca2e4102b45a" providerId="ADAL" clId="{FC76EA98-9B1A-4F2F-9A6E-876FE3C87E8A}" dt="2025-06-25T08:46:29.699" v="99405" actId="947"/>
          <ac:spMkLst>
            <pc:docMk/>
            <pc:sldMk cId="1568432740" sldId="361"/>
            <ac:spMk id="2109" creationId="{86F1EC71-9E97-66A0-5F46-5070C657659A}"/>
          </ac:spMkLst>
        </pc:spChg>
        <pc:spChg chg="add mod">
          <ac:chgData name="Alex Jordan" userId="30755697-3be4-4efa-ad5c-ca2e4102b45a" providerId="ADAL" clId="{FC76EA98-9B1A-4F2F-9A6E-876FE3C87E8A}" dt="2025-06-25T08:46:32.056" v="101958" actId="790"/>
          <ac:spMkLst>
            <pc:docMk/>
            <pc:sldMk cId="1568432740" sldId="361"/>
            <ac:spMk id="2110" creationId="{6EA0D071-6369-B30C-FC89-21D467A8151C}"/>
          </ac:spMkLst>
        </pc:spChg>
        <pc:spChg chg="mod">
          <ac:chgData name="Alex Jordan" userId="30755697-3be4-4efa-ad5c-ca2e4102b45a" providerId="ADAL" clId="{FC76EA98-9B1A-4F2F-9A6E-876FE3C87E8A}" dt="2025-06-25T08:46:29.703" v="99409" actId="947"/>
          <ac:spMkLst>
            <pc:docMk/>
            <pc:sldMk cId="1568432740" sldId="361"/>
            <ac:spMk id="2111" creationId="{319F2BEA-AEDF-A3B9-8DBA-74C8E787521C}"/>
          </ac:spMkLst>
        </pc:spChg>
        <pc:spChg chg="mod">
          <ac:chgData name="Alex Jordan" userId="30755697-3be4-4efa-ad5c-ca2e4102b45a" providerId="ADAL" clId="{FC76EA98-9B1A-4F2F-9A6E-876FE3C87E8A}" dt="2025-06-25T08:46:29.701" v="99407" actId="947"/>
          <ac:spMkLst>
            <pc:docMk/>
            <pc:sldMk cId="1568432740" sldId="361"/>
            <ac:spMk id="2112" creationId="{402E0B1F-DCBA-F169-C629-A263BB853728}"/>
          </ac:spMkLst>
        </pc:spChg>
        <pc:spChg chg="mod">
          <ac:chgData name="Alex Jordan" userId="30755697-3be4-4efa-ad5c-ca2e4102b45a" providerId="ADAL" clId="{FC76EA98-9B1A-4F2F-9A6E-876FE3C87E8A}" dt="2025-06-25T08:46:29.705" v="99413" actId="947"/>
          <ac:spMkLst>
            <pc:docMk/>
            <pc:sldMk cId="1568432740" sldId="361"/>
            <ac:spMk id="2113" creationId="{DE224464-73ED-4DB0-2D71-2843B7ED62FD}"/>
          </ac:spMkLst>
        </pc:spChg>
        <pc:spChg chg="mod">
          <ac:chgData name="Alex Jordan" userId="30755697-3be4-4efa-ad5c-ca2e4102b45a" providerId="ADAL" clId="{FC76EA98-9B1A-4F2F-9A6E-876FE3C87E8A}" dt="2025-06-25T08:46:29.703" v="99411" actId="947"/>
          <ac:spMkLst>
            <pc:docMk/>
            <pc:sldMk cId="1568432740" sldId="361"/>
            <ac:spMk id="2114" creationId="{30F5F0F1-C736-410D-A618-6B99F4AEBC6D}"/>
          </ac:spMkLst>
        </pc:spChg>
        <pc:spChg chg="mod">
          <ac:chgData name="Alex Jordan" userId="30755697-3be4-4efa-ad5c-ca2e4102b45a" providerId="ADAL" clId="{FC76EA98-9B1A-4F2F-9A6E-876FE3C87E8A}" dt="2025-06-25T08:46:29.709" v="99417" actId="947"/>
          <ac:spMkLst>
            <pc:docMk/>
            <pc:sldMk cId="1568432740" sldId="361"/>
            <ac:spMk id="2115" creationId="{09388119-388E-ABF0-2C7F-C05D6CAEAC30}"/>
          </ac:spMkLst>
        </pc:spChg>
        <pc:spChg chg="add mod">
          <ac:chgData name="Alex Jordan" userId="30755697-3be4-4efa-ad5c-ca2e4102b45a" providerId="ADAL" clId="{FC76EA98-9B1A-4F2F-9A6E-876FE3C87E8A}" dt="2025-06-25T08:46:32.056" v="101958" actId="790"/>
          <ac:spMkLst>
            <pc:docMk/>
            <pc:sldMk cId="1568432740" sldId="361"/>
            <ac:spMk id="2116" creationId="{89A6A61B-B458-B268-0A3E-18094C3A6C6F}"/>
          </ac:spMkLst>
        </pc:spChg>
        <pc:spChg chg="mod">
          <ac:chgData name="Alex Jordan" userId="30755697-3be4-4efa-ad5c-ca2e4102b45a" providerId="ADAL" clId="{FC76EA98-9B1A-4F2F-9A6E-876FE3C87E8A}" dt="2025-06-25T08:46:29.712" v="99421" actId="947"/>
          <ac:spMkLst>
            <pc:docMk/>
            <pc:sldMk cId="1568432740" sldId="361"/>
            <ac:spMk id="2117" creationId="{D701FCC6-B332-727E-D482-5FEFCEA9C61B}"/>
          </ac:spMkLst>
        </pc:spChg>
        <pc:spChg chg="mod">
          <ac:chgData name="Alex Jordan" userId="30755697-3be4-4efa-ad5c-ca2e4102b45a" providerId="ADAL" clId="{FC76EA98-9B1A-4F2F-9A6E-876FE3C87E8A}" dt="2025-06-25T08:46:29.711" v="99419" actId="947"/>
          <ac:spMkLst>
            <pc:docMk/>
            <pc:sldMk cId="1568432740" sldId="361"/>
            <ac:spMk id="2118" creationId="{D3AFB5DC-7EBF-6026-8C71-21F2E531E55E}"/>
          </ac:spMkLst>
        </pc:spChg>
        <pc:spChg chg="mod">
          <ac:chgData name="Alex Jordan" userId="30755697-3be4-4efa-ad5c-ca2e4102b45a" providerId="ADAL" clId="{FC76EA98-9B1A-4F2F-9A6E-876FE3C87E8A}" dt="2025-06-25T08:46:29.715" v="99425" actId="947"/>
          <ac:spMkLst>
            <pc:docMk/>
            <pc:sldMk cId="1568432740" sldId="361"/>
            <ac:spMk id="2119" creationId="{01ACB58F-92F9-0959-FC3D-4061D2286769}"/>
          </ac:spMkLst>
        </pc:spChg>
        <pc:spChg chg="mod">
          <ac:chgData name="Alex Jordan" userId="30755697-3be4-4efa-ad5c-ca2e4102b45a" providerId="ADAL" clId="{FC76EA98-9B1A-4F2F-9A6E-876FE3C87E8A}" dt="2025-06-25T08:46:29.715" v="99423" actId="947"/>
          <ac:spMkLst>
            <pc:docMk/>
            <pc:sldMk cId="1568432740" sldId="361"/>
            <ac:spMk id="2120" creationId="{FADDDFAC-1387-91E5-2EB1-8A3B94E5CAC8}"/>
          </ac:spMkLst>
        </pc:spChg>
        <pc:spChg chg="mod">
          <ac:chgData name="Alex Jordan" userId="30755697-3be4-4efa-ad5c-ca2e4102b45a" providerId="ADAL" clId="{FC76EA98-9B1A-4F2F-9A6E-876FE3C87E8A}" dt="2025-06-25T08:46:29.719" v="99429" actId="947"/>
          <ac:spMkLst>
            <pc:docMk/>
            <pc:sldMk cId="1568432740" sldId="361"/>
            <ac:spMk id="2121" creationId="{1A850FBF-5579-A3BE-DA18-BF6019D710AE}"/>
          </ac:spMkLst>
        </pc:spChg>
        <pc:spChg chg="mod">
          <ac:chgData name="Alex Jordan" userId="30755697-3be4-4efa-ad5c-ca2e4102b45a" providerId="ADAL" clId="{FC76EA98-9B1A-4F2F-9A6E-876FE3C87E8A}" dt="2025-06-25T08:46:29.717" v="99427" actId="947"/>
          <ac:spMkLst>
            <pc:docMk/>
            <pc:sldMk cId="1568432740" sldId="361"/>
            <ac:spMk id="2122" creationId="{0518E2C9-CF10-9652-C5A7-9C0BD30DC706}"/>
          </ac:spMkLst>
        </pc:spChg>
        <pc:spChg chg="mod">
          <ac:chgData name="Alex Jordan" userId="30755697-3be4-4efa-ad5c-ca2e4102b45a" providerId="ADAL" clId="{FC76EA98-9B1A-4F2F-9A6E-876FE3C87E8A}" dt="2025-06-25T08:46:29.721" v="99433" actId="947"/>
          <ac:spMkLst>
            <pc:docMk/>
            <pc:sldMk cId="1568432740" sldId="361"/>
            <ac:spMk id="2123" creationId="{E106DFB5-E030-AE61-9394-F4ECC6F9A232}"/>
          </ac:spMkLst>
        </pc:spChg>
        <pc:spChg chg="mod">
          <ac:chgData name="Alex Jordan" userId="30755697-3be4-4efa-ad5c-ca2e4102b45a" providerId="ADAL" clId="{FC76EA98-9B1A-4F2F-9A6E-876FE3C87E8A}" dt="2025-06-25T08:46:29.719" v="99431" actId="947"/>
          <ac:spMkLst>
            <pc:docMk/>
            <pc:sldMk cId="1568432740" sldId="361"/>
            <ac:spMk id="2124" creationId="{781DEB0D-DC9F-318B-4371-8ECE6DD22096}"/>
          </ac:spMkLst>
        </pc:spChg>
        <pc:spChg chg="mod">
          <ac:chgData name="Alex Jordan" userId="30755697-3be4-4efa-ad5c-ca2e4102b45a" providerId="ADAL" clId="{FC76EA98-9B1A-4F2F-9A6E-876FE3C87E8A}" dt="2025-06-25T08:46:29.725" v="99437" actId="947"/>
          <ac:spMkLst>
            <pc:docMk/>
            <pc:sldMk cId="1568432740" sldId="361"/>
            <ac:spMk id="2125" creationId="{6BEF5D50-8415-86EA-8B5B-818DE3D2FAA7}"/>
          </ac:spMkLst>
        </pc:spChg>
        <pc:spChg chg="mod">
          <ac:chgData name="Alex Jordan" userId="30755697-3be4-4efa-ad5c-ca2e4102b45a" providerId="ADAL" clId="{FC76EA98-9B1A-4F2F-9A6E-876FE3C87E8A}" dt="2025-06-25T08:46:29.723" v="99435" actId="947"/>
          <ac:spMkLst>
            <pc:docMk/>
            <pc:sldMk cId="1568432740" sldId="361"/>
            <ac:spMk id="2126" creationId="{AE6F6757-7AE8-FAC7-DDD6-80AEEFE8C20E}"/>
          </ac:spMkLst>
        </pc:spChg>
        <pc:spChg chg="mod">
          <ac:chgData name="Alex Jordan" userId="30755697-3be4-4efa-ad5c-ca2e4102b45a" providerId="ADAL" clId="{FC76EA98-9B1A-4F2F-9A6E-876FE3C87E8A}" dt="2025-06-25T08:46:29.729" v="99441" actId="947"/>
          <ac:spMkLst>
            <pc:docMk/>
            <pc:sldMk cId="1568432740" sldId="361"/>
            <ac:spMk id="2127" creationId="{8B3F2C16-0ED1-3325-DA68-907FE4BB05B4}"/>
          </ac:spMkLst>
        </pc:spChg>
        <pc:spChg chg="mod">
          <ac:chgData name="Alex Jordan" userId="30755697-3be4-4efa-ad5c-ca2e4102b45a" providerId="ADAL" clId="{FC76EA98-9B1A-4F2F-9A6E-876FE3C87E8A}" dt="2025-06-25T08:46:29.725" v="99439" actId="947"/>
          <ac:spMkLst>
            <pc:docMk/>
            <pc:sldMk cId="1568432740" sldId="361"/>
            <ac:spMk id="2128" creationId="{8C924772-80B0-0D95-B5A3-D928ACD3BE74}"/>
          </ac:spMkLst>
        </pc:spChg>
        <pc:spChg chg="mod">
          <ac:chgData name="Alex Jordan" userId="30755697-3be4-4efa-ad5c-ca2e4102b45a" providerId="ADAL" clId="{FC76EA98-9B1A-4F2F-9A6E-876FE3C87E8A}" dt="2025-06-25T08:46:29.731" v="99445" actId="947"/>
          <ac:spMkLst>
            <pc:docMk/>
            <pc:sldMk cId="1568432740" sldId="361"/>
            <ac:spMk id="2129" creationId="{C7D6C790-6A27-7EF7-6ECD-DD76E70AA1AD}"/>
          </ac:spMkLst>
        </pc:spChg>
        <pc:spChg chg="mod">
          <ac:chgData name="Alex Jordan" userId="30755697-3be4-4efa-ad5c-ca2e4102b45a" providerId="ADAL" clId="{FC76EA98-9B1A-4F2F-9A6E-876FE3C87E8A}" dt="2025-06-25T08:46:29.731" v="99443" actId="947"/>
          <ac:spMkLst>
            <pc:docMk/>
            <pc:sldMk cId="1568432740" sldId="361"/>
            <ac:spMk id="2130" creationId="{31951EAE-4954-5CC5-64DB-D659373B0FBA}"/>
          </ac:spMkLst>
        </pc:spChg>
        <pc:spChg chg="mod">
          <ac:chgData name="Alex Jordan" userId="30755697-3be4-4efa-ad5c-ca2e4102b45a" providerId="ADAL" clId="{FC76EA98-9B1A-4F2F-9A6E-876FE3C87E8A}" dt="2025-06-25T08:46:29.735" v="99449" actId="947"/>
          <ac:spMkLst>
            <pc:docMk/>
            <pc:sldMk cId="1568432740" sldId="361"/>
            <ac:spMk id="2131" creationId="{C0DF914F-FBD4-CEF9-3E26-57B3C1B82037}"/>
          </ac:spMkLst>
        </pc:spChg>
        <pc:spChg chg="mod">
          <ac:chgData name="Alex Jordan" userId="30755697-3be4-4efa-ad5c-ca2e4102b45a" providerId="ADAL" clId="{FC76EA98-9B1A-4F2F-9A6E-876FE3C87E8A}" dt="2025-06-25T08:46:29.733" v="99447" actId="947"/>
          <ac:spMkLst>
            <pc:docMk/>
            <pc:sldMk cId="1568432740" sldId="361"/>
            <ac:spMk id="2132" creationId="{C28FCFDF-39E0-0858-1B13-32549101E839}"/>
          </ac:spMkLst>
        </pc:spChg>
        <pc:spChg chg="mod">
          <ac:chgData name="Alex Jordan" userId="30755697-3be4-4efa-ad5c-ca2e4102b45a" providerId="ADAL" clId="{FC76EA98-9B1A-4F2F-9A6E-876FE3C87E8A}" dt="2025-06-25T08:46:29.738" v="99453" actId="947"/>
          <ac:spMkLst>
            <pc:docMk/>
            <pc:sldMk cId="1568432740" sldId="361"/>
            <ac:spMk id="2133" creationId="{BD3AEE92-F6A2-C083-6778-3441DD1BD7DD}"/>
          </ac:spMkLst>
        </pc:spChg>
        <pc:spChg chg="mod">
          <ac:chgData name="Alex Jordan" userId="30755697-3be4-4efa-ad5c-ca2e4102b45a" providerId="ADAL" clId="{FC76EA98-9B1A-4F2F-9A6E-876FE3C87E8A}" dt="2025-06-25T08:46:29.735" v="99451" actId="947"/>
          <ac:spMkLst>
            <pc:docMk/>
            <pc:sldMk cId="1568432740" sldId="361"/>
            <ac:spMk id="2134" creationId="{7A828C8A-A22C-1111-1C55-1F70ED6D5D9A}"/>
          </ac:spMkLst>
        </pc:spChg>
        <pc:spChg chg="mod">
          <ac:chgData name="Alex Jordan" userId="30755697-3be4-4efa-ad5c-ca2e4102b45a" providerId="ADAL" clId="{FC76EA98-9B1A-4F2F-9A6E-876FE3C87E8A}" dt="2025-06-25T08:46:29.740" v="99457" actId="947"/>
          <ac:spMkLst>
            <pc:docMk/>
            <pc:sldMk cId="1568432740" sldId="361"/>
            <ac:spMk id="2135" creationId="{D4336396-7ECD-0F27-D6FE-4404AECB04B9}"/>
          </ac:spMkLst>
        </pc:spChg>
        <pc:spChg chg="mod">
          <ac:chgData name="Alex Jordan" userId="30755697-3be4-4efa-ad5c-ca2e4102b45a" providerId="ADAL" clId="{FC76EA98-9B1A-4F2F-9A6E-876FE3C87E8A}" dt="2025-06-25T08:46:29.738" v="99455" actId="947"/>
          <ac:spMkLst>
            <pc:docMk/>
            <pc:sldMk cId="1568432740" sldId="361"/>
            <ac:spMk id="2136" creationId="{E45CD2B5-A452-0234-D31C-38D538D09380}"/>
          </ac:spMkLst>
        </pc:spChg>
        <pc:spChg chg="mod">
          <ac:chgData name="Alex Jordan" userId="30755697-3be4-4efa-ad5c-ca2e4102b45a" providerId="ADAL" clId="{FC76EA98-9B1A-4F2F-9A6E-876FE3C87E8A}" dt="2025-06-25T08:46:29.744" v="99461" actId="947"/>
          <ac:spMkLst>
            <pc:docMk/>
            <pc:sldMk cId="1568432740" sldId="361"/>
            <ac:spMk id="2137" creationId="{21C080AD-A24E-7530-519D-53356AE570AF}"/>
          </ac:spMkLst>
        </pc:spChg>
        <pc:spChg chg="add mod">
          <ac:chgData name="Alex Jordan" userId="30755697-3be4-4efa-ad5c-ca2e4102b45a" providerId="ADAL" clId="{FC76EA98-9B1A-4F2F-9A6E-876FE3C87E8A}" dt="2025-06-25T08:46:32.056" v="101958" actId="790"/>
          <ac:spMkLst>
            <pc:docMk/>
            <pc:sldMk cId="1568432740" sldId="361"/>
            <ac:spMk id="2138" creationId="{740C3974-7F9F-C0CB-73E4-263C6F8D16AD}"/>
          </ac:spMkLst>
        </pc:spChg>
        <pc:spChg chg="mod">
          <ac:chgData name="Alex Jordan" userId="30755697-3be4-4efa-ad5c-ca2e4102b45a" providerId="ADAL" clId="{FC76EA98-9B1A-4F2F-9A6E-876FE3C87E8A}" dt="2025-06-25T08:46:29.746" v="99465" actId="947"/>
          <ac:spMkLst>
            <pc:docMk/>
            <pc:sldMk cId="1568432740" sldId="361"/>
            <ac:spMk id="2139" creationId="{7A00E309-0AF2-C06E-340E-0CE5A1ADFA33}"/>
          </ac:spMkLst>
        </pc:spChg>
        <pc:spChg chg="mod">
          <ac:chgData name="Alex Jordan" userId="30755697-3be4-4efa-ad5c-ca2e4102b45a" providerId="ADAL" clId="{FC76EA98-9B1A-4F2F-9A6E-876FE3C87E8A}" dt="2025-06-25T08:46:29.744" v="99463" actId="947"/>
          <ac:spMkLst>
            <pc:docMk/>
            <pc:sldMk cId="1568432740" sldId="361"/>
            <ac:spMk id="2140" creationId="{825CFE68-8760-4C7B-832F-89DFEB30D47C}"/>
          </ac:spMkLst>
        </pc:spChg>
        <pc:spChg chg="mod">
          <ac:chgData name="Alex Jordan" userId="30755697-3be4-4efa-ad5c-ca2e4102b45a" providerId="ADAL" clId="{FC76EA98-9B1A-4F2F-9A6E-876FE3C87E8A}" dt="2025-06-25T08:46:29.749" v="99469" actId="947"/>
          <ac:spMkLst>
            <pc:docMk/>
            <pc:sldMk cId="1568432740" sldId="361"/>
            <ac:spMk id="2141" creationId="{0D1B3AF0-52C9-2A90-9599-0E231068C200}"/>
          </ac:spMkLst>
        </pc:spChg>
        <pc:spChg chg="mod">
          <ac:chgData name="Alex Jordan" userId="30755697-3be4-4efa-ad5c-ca2e4102b45a" providerId="ADAL" clId="{FC76EA98-9B1A-4F2F-9A6E-876FE3C87E8A}" dt="2025-06-25T08:46:29.748" v="99467" actId="947"/>
          <ac:spMkLst>
            <pc:docMk/>
            <pc:sldMk cId="1568432740" sldId="361"/>
            <ac:spMk id="2142" creationId="{735C5934-7ACB-664D-AD07-B1D798E97439}"/>
          </ac:spMkLst>
        </pc:spChg>
        <pc:spChg chg="mod">
          <ac:chgData name="Alex Jordan" userId="30755697-3be4-4efa-ad5c-ca2e4102b45a" providerId="ADAL" clId="{FC76EA98-9B1A-4F2F-9A6E-876FE3C87E8A}" dt="2025-06-25T08:46:29.752" v="99473" actId="947"/>
          <ac:spMkLst>
            <pc:docMk/>
            <pc:sldMk cId="1568432740" sldId="361"/>
            <ac:spMk id="2143" creationId="{7D05F370-DB3A-1702-0255-7BAFE725CEAB}"/>
          </ac:spMkLst>
        </pc:spChg>
        <pc:spChg chg="mod">
          <ac:chgData name="Alex Jordan" userId="30755697-3be4-4efa-ad5c-ca2e4102b45a" providerId="ADAL" clId="{FC76EA98-9B1A-4F2F-9A6E-876FE3C87E8A}" dt="2025-06-25T08:46:29.751" v="99471" actId="947"/>
          <ac:spMkLst>
            <pc:docMk/>
            <pc:sldMk cId="1568432740" sldId="361"/>
            <ac:spMk id="2144" creationId="{D3E82240-621D-98BB-3584-423CE7989193}"/>
          </ac:spMkLst>
        </pc:spChg>
        <pc:spChg chg="mod">
          <ac:chgData name="Alex Jordan" userId="30755697-3be4-4efa-ad5c-ca2e4102b45a" providerId="ADAL" clId="{FC76EA98-9B1A-4F2F-9A6E-876FE3C87E8A}" dt="2025-06-25T08:46:29.756" v="99477" actId="947"/>
          <ac:spMkLst>
            <pc:docMk/>
            <pc:sldMk cId="1568432740" sldId="361"/>
            <ac:spMk id="2145" creationId="{7BEA90DD-0551-19DB-ECFF-CC924E0880CB}"/>
          </ac:spMkLst>
        </pc:spChg>
        <pc:spChg chg="mod">
          <ac:chgData name="Alex Jordan" userId="30755697-3be4-4efa-ad5c-ca2e4102b45a" providerId="ADAL" clId="{FC76EA98-9B1A-4F2F-9A6E-876FE3C87E8A}" dt="2025-06-25T08:46:29.754" v="99475" actId="947"/>
          <ac:spMkLst>
            <pc:docMk/>
            <pc:sldMk cId="1568432740" sldId="361"/>
            <ac:spMk id="2146" creationId="{76B8106F-79E0-D566-3C59-A6E0585C402D}"/>
          </ac:spMkLst>
        </pc:spChg>
        <pc:spChg chg="mod">
          <ac:chgData name="Alex Jordan" userId="30755697-3be4-4efa-ad5c-ca2e4102b45a" providerId="ADAL" clId="{FC76EA98-9B1A-4F2F-9A6E-876FE3C87E8A}" dt="2025-06-25T08:46:29.760" v="99481" actId="947"/>
          <ac:spMkLst>
            <pc:docMk/>
            <pc:sldMk cId="1568432740" sldId="361"/>
            <ac:spMk id="2147" creationId="{5B138884-4EF0-1821-0BF3-F8E0AD9571F6}"/>
          </ac:spMkLst>
        </pc:spChg>
        <pc:spChg chg="add mod">
          <ac:chgData name="Alex Jordan" userId="30755697-3be4-4efa-ad5c-ca2e4102b45a" providerId="ADAL" clId="{FC76EA98-9B1A-4F2F-9A6E-876FE3C87E8A}" dt="2025-06-25T08:46:32.056" v="101958" actId="790"/>
          <ac:spMkLst>
            <pc:docMk/>
            <pc:sldMk cId="1568432740" sldId="361"/>
            <ac:spMk id="2148" creationId="{91341590-951A-5A3B-CBA7-0F960F5C5E16}"/>
          </ac:spMkLst>
        </pc:spChg>
        <pc:spChg chg="add mod">
          <ac:chgData name="Alex Jordan" userId="30755697-3be4-4efa-ad5c-ca2e4102b45a" providerId="ADAL" clId="{FC76EA98-9B1A-4F2F-9A6E-876FE3C87E8A}" dt="2025-06-25T08:46:32.056" v="101958" actId="790"/>
          <ac:spMkLst>
            <pc:docMk/>
            <pc:sldMk cId="1568432740" sldId="361"/>
            <ac:spMk id="2149" creationId="{3AB02D7A-1994-3D7A-B86D-65A90C6E0DA8}"/>
          </ac:spMkLst>
        </pc:spChg>
        <pc:spChg chg="add mod">
          <ac:chgData name="Alex Jordan" userId="30755697-3be4-4efa-ad5c-ca2e4102b45a" providerId="ADAL" clId="{FC76EA98-9B1A-4F2F-9A6E-876FE3C87E8A}" dt="2025-06-25T08:46:32.056" v="101958" actId="790"/>
          <ac:spMkLst>
            <pc:docMk/>
            <pc:sldMk cId="1568432740" sldId="361"/>
            <ac:spMk id="2150" creationId="{C94C2AA8-DED9-0601-19F6-C8DE88F5B236}"/>
          </ac:spMkLst>
        </pc:spChg>
        <pc:spChg chg="mod">
          <ac:chgData name="Alex Jordan" userId="30755697-3be4-4efa-ad5c-ca2e4102b45a" providerId="ADAL" clId="{FC76EA98-9B1A-4F2F-9A6E-876FE3C87E8A}" dt="2025-06-25T08:46:29.766" v="99489" actId="947"/>
          <ac:spMkLst>
            <pc:docMk/>
            <pc:sldMk cId="1568432740" sldId="361"/>
            <ac:spMk id="2151" creationId="{71212561-F72E-88B3-575B-96E49C1BEF74}"/>
          </ac:spMkLst>
        </pc:spChg>
        <pc:spChg chg="mod">
          <ac:chgData name="Alex Jordan" userId="30755697-3be4-4efa-ad5c-ca2e4102b45a" providerId="ADAL" clId="{FC76EA98-9B1A-4F2F-9A6E-876FE3C87E8A}" dt="2025-06-25T08:46:29.764" v="99487" actId="947"/>
          <ac:spMkLst>
            <pc:docMk/>
            <pc:sldMk cId="1568432740" sldId="361"/>
            <ac:spMk id="2152" creationId="{14A12483-3A32-E442-D213-238DA293332E}"/>
          </ac:spMkLst>
        </pc:spChg>
        <pc:spChg chg="mod">
          <ac:chgData name="Alex Jordan" userId="30755697-3be4-4efa-ad5c-ca2e4102b45a" providerId="ADAL" clId="{FC76EA98-9B1A-4F2F-9A6E-876FE3C87E8A}" dt="2025-06-25T08:46:29.769" v="99493" actId="947"/>
          <ac:spMkLst>
            <pc:docMk/>
            <pc:sldMk cId="1568432740" sldId="361"/>
            <ac:spMk id="2153" creationId="{075AE45B-EC5E-BCD4-DAB6-34102FB2EC36}"/>
          </ac:spMkLst>
        </pc:spChg>
        <pc:spChg chg="mod">
          <ac:chgData name="Alex Jordan" userId="30755697-3be4-4efa-ad5c-ca2e4102b45a" providerId="ADAL" clId="{FC76EA98-9B1A-4F2F-9A6E-876FE3C87E8A}" dt="2025-06-25T08:46:29.768" v="99491" actId="947"/>
          <ac:spMkLst>
            <pc:docMk/>
            <pc:sldMk cId="1568432740" sldId="361"/>
            <ac:spMk id="2154" creationId="{DD013E35-F76B-6226-F01F-F91E76262455}"/>
          </ac:spMkLst>
        </pc:spChg>
        <pc:spChg chg="add mod">
          <ac:chgData name="Alex Jordan" userId="30755697-3be4-4efa-ad5c-ca2e4102b45a" providerId="ADAL" clId="{FC76EA98-9B1A-4F2F-9A6E-876FE3C87E8A}" dt="2025-06-27T11:06:36.747" v="104810"/>
          <ac:spMkLst>
            <pc:docMk/>
            <pc:sldMk cId="1568432740" sldId="361"/>
            <ac:spMk id="2155" creationId="{4A55D855-12F6-F511-5296-110E83E89C7A}"/>
          </ac:spMkLst>
        </pc:spChg>
        <pc:spChg chg="add mod">
          <ac:chgData name="Alex Jordan" userId="30755697-3be4-4efa-ad5c-ca2e4102b45a" providerId="ADAL" clId="{FC76EA98-9B1A-4F2F-9A6E-876FE3C87E8A}" dt="2025-06-27T11:06:36.747" v="104810"/>
          <ac:spMkLst>
            <pc:docMk/>
            <pc:sldMk cId="1568432740" sldId="361"/>
            <ac:spMk id="2157" creationId="{1D9049C0-127D-34F0-7BD9-C2B8176183B3}"/>
          </ac:spMkLst>
        </pc:spChg>
        <pc:grpChg chg="mod">
          <ac:chgData name="Alex Jordan" userId="30755697-3be4-4efa-ad5c-ca2e4102b45a" providerId="ADAL" clId="{FC76EA98-9B1A-4F2F-9A6E-876FE3C87E8A}" dt="2025-06-25T07:10:18.441" v="96753" actId="164"/>
          <ac:grpSpMkLst>
            <pc:docMk/>
            <pc:sldMk cId="1568432740" sldId="361"/>
            <ac:grpSpMk id="21" creationId="{9C9594A2-C7D6-9171-3C13-5DAD193E350D}"/>
          </ac:grpSpMkLst>
        </pc:grpChg>
        <pc:grpChg chg="mod">
          <ac:chgData name="Alex Jordan" userId="30755697-3be4-4efa-ad5c-ca2e4102b45a" providerId="ADAL" clId="{FC76EA98-9B1A-4F2F-9A6E-876FE3C87E8A}" dt="2025-06-25T07:10:18.441" v="96753" actId="164"/>
          <ac:grpSpMkLst>
            <pc:docMk/>
            <pc:sldMk cId="1568432740" sldId="361"/>
            <ac:grpSpMk id="29" creationId="{80377775-849A-B69B-6C95-C5D39F2BF56C}"/>
          </ac:grpSpMkLst>
        </pc:grpChg>
        <pc:grpChg chg="mod">
          <ac:chgData name="Alex Jordan" userId="30755697-3be4-4efa-ad5c-ca2e4102b45a" providerId="ADAL" clId="{FC76EA98-9B1A-4F2F-9A6E-876FE3C87E8A}" dt="2025-06-25T07:10:06.640" v="96751" actId="164"/>
          <ac:grpSpMkLst>
            <pc:docMk/>
            <pc:sldMk cId="1568432740" sldId="361"/>
            <ac:grpSpMk id="30" creationId="{3B7B5475-8718-3E02-4DFA-8860F7AB7BCC}"/>
          </ac:grpSpMkLst>
        </pc:grpChg>
        <pc:grpChg chg="mod">
          <ac:chgData name="Alex Jordan" userId="30755697-3be4-4efa-ad5c-ca2e4102b45a" providerId="ADAL" clId="{FC76EA98-9B1A-4F2F-9A6E-876FE3C87E8A}" dt="2025-06-25T07:10:18.441" v="96753" actId="164"/>
          <ac:grpSpMkLst>
            <pc:docMk/>
            <pc:sldMk cId="1568432740" sldId="361"/>
            <ac:grpSpMk id="32" creationId="{1549E0D7-41EF-1FE7-7FE5-BC1C29A2BB73}"/>
          </ac:grpSpMkLst>
        </pc:grpChg>
        <pc:grpChg chg="mod">
          <ac:chgData name="Alex Jordan" userId="30755697-3be4-4efa-ad5c-ca2e4102b45a" providerId="ADAL" clId="{FC76EA98-9B1A-4F2F-9A6E-876FE3C87E8A}" dt="2025-06-25T07:10:18.441" v="96753" actId="164"/>
          <ac:grpSpMkLst>
            <pc:docMk/>
            <pc:sldMk cId="1568432740" sldId="361"/>
            <ac:grpSpMk id="34" creationId="{00DD6C84-4FD8-0DA3-CD4F-B35276EE6E6A}"/>
          </ac:grpSpMkLst>
        </pc:grpChg>
        <pc:grpChg chg="mod">
          <ac:chgData name="Alex Jordan" userId="30755697-3be4-4efa-ad5c-ca2e4102b45a" providerId="ADAL" clId="{FC76EA98-9B1A-4F2F-9A6E-876FE3C87E8A}" dt="2025-06-25T07:10:18.441" v="96753" actId="164"/>
          <ac:grpSpMkLst>
            <pc:docMk/>
            <pc:sldMk cId="1568432740" sldId="361"/>
            <ac:grpSpMk id="36" creationId="{4AF7340C-A2B6-96D0-22F5-FF4A6C52C067}"/>
          </ac:grpSpMkLst>
        </pc:grpChg>
        <pc:grpChg chg="mod">
          <ac:chgData name="Alex Jordan" userId="30755697-3be4-4efa-ad5c-ca2e4102b45a" providerId="ADAL" clId="{FC76EA98-9B1A-4F2F-9A6E-876FE3C87E8A}" dt="2025-06-25T07:10:06.640" v="96751" actId="164"/>
          <ac:grpSpMkLst>
            <pc:docMk/>
            <pc:sldMk cId="1568432740" sldId="361"/>
            <ac:grpSpMk id="40" creationId="{4ADF3C7C-4F74-B700-C33D-F5D4B8DD8D02}"/>
          </ac:grpSpMkLst>
        </pc:grpChg>
        <pc:grpChg chg="mod">
          <ac:chgData name="Alex Jordan" userId="30755697-3be4-4efa-ad5c-ca2e4102b45a" providerId="ADAL" clId="{FC76EA98-9B1A-4F2F-9A6E-876FE3C87E8A}" dt="2025-06-25T07:10:18.441" v="96753" actId="164"/>
          <ac:grpSpMkLst>
            <pc:docMk/>
            <pc:sldMk cId="1568432740" sldId="361"/>
            <ac:grpSpMk id="42" creationId="{2D5C4EA0-2D7A-0F4F-0287-606EB446B577}"/>
          </ac:grpSpMkLst>
        </pc:grpChg>
        <pc:grpChg chg="mod">
          <ac:chgData name="Alex Jordan" userId="30755697-3be4-4efa-ad5c-ca2e4102b45a" providerId="ADAL" clId="{FC76EA98-9B1A-4F2F-9A6E-876FE3C87E8A}" dt="2025-06-25T07:10:18.441" v="96753" actId="164"/>
          <ac:grpSpMkLst>
            <pc:docMk/>
            <pc:sldMk cId="1568432740" sldId="361"/>
            <ac:grpSpMk id="49" creationId="{AD24CF39-E574-1D97-B356-506F16841AE4}"/>
          </ac:grpSpMkLst>
        </pc:grpChg>
        <pc:grpChg chg="mod">
          <ac:chgData name="Alex Jordan" userId="30755697-3be4-4efa-ad5c-ca2e4102b45a" providerId="ADAL" clId="{FC76EA98-9B1A-4F2F-9A6E-876FE3C87E8A}" dt="2025-06-25T07:10:18.441" v="96753" actId="164"/>
          <ac:grpSpMkLst>
            <pc:docMk/>
            <pc:sldMk cId="1568432740" sldId="361"/>
            <ac:grpSpMk id="51" creationId="{F5DE20D9-1041-D19B-D9AF-15802BE71D81}"/>
          </ac:grpSpMkLst>
        </pc:grpChg>
        <pc:grpChg chg="mod">
          <ac:chgData name="Alex Jordan" userId="30755697-3be4-4efa-ad5c-ca2e4102b45a" providerId="ADAL" clId="{FC76EA98-9B1A-4F2F-9A6E-876FE3C87E8A}" dt="2025-06-25T07:10:18.441" v="96753" actId="164"/>
          <ac:grpSpMkLst>
            <pc:docMk/>
            <pc:sldMk cId="1568432740" sldId="361"/>
            <ac:grpSpMk id="54" creationId="{A03EB56C-2A26-7C3C-C48B-E33D2BA6E7D8}"/>
          </ac:grpSpMkLst>
        </pc:grpChg>
        <pc:grpChg chg="mod">
          <ac:chgData name="Alex Jordan" userId="30755697-3be4-4efa-ad5c-ca2e4102b45a" providerId="ADAL" clId="{FC76EA98-9B1A-4F2F-9A6E-876FE3C87E8A}" dt="2025-06-25T07:10:06.640" v="96751" actId="164"/>
          <ac:grpSpMkLst>
            <pc:docMk/>
            <pc:sldMk cId="1568432740" sldId="361"/>
            <ac:grpSpMk id="55" creationId="{0759A31A-1EDE-BDD6-271C-6C7C7E82B645}"/>
          </ac:grpSpMkLst>
        </pc:grpChg>
        <pc:grpChg chg="add mod">
          <ac:chgData name="Alex Jordan" userId="30755697-3be4-4efa-ad5c-ca2e4102b45a" providerId="ADAL" clId="{FC76EA98-9B1A-4F2F-9A6E-876FE3C87E8A}" dt="2025-06-25T07:13:58.962" v="96946" actId="1035"/>
          <ac:grpSpMkLst>
            <pc:docMk/>
            <pc:sldMk cId="1568432740" sldId="361"/>
            <ac:grpSpMk id="2156" creationId="{66C96640-D0B0-F968-FCE0-600EB7D2A79C}"/>
          </ac:grpSpMkLst>
        </pc:grpChg>
        <pc:graphicFrameChg chg="mod">
          <ac:chgData name="Alex Jordan" userId="30755697-3be4-4efa-ad5c-ca2e4102b45a" providerId="ADAL" clId="{FC76EA98-9B1A-4F2F-9A6E-876FE3C87E8A}" dt="2025-06-25T08:46:34.811" v="103876"/>
          <ac:graphicFrameMkLst>
            <pc:docMk/>
            <pc:sldMk cId="1568432740" sldId="361"/>
            <ac:graphicFrameMk id="7" creationId="{8CB0C394-68F7-5FF9-1386-FD62E5B4B84F}"/>
          </ac:graphicFrameMkLst>
        </pc:graphicFrameChg>
        <pc:picChg chg="add mod modCrop">
          <ac:chgData name="Alex Jordan" userId="30755697-3be4-4efa-ad5c-ca2e4102b45a" providerId="ADAL" clId="{FC76EA98-9B1A-4F2F-9A6E-876FE3C87E8A}" dt="2025-06-25T07:14:31.483" v="96973" actId="1036"/>
          <ac:picMkLst>
            <pc:docMk/>
            <pc:sldMk cId="1568432740" sldId="361"/>
            <ac:picMk id="12" creationId="{F1BCBB26-01A5-5C7C-0DE3-F240C1A24EF0}"/>
          </ac:picMkLst>
        </pc:picChg>
        <pc:picChg chg="add mod">
          <ac:chgData name="Alex Jordan" userId="30755697-3be4-4efa-ad5c-ca2e4102b45a" providerId="ADAL" clId="{FC76EA98-9B1A-4F2F-9A6E-876FE3C87E8A}" dt="2025-06-25T07:14:31.483" v="96973" actId="1036"/>
          <ac:picMkLst>
            <pc:docMk/>
            <pc:sldMk cId="1568432740" sldId="361"/>
            <ac:picMk id="2050" creationId="{8A77F5BC-1E20-3103-9F71-CB9AAD954D93}"/>
          </ac:picMkLst>
        </pc:picChg>
      </pc:sldChg>
      <pc:sldChg chg="addSp delSp modSp mod modNotes">
        <pc:chgData name="Alex Jordan" userId="30755697-3be4-4efa-ad5c-ca2e4102b45a" providerId="ADAL" clId="{FC76EA98-9B1A-4F2F-9A6E-876FE3C87E8A}" dt="2025-06-27T11:06:36.747" v="104811"/>
        <pc:sldMkLst>
          <pc:docMk/>
          <pc:sldMk cId="1052879175" sldId="362"/>
        </pc:sldMkLst>
        <pc:spChg chg="mod">
          <ac:chgData name="Alex Jordan" userId="30755697-3be4-4efa-ad5c-ca2e4102b45a" providerId="ADAL" clId="{FC76EA98-9B1A-4F2F-9A6E-876FE3C87E8A}" dt="2025-06-25T08:46:32.770" v="102000" actId="948"/>
          <ac:spMkLst>
            <pc:docMk/>
            <pc:sldMk cId="1052879175" sldId="362"/>
            <ac:spMk id="2" creationId="{3647489D-2967-4724-091A-964DF1D56D71}"/>
          </ac:spMkLst>
        </pc:spChg>
        <pc:spChg chg="add mod">
          <ac:chgData name="Alex Jordan" userId="30755697-3be4-4efa-ad5c-ca2e4102b45a" providerId="ADAL" clId="{FC76EA98-9B1A-4F2F-9A6E-876FE3C87E8A}" dt="2025-06-27T11:06:36.747" v="104811"/>
          <ac:spMkLst>
            <pc:docMk/>
            <pc:sldMk cId="1052879175" sldId="362"/>
            <ac:spMk id="3" creationId="{AF3E2CCA-D511-8E28-96E5-F78D432BFC69}"/>
          </ac:spMkLst>
        </pc:spChg>
        <pc:spChg chg="del mod">
          <ac:chgData name="Alex Jordan" userId="30755697-3be4-4efa-ad5c-ca2e4102b45a" providerId="ADAL" clId="{FC76EA98-9B1A-4F2F-9A6E-876FE3C87E8A}" dt="2025-06-27T11:06:21.031" v="104805" actId="478"/>
          <ac:spMkLst>
            <pc:docMk/>
            <pc:sldMk cId="1052879175" sldId="362"/>
            <ac:spMk id="4" creationId="{5F6CC2B0-B60B-00DC-CC1E-4EDCD885DF5C}"/>
          </ac:spMkLst>
        </pc:spChg>
        <pc:spChg chg="del mod">
          <ac:chgData name="Alex Jordan" userId="30755697-3be4-4efa-ad5c-ca2e4102b45a" providerId="ADAL" clId="{FC76EA98-9B1A-4F2F-9A6E-876FE3C87E8A}" dt="2025-06-27T11:06:21.031" v="104805" actId="478"/>
          <ac:spMkLst>
            <pc:docMk/>
            <pc:sldMk cId="1052879175" sldId="362"/>
            <ac:spMk id="5" creationId="{269B9696-BF04-97CA-80D7-8213681DF4B3}"/>
          </ac:spMkLst>
        </pc:spChg>
        <pc:spChg chg="del mod">
          <ac:chgData name="Alex Jordan" userId="30755697-3be4-4efa-ad5c-ca2e4102b45a" providerId="ADAL" clId="{FC76EA98-9B1A-4F2F-9A6E-876FE3C87E8A}" dt="2025-06-27T11:06:21.031" v="104805" actId="478"/>
          <ac:spMkLst>
            <pc:docMk/>
            <pc:sldMk cId="1052879175" sldId="362"/>
            <ac:spMk id="6" creationId="{2C1A5718-5BFD-EEEA-793A-1282C4855620}"/>
          </ac:spMkLst>
        </pc:spChg>
        <pc:spChg chg="del mod">
          <ac:chgData name="Alex Jordan" userId="30755697-3be4-4efa-ad5c-ca2e4102b45a" providerId="ADAL" clId="{FC76EA98-9B1A-4F2F-9A6E-876FE3C87E8A}" dt="2025-06-27T11:06:21.031" v="104805" actId="478"/>
          <ac:spMkLst>
            <pc:docMk/>
            <pc:sldMk cId="1052879175" sldId="362"/>
            <ac:spMk id="8" creationId="{3D2DB415-7A56-2F6E-43CD-0527F1BFA578}"/>
          </ac:spMkLst>
        </pc:spChg>
        <pc:spChg chg="del mod">
          <ac:chgData name="Alex Jordan" userId="30755697-3be4-4efa-ad5c-ca2e4102b45a" providerId="ADAL" clId="{FC76EA98-9B1A-4F2F-9A6E-876FE3C87E8A}" dt="2025-06-27T11:06:21.031" v="104805" actId="478"/>
          <ac:spMkLst>
            <pc:docMk/>
            <pc:sldMk cId="1052879175" sldId="362"/>
            <ac:spMk id="9" creationId="{9CF53E89-BA4E-5893-3375-B1C9808E47F4}"/>
          </ac:spMkLst>
        </pc:spChg>
        <pc:spChg chg="mod">
          <ac:chgData name="Alex Jordan" userId="30755697-3be4-4efa-ad5c-ca2e4102b45a" providerId="ADAL" clId="{FC76EA98-9B1A-4F2F-9A6E-876FE3C87E8A}" dt="2025-06-25T08:46:29.541" v="99229" actId="947"/>
          <ac:spMkLst>
            <pc:docMk/>
            <pc:sldMk cId="1052879175" sldId="362"/>
            <ac:spMk id="10" creationId="{8698D7BD-545A-A530-DE43-61AF08318776}"/>
          </ac:spMkLst>
        </pc:spChg>
        <pc:spChg chg="add mod">
          <ac:chgData name="Alex Jordan" userId="30755697-3be4-4efa-ad5c-ca2e4102b45a" providerId="ADAL" clId="{FC76EA98-9B1A-4F2F-9A6E-876FE3C87E8A}" dt="2025-06-25T08:46:29.558" v="99245" actId="947"/>
          <ac:spMkLst>
            <pc:docMk/>
            <pc:sldMk cId="1052879175" sldId="362"/>
            <ac:spMk id="14" creationId="{A0B8A61E-AB69-8972-2E52-B0DAF4377466}"/>
          </ac:spMkLst>
        </pc:spChg>
        <pc:spChg chg="add mod">
          <ac:chgData name="Alex Jordan" userId="30755697-3be4-4efa-ad5c-ca2e4102b45a" providerId="ADAL" clId="{FC76EA98-9B1A-4F2F-9A6E-876FE3C87E8A}" dt="2025-06-25T08:46:32.056" v="101958" actId="790"/>
          <ac:spMkLst>
            <pc:docMk/>
            <pc:sldMk cId="1052879175" sldId="362"/>
            <ac:spMk id="15" creationId="{D08C330F-6B3B-FD6A-6FCB-93E4EE59DCCB}"/>
          </ac:spMkLst>
        </pc:spChg>
        <pc:spChg chg="mod">
          <ac:chgData name="Alex Jordan" userId="30755697-3be4-4efa-ad5c-ca2e4102b45a" providerId="ADAL" clId="{FC76EA98-9B1A-4F2F-9A6E-876FE3C87E8A}" dt="2025-06-25T08:46:29.561" v="99249" actId="947"/>
          <ac:spMkLst>
            <pc:docMk/>
            <pc:sldMk cId="1052879175" sldId="362"/>
            <ac:spMk id="16" creationId="{A92C08DF-41CC-7D5A-37CE-11127B377969}"/>
          </ac:spMkLst>
        </pc:spChg>
        <pc:spChg chg="add mod">
          <ac:chgData name="Alex Jordan" userId="30755697-3be4-4efa-ad5c-ca2e4102b45a" providerId="ADAL" clId="{FC76EA98-9B1A-4F2F-9A6E-876FE3C87E8A}" dt="2025-06-25T08:46:32.056" v="101958" actId="790"/>
          <ac:spMkLst>
            <pc:docMk/>
            <pc:sldMk cId="1052879175" sldId="362"/>
            <ac:spMk id="17" creationId="{CE796830-8621-1A26-BC24-88B951DE155B}"/>
          </ac:spMkLst>
        </pc:spChg>
        <pc:spChg chg="add mod">
          <ac:chgData name="Alex Jordan" userId="30755697-3be4-4efa-ad5c-ca2e4102b45a" providerId="ADAL" clId="{FC76EA98-9B1A-4F2F-9A6E-876FE3C87E8A}" dt="2025-06-25T08:46:29.565" v="99253" actId="947"/>
          <ac:spMkLst>
            <pc:docMk/>
            <pc:sldMk cId="1052879175" sldId="362"/>
            <ac:spMk id="18" creationId="{74CC3D84-5CE6-2080-FB37-46DD4A2309C3}"/>
          </ac:spMkLst>
        </pc:spChg>
        <pc:spChg chg="mod">
          <ac:chgData name="Alex Jordan" userId="30755697-3be4-4efa-ad5c-ca2e4102b45a" providerId="ADAL" clId="{FC76EA98-9B1A-4F2F-9A6E-876FE3C87E8A}" dt="2025-06-25T08:46:32.056" v="101958" actId="790"/>
          <ac:spMkLst>
            <pc:docMk/>
            <pc:sldMk cId="1052879175" sldId="362"/>
            <ac:spMk id="19" creationId="{9E6469DE-23BB-01EF-EB4C-C469CC0D518D}"/>
          </ac:spMkLst>
        </pc:spChg>
        <pc:spChg chg="mod">
          <ac:chgData name="Alex Jordan" userId="30755697-3be4-4efa-ad5c-ca2e4102b45a" providerId="ADAL" clId="{FC76EA98-9B1A-4F2F-9A6E-876FE3C87E8A}" dt="2025-06-25T08:46:29.570" v="99257" actId="947"/>
          <ac:spMkLst>
            <pc:docMk/>
            <pc:sldMk cId="1052879175" sldId="362"/>
            <ac:spMk id="20" creationId="{6769D1EE-88A6-5AE1-6E24-A8A2FC6039FC}"/>
          </ac:spMkLst>
        </pc:spChg>
        <pc:spChg chg="add mod">
          <ac:chgData name="Alex Jordan" userId="30755697-3be4-4efa-ad5c-ca2e4102b45a" providerId="ADAL" clId="{FC76EA98-9B1A-4F2F-9A6E-876FE3C87E8A}" dt="2025-06-25T08:46:29.571" v="99259" actId="947"/>
          <ac:spMkLst>
            <pc:docMk/>
            <pc:sldMk cId="1052879175" sldId="362"/>
            <ac:spMk id="21" creationId="{AC8E264B-DC04-65E1-167B-C3FC7FF51D96}"/>
          </ac:spMkLst>
        </pc:spChg>
        <pc:spChg chg="add mod">
          <ac:chgData name="Alex Jordan" userId="30755697-3be4-4efa-ad5c-ca2e4102b45a" providerId="ADAL" clId="{FC76EA98-9B1A-4F2F-9A6E-876FE3C87E8A}" dt="2025-06-25T08:46:29.574" v="99261" actId="947"/>
          <ac:spMkLst>
            <pc:docMk/>
            <pc:sldMk cId="1052879175" sldId="362"/>
            <ac:spMk id="22" creationId="{A5E69C61-A834-0369-DC34-481D39C14EFE}"/>
          </ac:spMkLst>
        </pc:spChg>
        <pc:spChg chg="add mod">
          <ac:chgData name="Alex Jordan" userId="30755697-3be4-4efa-ad5c-ca2e4102b45a" providerId="ADAL" clId="{FC76EA98-9B1A-4F2F-9A6E-876FE3C87E8A}" dt="2025-06-25T08:46:29.574" v="99263" actId="947"/>
          <ac:spMkLst>
            <pc:docMk/>
            <pc:sldMk cId="1052879175" sldId="362"/>
            <ac:spMk id="23" creationId="{85AEE30C-EFAF-2E89-3CEF-03F0510E9D45}"/>
          </ac:spMkLst>
        </pc:spChg>
        <pc:spChg chg="add mod">
          <ac:chgData name="Alex Jordan" userId="30755697-3be4-4efa-ad5c-ca2e4102b45a" providerId="ADAL" clId="{FC76EA98-9B1A-4F2F-9A6E-876FE3C87E8A}" dt="2025-06-25T08:46:32.056" v="101958" actId="790"/>
          <ac:spMkLst>
            <pc:docMk/>
            <pc:sldMk cId="1052879175" sldId="362"/>
            <ac:spMk id="24" creationId="{A7EB94D8-FB71-CD0D-5F5D-4DBC26BE357D}"/>
          </ac:spMkLst>
        </pc:spChg>
        <pc:spChg chg="add mod">
          <ac:chgData name="Alex Jordan" userId="30755697-3be4-4efa-ad5c-ca2e4102b45a" providerId="ADAL" clId="{FC76EA98-9B1A-4F2F-9A6E-876FE3C87E8A}" dt="2025-06-25T08:46:29.552" v="99241" actId="947"/>
          <ac:spMkLst>
            <pc:docMk/>
            <pc:sldMk cId="1052879175" sldId="362"/>
            <ac:spMk id="25" creationId="{4DDDE490-CB4B-49BE-3AC7-671477172740}"/>
          </ac:spMkLst>
        </pc:spChg>
        <pc:spChg chg="mod">
          <ac:chgData name="Alex Jordan" userId="30755697-3be4-4efa-ad5c-ca2e4102b45a" providerId="ADAL" clId="{FC76EA98-9B1A-4F2F-9A6E-876FE3C87E8A}" dt="2025-06-25T08:46:32.056" v="101958" actId="790"/>
          <ac:spMkLst>
            <pc:docMk/>
            <pc:sldMk cId="1052879175" sldId="362"/>
            <ac:spMk id="26" creationId="{3229AC60-0C74-170C-35F3-018916CB1E81}"/>
          </ac:spMkLst>
        </pc:spChg>
        <pc:spChg chg="mod">
          <ac:chgData name="Alex Jordan" userId="30755697-3be4-4efa-ad5c-ca2e4102b45a" providerId="ADAL" clId="{FC76EA98-9B1A-4F2F-9A6E-876FE3C87E8A}" dt="2025-06-25T08:46:29.541" v="99231" actId="947"/>
          <ac:spMkLst>
            <pc:docMk/>
            <pc:sldMk cId="1052879175" sldId="362"/>
            <ac:spMk id="27" creationId="{77DD652B-0A63-6634-B47E-97636B3ED64E}"/>
          </ac:spMkLst>
        </pc:spChg>
        <pc:spChg chg="mod">
          <ac:chgData name="Alex Jordan" userId="30755697-3be4-4efa-ad5c-ca2e4102b45a" providerId="ADAL" clId="{FC76EA98-9B1A-4F2F-9A6E-876FE3C87E8A}" dt="2025-06-25T08:46:29.550" v="99237" actId="947"/>
          <ac:spMkLst>
            <pc:docMk/>
            <pc:sldMk cId="1052879175" sldId="362"/>
            <ac:spMk id="28" creationId="{9342442B-8244-78FA-7941-F806412EF4EE}"/>
          </ac:spMkLst>
        </pc:spChg>
        <pc:spChg chg="mod">
          <ac:chgData name="Alex Jordan" userId="30755697-3be4-4efa-ad5c-ca2e4102b45a" providerId="ADAL" clId="{FC76EA98-9B1A-4F2F-9A6E-876FE3C87E8A}" dt="2025-06-25T08:46:29.548" v="99235" actId="947"/>
          <ac:spMkLst>
            <pc:docMk/>
            <pc:sldMk cId="1052879175" sldId="362"/>
            <ac:spMk id="29" creationId="{0B773513-75C0-21EA-6C1B-1F8A6F073E5D}"/>
          </ac:spMkLst>
        </pc:spChg>
        <pc:spChg chg="add mod">
          <ac:chgData name="Alex Jordan" userId="30755697-3be4-4efa-ad5c-ca2e4102b45a" providerId="ADAL" clId="{FC76EA98-9B1A-4F2F-9A6E-876FE3C87E8A}" dt="2025-06-25T08:46:29.546" v="99233" actId="947"/>
          <ac:spMkLst>
            <pc:docMk/>
            <pc:sldMk cId="1052879175" sldId="362"/>
            <ac:spMk id="30" creationId="{8D04F629-9215-DE26-C730-5D04E243AF00}"/>
          </ac:spMkLst>
        </pc:spChg>
        <pc:spChg chg="add mod">
          <ac:chgData name="Alex Jordan" userId="30755697-3be4-4efa-ad5c-ca2e4102b45a" providerId="ADAL" clId="{FC76EA98-9B1A-4F2F-9A6E-876FE3C87E8A}" dt="2025-06-25T08:46:32.056" v="101958" actId="790"/>
          <ac:spMkLst>
            <pc:docMk/>
            <pc:sldMk cId="1052879175" sldId="362"/>
            <ac:spMk id="31" creationId="{18F87ED9-6453-9889-0984-6C9ED6A15A55}"/>
          </ac:spMkLst>
        </pc:spChg>
        <pc:spChg chg="add mod">
          <ac:chgData name="Alex Jordan" userId="30755697-3be4-4efa-ad5c-ca2e4102b45a" providerId="ADAL" clId="{FC76EA98-9B1A-4F2F-9A6E-876FE3C87E8A}" dt="2025-06-25T08:46:32.056" v="101958" actId="790"/>
          <ac:spMkLst>
            <pc:docMk/>
            <pc:sldMk cId="1052879175" sldId="362"/>
            <ac:spMk id="32" creationId="{3C52DB41-D5BF-AA4D-ABC0-7B957E678AEF}"/>
          </ac:spMkLst>
        </pc:spChg>
        <pc:spChg chg="add mod">
          <ac:chgData name="Alex Jordan" userId="30755697-3be4-4efa-ad5c-ca2e4102b45a" providerId="ADAL" clId="{FC76EA98-9B1A-4F2F-9A6E-876FE3C87E8A}" dt="2025-06-25T08:46:29.580" v="99269" actId="947"/>
          <ac:spMkLst>
            <pc:docMk/>
            <pc:sldMk cId="1052879175" sldId="362"/>
            <ac:spMk id="34" creationId="{E795F054-2E20-5957-23B3-B176D3F2AE90}"/>
          </ac:spMkLst>
        </pc:spChg>
        <pc:spChg chg="add mod">
          <ac:chgData name="Alex Jordan" userId="30755697-3be4-4efa-ad5c-ca2e4102b45a" providerId="ADAL" clId="{FC76EA98-9B1A-4F2F-9A6E-876FE3C87E8A}" dt="2025-06-25T08:46:29.583" v="99271" actId="947"/>
          <ac:spMkLst>
            <pc:docMk/>
            <pc:sldMk cId="1052879175" sldId="362"/>
            <ac:spMk id="35" creationId="{BDA4948F-C598-123E-47BF-D83E3A3AA076}"/>
          </ac:spMkLst>
        </pc:spChg>
        <pc:spChg chg="add mod">
          <ac:chgData name="Alex Jordan" userId="30755697-3be4-4efa-ad5c-ca2e4102b45a" providerId="ADAL" clId="{FC76EA98-9B1A-4F2F-9A6E-876FE3C87E8A}" dt="2025-06-25T08:46:29.585" v="99273" actId="947"/>
          <ac:spMkLst>
            <pc:docMk/>
            <pc:sldMk cId="1052879175" sldId="362"/>
            <ac:spMk id="37" creationId="{2B30DA19-3636-9C49-9750-32BE660ED36A}"/>
          </ac:spMkLst>
        </pc:spChg>
        <pc:spChg chg="add mod">
          <ac:chgData name="Alex Jordan" userId="30755697-3be4-4efa-ad5c-ca2e4102b45a" providerId="ADAL" clId="{FC76EA98-9B1A-4F2F-9A6E-876FE3C87E8A}" dt="2025-06-25T08:46:29.587" v="99275" actId="947"/>
          <ac:spMkLst>
            <pc:docMk/>
            <pc:sldMk cId="1052879175" sldId="362"/>
            <ac:spMk id="38" creationId="{8E318038-34D3-ADA8-552B-C2E34A981E4D}"/>
          </ac:spMkLst>
        </pc:spChg>
        <pc:spChg chg="add mod">
          <ac:chgData name="Alex Jordan" userId="30755697-3be4-4efa-ad5c-ca2e4102b45a" providerId="ADAL" clId="{FC76EA98-9B1A-4F2F-9A6E-876FE3C87E8A}" dt="2025-06-27T11:06:36.747" v="104811"/>
          <ac:spMkLst>
            <pc:docMk/>
            <pc:sldMk cId="1052879175" sldId="362"/>
            <ac:spMk id="39" creationId="{BBFC8774-013D-B64D-A9FF-BCF63BFB0817}"/>
          </ac:spMkLst>
        </pc:spChg>
        <pc:spChg chg="add mod">
          <ac:chgData name="Alex Jordan" userId="30755697-3be4-4efa-ad5c-ca2e4102b45a" providerId="ADAL" clId="{FC76EA98-9B1A-4F2F-9A6E-876FE3C87E8A}" dt="2025-06-27T11:06:36.747" v="104811"/>
          <ac:spMkLst>
            <pc:docMk/>
            <pc:sldMk cId="1052879175" sldId="362"/>
            <ac:spMk id="40" creationId="{41D6F5DB-8C63-F568-7E02-0E895B02E278}"/>
          </ac:spMkLst>
        </pc:spChg>
        <pc:spChg chg="add mod">
          <ac:chgData name="Alex Jordan" userId="30755697-3be4-4efa-ad5c-ca2e4102b45a" providerId="ADAL" clId="{FC76EA98-9B1A-4F2F-9A6E-876FE3C87E8A}" dt="2025-06-27T11:06:36.747" v="104811"/>
          <ac:spMkLst>
            <pc:docMk/>
            <pc:sldMk cId="1052879175" sldId="362"/>
            <ac:spMk id="41" creationId="{C6813779-8F29-75B3-7E58-C01D83D3E82E}"/>
          </ac:spMkLst>
        </pc:spChg>
        <pc:graphicFrameChg chg="mod">
          <ac:chgData name="Alex Jordan" userId="30755697-3be4-4efa-ad5c-ca2e4102b45a" providerId="ADAL" clId="{FC76EA98-9B1A-4F2F-9A6E-876FE3C87E8A}" dt="2025-06-25T08:46:34.811" v="103872"/>
          <ac:graphicFrameMkLst>
            <pc:docMk/>
            <pc:sldMk cId="1052879175" sldId="362"/>
            <ac:graphicFrameMk id="7" creationId="{15513908-CB52-DBFB-1578-3D8979964AA0}"/>
          </ac:graphicFrameMkLst>
        </pc:graphicFrameChg>
        <pc:picChg chg="add mod">
          <ac:chgData name="Alex Jordan" userId="30755697-3be4-4efa-ad5c-ca2e4102b45a" providerId="ADAL" clId="{FC76EA98-9B1A-4F2F-9A6E-876FE3C87E8A}" dt="2025-06-25T07:34:13.317" v="98043" actId="1076"/>
          <ac:picMkLst>
            <pc:docMk/>
            <pc:sldMk cId="1052879175" sldId="362"/>
            <ac:picMk id="33" creationId="{04DC48B3-3121-B018-9794-B04EECD96EFC}"/>
          </ac:picMkLst>
        </pc:picChg>
        <pc:picChg chg="add mod">
          <ac:chgData name="Alex Jordan" userId="30755697-3be4-4efa-ad5c-ca2e4102b45a" providerId="ADAL" clId="{FC76EA98-9B1A-4F2F-9A6E-876FE3C87E8A}" dt="2025-06-25T07:30:09.791" v="97864" actId="1035"/>
          <ac:picMkLst>
            <pc:docMk/>
            <pc:sldMk cId="1052879175" sldId="362"/>
            <ac:picMk id="36" creationId="{09B0D47C-2CEB-CDC1-C049-559DE707D56A}"/>
          </ac:picMkLst>
        </pc:picChg>
        <pc:picChg chg="add mod">
          <ac:chgData name="Alex Jordan" userId="30755697-3be4-4efa-ad5c-ca2e4102b45a" providerId="ADAL" clId="{FC76EA98-9B1A-4F2F-9A6E-876FE3C87E8A}" dt="2025-06-25T07:32:38.269" v="98025" actId="12788"/>
          <ac:picMkLst>
            <pc:docMk/>
            <pc:sldMk cId="1052879175" sldId="362"/>
            <ac:picMk id="4098" creationId="{BEC5A578-424C-5BD3-ECFC-0076329CE267}"/>
          </ac:picMkLst>
        </pc:picChg>
      </pc:sldChg>
      <pc:sldChg chg="addSp delSp modSp mod modNotes">
        <pc:chgData name="Alex Jordan" userId="30755697-3be4-4efa-ad5c-ca2e4102b45a" providerId="ADAL" clId="{FC76EA98-9B1A-4F2F-9A6E-876FE3C87E8A}" dt="2025-06-27T11:06:36.749" v="104812"/>
        <pc:sldMkLst>
          <pc:docMk/>
          <pc:sldMk cId="2508342982" sldId="363"/>
        </pc:sldMkLst>
        <pc:spChg chg="mod ord">
          <ac:chgData name="Alex Jordan" userId="30755697-3be4-4efa-ad5c-ca2e4102b45a" providerId="ADAL" clId="{FC76EA98-9B1A-4F2F-9A6E-876FE3C87E8A}" dt="2025-06-25T08:46:32.833" v="102063" actId="948"/>
          <ac:spMkLst>
            <pc:docMk/>
            <pc:sldMk cId="2508342982" sldId="363"/>
            <ac:spMk id="2" creationId="{A209DF69-B468-8C23-2F13-E52A904DB4CC}"/>
          </ac:spMkLst>
        </pc:spChg>
        <pc:spChg chg="add mod">
          <ac:chgData name="Alex Jordan" userId="30755697-3be4-4efa-ad5c-ca2e4102b45a" providerId="ADAL" clId="{FC76EA98-9B1A-4F2F-9A6E-876FE3C87E8A}" dt="2025-06-27T11:06:36.749" v="104812"/>
          <ac:spMkLst>
            <pc:docMk/>
            <pc:sldMk cId="2508342982" sldId="363"/>
            <ac:spMk id="3" creationId="{92D6F31E-0711-D625-FD4B-F64E201A782F}"/>
          </ac:spMkLst>
        </pc:spChg>
        <pc:spChg chg="del mod ord">
          <ac:chgData name="Alex Jordan" userId="30755697-3be4-4efa-ad5c-ca2e4102b45a" providerId="ADAL" clId="{FC76EA98-9B1A-4F2F-9A6E-876FE3C87E8A}" dt="2025-06-27T11:06:23.361" v="104806" actId="478"/>
          <ac:spMkLst>
            <pc:docMk/>
            <pc:sldMk cId="2508342982" sldId="363"/>
            <ac:spMk id="4" creationId="{AEC4AAB4-8636-DB60-700A-48ED4ECF1124}"/>
          </ac:spMkLst>
        </pc:spChg>
        <pc:spChg chg="del mod ord">
          <ac:chgData name="Alex Jordan" userId="30755697-3be4-4efa-ad5c-ca2e4102b45a" providerId="ADAL" clId="{FC76EA98-9B1A-4F2F-9A6E-876FE3C87E8A}" dt="2025-06-27T11:06:23.361" v="104806" actId="478"/>
          <ac:spMkLst>
            <pc:docMk/>
            <pc:sldMk cId="2508342982" sldId="363"/>
            <ac:spMk id="5" creationId="{9E86DF85-FF7D-4A65-759E-AE6045A648ED}"/>
          </ac:spMkLst>
        </pc:spChg>
        <pc:spChg chg="del mod ord">
          <ac:chgData name="Alex Jordan" userId="30755697-3be4-4efa-ad5c-ca2e4102b45a" providerId="ADAL" clId="{FC76EA98-9B1A-4F2F-9A6E-876FE3C87E8A}" dt="2025-06-27T11:06:23.361" v="104806" actId="478"/>
          <ac:spMkLst>
            <pc:docMk/>
            <pc:sldMk cId="2508342982" sldId="363"/>
            <ac:spMk id="6" creationId="{147C54C8-1F39-FAC6-616B-9B9E92982583}"/>
          </ac:spMkLst>
        </pc:spChg>
        <pc:spChg chg="del mod ord">
          <ac:chgData name="Alex Jordan" userId="30755697-3be4-4efa-ad5c-ca2e4102b45a" providerId="ADAL" clId="{FC76EA98-9B1A-4F2F-9A6E-876FE3C87E8A}" dt="2025-06-27T11:06:23.361" v="104806" actId="478"/>
          <ac:spMkLst>
            <pc:docMk/>
            <pc:sldMk cId="2508342982" sldId="363"/>
            <ac:spMk id="8" creationId="{C42D125B-FF1E-C105-D53D-D0BEA363997A}"/>
          </ac:spMkLst>
        </pc:spChg>
        <pc:spChg chg="del mod ord">
          <ac:chgData name="Alex Jordan" userId="30755697-3be4-4efa-ad5c-ca2e4102b45a" providerId="ADAL" clId="{FC76EA98-9B1A-4F2F-9A6E-876FE3C87E8A}" dt="2025-06-27T11:06:23.361" v="104806" actId="478"/>
          <ac:spMkLst>
            <pc:docMk/>
            <pc:sldMk cId="2508342982" sldId="363"/>
            <ac:spMk id="9" creationId="{64B4EAD9-642E-E234-4423-920B2F24436D}"/>
          </ac:spMkLst>
        </pc:spChg>
        <pc:spChg chg="mod ord">
          <ac:chgData name="Alex Jordan" userId="30755697-3be4-4efa-ad5c-ca2e4102b45a" providerId="ADAL" clId="{FC76EA98-9B1A-4F2F-9A6E-876FE3C87E8A}" dt="2025-06-25T08:46:29.886" v="99621" actId="947"/>
          <ac:spMkLst>
            <pc:docMk/>
            <pc:sldMk cId="2508342982" sldId="363"/>
            <ac:spMk id="10" creationId="{13608748-3321-23B0-4BD3-2E9009D31C61}"/>
          </ac:spMkLst>
        </pc:spChg>
        <pc:spChg chg="add mod ord">
          <ac:chgData name="Alex Jordan" userId="30755697-3be4-4efa-ad5c-ca2e4102b45a" providerId="ADAL" clId="{FC76EA98-9B1A-4F2F-9A6E-876FE3C87E8A}" dt="2025-06-25T08:46:29.889" v="99625" actId="947"/>
          <ac:spMkLst>
            <pc:docMk/>
            <pc:sldMk cId="2508342982" sldId="363"/>
            <ac:spMk id="18" creationId="{EE973288-6BA8-1917-D132-9AA61FB2F368}"/>
          </ac:spMkLst>
        </pc:spChg>
        <pc:spChg chg="mod">
          <ac:chgData name="Alex Jordan" userId="30755697-3be4-4efa-ad5c-ca2e4102b45a" providerId="ADAL" clId="{FC76EA98-9B1A-4F2F-9A6E-876FE3C87E8A}" dt="2025-06-25T08:46:32.056" v="101958" actId="790"/>
          <ac:spMkLst>
            <pc:docMk/>
            <pc:sldMk cId="2508342982" sldId="363"/>
            <ac:spMk id="19" creationId="{AC91809C-0827-426B-E664-E558B2507A73}"/>
          </ac:spMkLst>
        </pc:spChg>
        <pc:spChg chg="add mod">
          <ac:chgData name="Alex Jordan" userId="30755697-3be4-4efa-ad5c-ca2e4102b45a" providerId="ADAL" clId="{FC76EA98-9B1A-4F2F-9A6E-876FE3C87E8A}" dt="2025-06-25T08:46:29.898" v="99637" actId="947"/>
          <ac:spMkLst>
            <pc:docMk/>
            <pc:sldMk cId="2508342982" sldId="363"/>
            <ac:spMk id="20" creationId="{5E86943F-8B69-3228-7257-28582A9B755F}"/>
          </ac:spMkLst>
        </pc:spChg>
        <pc:spChg chg="mod">
          <ac:chgData name="Alex Jordan" userId="30755697-3be4-4efa-ad5c-ca2e4102b45a" providerId="ADAL" clId="{FC76EA98-9B1A-4F2F-9A6E-876FE3C87E8A}" dt="2025-06-25T08:46:29.898" v="99635" actId="947"/>
          <ac:spMkLst>
            <pc:docMk/>
            <pc:sldMk cId="2508342982" sldId="363"/>
            <ac:spMk id="21" creationId="{EB02862D-2189-FACA-95C8-7CD366CBDCAC}"/>
          </ac:spMkLst>
        </pc:spChg>
        <pc:spChg chg="mod">
          <ac:chgData name="Alex Jordan" userId="30755697-3be4-4efa-ad5c-ca2e4102b45a" providerId="ADAL" clId="{FC76EA98-9B1A-4F2F-9A6E-876FE3C87E8A}" dt="2025-06-25T08:46:29.896" v="99633" actId="947"/>
          <ac:spMkLst>
            <pc:docMk/>
            <pc:sldMk cId="2508342982" sldId="363"/>
            <ac:spMk id="22" creationId="{73DA8D46-8C8C-4B18-0855-6BD76441121F}"/>
          </ac:spMkLst>
        </pc:spChg>
        <pc:spChg chg="mod">
          <ac:chgData name="Alex Jordan" userId="30755697-3be4-4efa-ad5c-ca2e4102b45a" providerId="ADAL" clId="{FC76EA98-9B1A-4F2F-9A6E-876FE3C87E8A}" dt="2025-06-25T08:46:29.895" v="99631" actId="947"/>
          <ac:spMkLst>
            <pc:docMk/>
            <pc:sldMk cId="2508342982" sldId="363"/>
            <ac:spMk id="23" creationId="{97BD04CD-9101-216F-8216-3AAED4E5464D}"/>
          </ac:spMkLst>
        </pc:spChg>
        <pc:spChg chg="mod">
          <ac:chgData name="Alex Jordan" userId="30755697-3be4-4efa-ad5c-ca2e4102b45a" providerId="ADAL" clId="{FC76EA98-9B1A-4F2F-9A6E-876FE3C87E8A}" dt="2025-06-25T08:50:58.808" v="104667" actId="313"/>
          <ac:spMkLst>
            <pc:docMk/>
            <pc:sldMk cId="2508342982" sldId="363"/>
            <ac:spMk id="24" creationId="{6264C7F0-3B54-765C-EACA-307650A49E81}"/>
          </ac:spMkLst>
        </pc:spChg>
        <pc:spChg chg="mod">
          <ac:chgData name="Alex Jordan" userId="30755697-3be4-4efa-ad5c-ca2e4102b45a" providerId="ADAL" clId="{FC76EA98-9B1A-4F2F-9A6E-876FE3C87E8A}" dt="2025-06-25T08:46:32.056" v="101958" actId="790"/>
          <ac:spMkLst>
            <pc:docMk/>
            <pc:sldMk cId="2508342982" sldId="363"/>
            <ac:spMk id="25" creationId="{FDEA8417-F38E-F3CF-5363-8A6520DD28EE}"/>
          </ac:spMkLst>
        </pc:spChg>
        <pc:spChg chg="mod">
          <ac:chgData name="Alex Jordan" userId="30755697-3be4-4efa-ad5c-ca2e4102b45a" providerId="ADAL" clId="{FC76EA98-9B1A-4F2F-9A6E-876FE3C87E8A}" dt="2025-06-25T08:46:29.904" v="99643" actId="947"/>
          <ac:spMkLst>
            <pc:docMk/>
            <pc:sldMk cId="2508342982" sldId="363"/>
            <ac:spMk id="26" creationId="{13CB33D8-0FB3-C1E2-B7DD-16DE1A1320C1}"/>
          </ac:spMkLst>
        </pc:spChg>
        <pc:spChg chg="mod ord">
          <ac:chgData name="Alex Jordan" userId="30755697-3be4-4efa-ad5c-ca2e4102b45a" providerId="ADAL" clId="{FC76EA98-9B1A-4F2F-9A6E-876FE3C87E8A}" dt="2025-06-25T08:46:29.886" v="99623" actId="947"/>
          <ac:spMkLst>
            <pc:docMk/>
            <pc:sldMk cId="2508342982" sldId="363"/>
            <ac:spMk id="27" creationId="{2FE7919D-60EC-5CE7-6062-E6B2A1468F7B}"/>
          </ac:spMkLst>
        </pc:spChg>
        <pc:spChg chg="add mod">
          <ac:chgData name="Alex Jordan" userId="30755697-3be4-4efa-ad5c-ca2e4102b45a" providerId="ADAL" clId="{FC76EA98-9B1A-4F2F-9A6E-876FE3C87E8A}" dt="2025-06-25T08:46:29.902" v="99641" actId="947"/>
          <ac:spMkLst>
            <pc:docMk/>
            <pc:sldMk cId="2508342982" sldId="363"/>
            <ac:spMk id="28" creationId="{6E19FFE2-2AE9-7BE6-F1CB-242EE13C8FCB}"/>
          </ac:spMkLst>
        </pc:spChg>
        <pc:spChg chg="add mod">
          <ac:chgData name="Alex Jordan" userId="30755697-3be4-4efa-ad5c-ca2e4102b45a" providerId="ADAL" clId="{FC76EA98-9B1A-4F2F-9A6E-876FE3C87E8A}" dt="2025-06-25T08:46:29.906" v="99647" actId="947"/>
          <ac:spMkLst>
            <pc:docMk/>
            <pc:sldMk cId="2508342982" sldId="363"/>
            <ac:spMk id="29" creationId="{B6751D9A-BE49-9C33-A2A0-1750AE2B487A}"/>
          </ac:spMkLst>
        </pc:spChg>
        <pc:spChg chg="mod">
          <ac:chgData name="Alex Jordan" userId="30755697-3be4-4efa-ad5c-ca2e4102b45a" providerId="ADAL" clId="{FC76EA98-9B1A-4F2F-9A6E-876FE3C87E8A}" dt="2025-06-25T08:46:29.906" v="99645" actId="947"/>
          <ac:spMkLst>
            <pc:docMk/>
            <pc:sldMk cId="2508342982" sldId="363"/>
            <ac:spMk id="30" creationId="{4BEB6B0A-6C86-1A0D-BCE4-B11B50D8B577}"/>
          </ac:spMkLst>
        </pc:spChg>
        <pc:spChg chg="add mod">
          <ac:chgData name="Alex Jordan" userId="30755697-3be4-4efa-ad5c-ca2e4102b45a" providerId="ADAL" clId="{FC76EA98-9B1A-4F2F-9A6E-876FE3C87E8A}" dt="2025-06-25T08:46:29.910" v="99651" actId="947"/>
          <ac:spMkLst>
            <pc:docMk/>
            <pc:sldMk cId="2508342982" sldId="363"/>
            <ac:spMk id="31" creationId="{1D9E598A-016C-EFC6-6AF2-FE370D7A2215}"/>
          </ac:spMkLst>
        </pc:spChg>
        <pc:spChg chg="mod">
          <ac:chgData name="Alex Jordan" userId="30755697-3be4-4efa-ad5c-ca2e4102b45a" providerId="ADAL" clId="{FC76EA98-9B1A-4F2F-9A6E-876FE3C87E8A}" dt="2025-06-25T08:46:32.056" v="101958" actId="790"/>
          <ac:spMkLst>
            <pc:docMk/>
            <pc:sldMk cId="2508342982" sldId="363"/>
            <ac:spMk id="32" creationId="{3DE0A8C8-A9D7-6C3A-9410-EAC50B203040}"/>
          </ac:spMkLst>
        </pc:spChg>
        <pc:spChg chg="add mod">
          <ac:chgData name="Alex Jordan" userId="30755697-3be4-4efa-ad5c-ca2e4102b45a" providerId="ADAL" clId="{FC76EA98-9B1A-4F2F-9A6E-876FE3C87E8A}" dt="2025-06-25T08:46:29.912" v="99655" actId="947"/>
          <ac:spMkLst>
            <pc:docMk/>
            <pc:sldMk cId="2508342982" sldId="363"/>
            <ac:spMk id="33" creationId="{D01FCFDE-5E12-9085-93BA-AB6ADC71785C}"/>
          </ac:spMkLst>
        </pc:spChg>
        <pc:spChg chg="add mod">
          <ac:chgData name="Alex Jordan" userId="30755697-3be4-4efa-ad5c-ca2e4102b45a" providerId="ADAL" clId="{FC76EA98-9B1A-4F2F-9A6E-876FE3C87E8A}" dt="2025-06-25T08:46:29.910" v="99653" actId="947"/>
          <ac:spMkLst>
            <pc:docMk/>
            <pc:sldMk cId="2508342982" sldId="363"/>
            <ac:spMk id="34" creationId="{F91102D0-2647-263D-F663-D118D79820B8}"/>
          </ac:spMkLst>
        </pc:spChg>
        <pc:spChg chg="mod">
          <ac:chgData name="Alex Jordan" userId="30755697-3be4-4efa-ad5c-ca2e4102b45a" providerId="ADAL" clId="{FC76EA98-9B1A-4F2F-9A6E-876FE3C87E8A}" dt="2025-06-25T08:46:29.914" v="99659" actId="947"/>
          <ac:spMkLst>
            <pc:docMk/>
            <pc:sldMk cId="2508342982" sldId="363"/>
            <ac:spMk id="35" creationId="{8C44668B-1508-2CFA-2FB4-102F26F1213A}"/>
          </ac:spMkLst>
        </pc:spChg>
        <pc:spChg chg="add mod">
          <ac:chgData name="Alex Jordan" userId="30755697-3be4-4efa-ad5c-ca2e4102b45a" providerId="ADAL" clId="{FC76EA98-9B1A-4F2F-9A6E-876FE3C87E8A}" dt="2025-06-25T08:46:29.914" v="99657" actId="947"/>
          <ac:spMkLst>
            <pc:docMk/>
            <pc:sldMk cId="2508342982" sldId="363"/>
            <ac:spMk id="36" creationId="{9ADD15B7-800F-A2E1-3BA2-AEFDE8454C30}"/>
          </ac:spMkLst>
        </pc:spChg>
        <pc:spChg chg="add mod">
          <ac:chgData name="Alex Jordan" userId="30755697-3be4-4efa-ad5c-ca2e4102b45a" providerId="ADAL" clId="{FC76EA98-9B1A-4F2F-9A6E-876FE3C87E8A}" dt="2025-06-25T08:46:32.056" v="101958" actId="790"/>
          <ac:spMkLst>
            <pc:docMk/>
            <pc:sldMk cId="2508342982" sldId="363"/>
            <ac:spMk id="37" creationId="{0BE578EB-98D7-B24F-C875-D188759019AC}"/>
          </ac:spMkLst>
        </pc:spChg>
        <pc:spChg chg="mod">
          <ac:chgData name="Alex Jordan" userId="30755697-3be4-4efa-ad5c-ca2e4102b45a" providerId="ADAL" clId="{FC76EA98-9B1A-4F2F-9A6E-876FE3C87E8A}" dt="2025-06-25T08:46:29.916" v="99661" actId="947"/>
          <ac:spMkLst>
            <pc:docMk/>
            <pc:sldMk cId="2508342982" sldId="363"/>
            <ac:spMk id="38" creationId="{99B02040-C39D-00A2-CC15-EA686B996A83}"/>
          </ac:spMkLst>
        </pc:spChg>
        <pc:spChg chg="add mod">
          <ac:chgData name="Alex Jordan" userId="30755697-3be4-4efa-ad5c-ca2e4102b45a" providerId="ADAL" clId="{FC76EA98-9B1A-4F2F-9A6E-876FE3C87E8A}" dt="2025-06-25T08:46:29.918" v="99667" actId="947"/>
          <ac:spMkLst>
            <pc:docMk/>
            <pc:sldMk cId="2508342982" sldId="363"/>
            <ac:spMk id="39" creationId="{444EA89C-8BB6-7DD2-61DA-B182315E3DC9}"/>
          </ac:spMkLst>
        </pc:spChg>
        <pc:spChg chg="mod">
          <ac:chgData name="Alex Jordan" userId="30755697-3be4-4efa-ad5c-ca2e4102b45a" providerId="ADAL" clId="{FC76EA98-9B1A-4F2F-9A6E-876FE3C87E8A}" dt="2025-06-25T08:46:29.918" v="99665" actId="947"/>
          <ac:spMkLst>
            <pc:docMk/>
            <pc:sldMk cId="2508342982" sldId="363"/>
            <ac:spMk id="40" creationId="{646FBF65-821D-CC34-7743-32DEF8705176}"/>
          </ac:spMkLst>
        </pc:spChg>
        <pc:spChg chg="add mod ord">
          <ac:chgData name="Alex Jordan" userId="30755697-3be4-4efa-ad5c-ca2e4102b45a" providerId="ADAL" clId="{FC76EA98-9B1A-4F2F-9A6E-876FE3C87E8A}" dt="2025-06-25T08:46:29.971" v="99729" actId="947"/>
          <ac:spMkLst>
            <pc:docMk/>
            <pc:sldMk cId="2508342982" sldId="363"/>
            <ac:spMk id="45" creationId="{EFB14966-B82F-1718-711B-FA39878096C3}"/>
          </ac:spMkLst>
        </pc:spChg>
        <pc:spChg chg="mod ord">
          <ac:chgData name="Alex Jordan" userId="30755697-3be4-4efa-ad5c-ca2e4102b45a" providerId="ADAL" clId="{FC76EA98-9B1A-4F2F-9A6E-876FE3C87E8A}" dt="2025-06-25T08:46:29.973" v="99731" actId="947"/>
          <ac:spMkLst>
            <pc:docMk/>
            <pc:sldMk cId="2508342982" sldId="363"/>
            <ac:spMk id="46" creationId="{EED009C1-DBDD-8073-5D76-FD5813505415}"/>
          </ac:spMkLst>
        </pc:spChg>
        <pc:spChg chg="mod ord">
          <ac:chgData name="Alex Jordan" userId="30755697-3be4-4efa-ad5c-ca2e4102b45a" providerId="ADAL" clId="{FC76EA98-9B1A-4F2F-9A6E-876FE3C87E8A}" dt="2025-06-25T08:46:29.975" v="99733" actId="947"/>
          <ac:spMkLst>
            <pc:docMk/>
            <pc:sldMk cId="2508342982" sldId="363"/>
            <ac:spMk id="47" creationId="{A01D945C-1270-544B-4AF5-1B6BA5E0F042}"/>
          </ac:spMkLst>
        </pc:spChg>
        <pc:spChg chg="mod ord">
          <ac:chgData name="Alex Jordan" userId="30755697-3be4-4efa-ad5c-ca2e4102b45a" providerId="ADAL" clId="{FC76EA98-9B1A-4F2F-9A6E-876FE3C87E8A}" dt="2025-06-25T08:46:29.978" v="99735" actId="947"/>
          <ac:spMkLst>
            <pc:docMk/>
            <pc:sldMk cId="2508342982" sldId="363"/>
            <ac:spMk id="48" creationId="{1A3B5D8F-CE50-B02D-C8ED-B0367D4E083A}"/>
          </ac:spMkLst>
        </pc:spChg>
        <pc:spChg chg="add mod ord">
          <ac:chgData name="Alex Jordan" userId="30755697-3be4-4efa-ad5c-ca2e4102b45a" providerId="ADAL" clId="{FC76EA98-9B1A-4F2F-9A6E-876FE3C87E8A}" dt="2025-06-25T08:46:29.978" v="99737" actId="947"/>
          <ac:spMkLst>
            <pc:docMk/>
            <pc:sldMk cId="2508342982" sldId="363"/>
            <ac:spMk id="49" creationId="{1276A9DB-435B-D5A4-2F7C-53FF4B0DD82F}"/>
          </ac:spMkLst>
        </pc:spChg>
        <pc:spChg chg="mod ord">
          <ac:chgData name="Alex Jordan" userId="30755697-3be4-4efa-ad5c-ca2e4102b45a" providerId="ADAL" clId="{FC76EA98-9B1A-4F2F-9A6E-876FE3C87E8A}" dt="2025-06-25T08:46:29.980" v="99739" actId="947"/>
          <ac:spMkLst>
            <pc:docMk/>
            <pc:sldMk cId="2508342982" sldId="363"/>
            <ac:spMk id="50" creationId="{6A0E1031-CC91-55D2-9ED2-62E52DE1F932}"/>
          </ac:spMkLst>
        </pc:spChg>
        <pc:spChg chg="add mod ord topLvl">
          <ac:chgData name="Alex Jordan" userId="30755697-3be4-4efa-ad5c-ca2e4102b45a" providerId="ADAL" clId="{FC76EA98-9B1A-4F2F-9A6E-876FE3C87E8A}" dt="2025-06-25T08:46:29.981" v="99741" actId="947"/>
          <ac:spMkLst>
            <pc:docMk/>
            <pc:sldMk cId="2508342982" sldId="363"/>
            <ac:spMk id="51" creationId="{14C6F952-F282-48BA-AD18-6CCD6B5AAA0E}"/>
          </ac:spMkLst>
        </pc:spChg>
        <pc:spChg chg="add mod ord">
          <ac:chgData name="Alex Jordan" userId="30755697-3be4-4efa-ad5c-ca2e4102b45a" providerId="ADAL" clId="{FC76EA98-9B1A-4F2F-9A6E-876FE3C87E8A}" dt="2025-06-25T08:46:29.983" v="99743" actId="947"/>
          <ac:spMkLst>
            <pc:docMk/>
            <pc:sldMk cId="2508342982" sldId="363"/>
            <ac:spMk id="52" creationId="{079C1CAE-68A0-3669-E613-A144D6CF90C1}"/>
          </ac:spMkLst>
        </pc:spChg>
        <pc:spChg chg="mod ord topLvl">
          <ac:chgData name="Alex Jordan" userId="30755697-3be4-4efa-ad5c-ca2e4102b45a" providerId="ADAL" clId="{FC76EA98-9B1A-4F2F-9A6E-876FE3C87E8A}" dt="2025-06-25T08:46:29.985" v="99745" actId="947"/>
          <ac:spMkLst>
            <pc:docMk/>
            <pc:sldMk cId="2508342982" sldId="363"/>
            <ac:spMk id="53" creationId="{50560A82-E308-1E74-589A-F529ADF3D572}"/>
          </ac:spMkLst>
        </pc:spChg>
        <pc:spChg chg="mod ord">
          <ac:chgData name="Alex Jordan" userId="30755697-3be4-4efa-ad5c-ca2e4102b45a" providerId="ADAL" clId="{FC76EA98-9B1A-4F2F-9A6E-876FE3C87E8A}" dt="2025-06-25T08:46:29.989" v="99747" actId="947"/>
          <ac:spMkLst>
            <pc:docMk/>
            <pc:sldMk cId="2508342982" sldId="363"/>
            <ac:spMk id="54" creationId="{5367E5AB-1648-094D-D0DC-3C253922E4CE}"/>
          </ac:spMkLst>
        </pc:spChg>
        <pc:spChg chg="mod">
          <ac:chgData name="Alex Jordan" userId="30755697-3be4-4efa-ad5c-ca2e4102b45a" providerId="ADAL" clId="{FC76EA98-9B1A-4F2F-9A6E-876FE3C87E8A}" dt="2025-06-25T08:46:29.969" v="99727" actId="947"/>
          <ac:spMkLst>
            <pc:docMk/>
            <pc:sldMk cId="2508342982" sldId="363"/>
            <ac:spMk id="55" creationId="{613D532E-48AC-D686-F793-1F27C1FFEF79}"/>
          </ac:spMkLst>
        </pc:spChg>
        <pc:spChg chg="mod">
          <ac:chgData name="Alex Jordan" userId="30755697-3be4-4efa-ad5c-ca2e4102b45a" providerId="ADAL" clId="{FC76EA98-9B1A-4F2F-9A6E-876FE3C87E8A}" dt="2025-06-25T08:46:29.965" v="99725" actId="947"/>
          <ac:spMkLst>
            <pc:docMk/>
            <pc:sldMk cId="2508342982" sldId="363"/>
            <ac:spMk id="56" creationId="{51956275-4DFD-2D5C-101A-70E4484C67D2}"/>
          </ac:spMkLst>
        </pc:spChg>
        <pc:spChg chg="mod">
          <ac:chgData name="Alex Jordan" userId="30755697-3be4-4efa-ad5c-ca2e4102b45a" providerId="ADAL" clId="{FC76EA98-9B1A-4F2F-9A6E-876FE3C87E8A}" dt="2025-06-25T08:46:29.965" v="99723" actId="947"/>
          <ac:spMkLst>
            <pc:docMk/>
            <pc:sldMk cId="2508342982" sldId="363"/>
            <ac:spMk id="57" creationId="{FB487CBA-EAD5-C7C2-C719-E676ED9C2E8F}"/>
          </ac:spMkLst>
        </pc:spChg>
        <pc:spChg chg="add mod">
          <ac:chgData name="Alex Jordan" userId="30755697-3be4-4efa-ad5c-ca2e4102b45a" providerId="ADAL" clId="{FC76EA98-9B1A-4F2F-9A6E-876FE3C87E8A}" dt="2025-06-25T08:46:29.965" v="99721" actId="947"/>
          <ac:spMkLst>
            <pc:docMk/>
            <pc:sldMk cId="2508342982" sldId="363"/>
            <ac:spMk id="58" creationId="{A3BC80A5-A481-9B2B-1CA9-F727B9D21BB6}"/>
          </ac:spMkLst>
        </pc:spChg>
        <pc:spChg chg="mod">
          <ac:chgData name="Alex Jordan" userId="30755697-3be4-4efa-ad5c-ca2e4102b45a" providerId="ADAL" clId="{FC76EA98-9B1A-4F2F-9A6E-876FE3C87E8A}" dt="2025-06-25T08:46:29.963" v="99719" actId="947"/>
          <ac:spMkLst>
            <pc:docMk/>
            <pc:sldMk cId="2508342982" sldId="363"/>
            <ac:spMk id="59" creationId="{3F83B8CD-994C-9691-E758-1B8B9FCB7300}"/>
          </ac:spMkLst>
        </pc:spChg>
        <pc:spChg chg="mod">
          <ac:chgData name="Alex Jordan" userId="30755697-3be4-4efa-ad5c-ca2e4102b45a" providerId="ADAL" clId="{FC76EA98-9B1A-4F2F-9A6E-876FE3C87E8A}" dt="2025-06-25T08:46:29.961" v="99717" actId="947"/>
          <ac:spMkLst>
            <pc:docMk/>
            <pc:sldMk cId="2508342982" sldId="363"/>
            <ac:spMk id="60" creationId="{B5A5438F-1B4D-C4B6-F053-1D65B3A0ADB2}"/>
          </ac:spMkLst>
        </pc:spChg>
        <pc:spChg chg="mod">
          <ac:chgData name="Alex Jordan" userId="30755697-3be4-4efa-ad5c-ca2e4102b45a" providerId="ADAL" clId="{FC76EA98-9B1A-4F2F-9A6E-876FE3C87E8A}" dt="2025-06-25T08:46:29.961" v="99715" actId="947"/>
          <ac:spMkLst>
            <pc:docMk/>
            <pc:sldMk cId="2508342982" sldId="363"/>
            <ac:spMk id="61" creationId="{1DAB2792-F4AA-8450-AE6A-19C615DF63EB}"/>
          </ac:spMkLst>
        </pc:spChg>
        <pc:spChg chg="mod">
          <ac:chgData name="Alex Jordan" userId="30755697-3be4-4efa-ad5c-ca2e4102b45a" providerId="ADAL" clId="{FC76EA98-9B1A-4F2F-9A6E-876FE3C87E8A}" dt="2025-06-25T08:46:29.959" v="99713" actId="947"/>
          <ac:spMkLst>
            <pc:docMk/>
            <pc:sldMk cId="2508342982" sldId="363"/>
            <ac:spMk id="62" creationId="{D022E64D-F7CF-AE2D-ADEA-B6E23B75C83B}"/>
          </ac:spMkLst>
        </pc:spChg>
        <pc:spChg chg="mod">
          <ac:chgData name="Alex Jordan" userId="30755697-3be4-4efa-ad5c-ca2e4102b45a" providerId="ADAL" clId="{FC76EA98-9B1A-4F2F-9A6E-876FE3C87E8A}" dt="2025-06-25T08:46:29.957" v="99711" actId="947"/>
          <ac:spMkLst>
            <pc:docMk/>
            <pc:sldMk cId="2508342982" sldId="363"/>
            <ac:spMk id="63" creationId="{2D0B4CE8-4C72-41D0-D466-8CAECF003BF1}"/>
          </ac:spMkLst>
        </pc:spChg>
        <pc:spChg chg="add mod">
          <ac:chgData name="Alex Jordan" userId="30755697-3be4-4efa-ad5c-ca2e4102b45a" providerId="ADAL" clId="{FC76EA98-9B1A-4F2F-9A6E-876FE3C87E8A}" dt="2025-06-25T08:46:29.955" v="99709" actId="947"/>
          <ac:spMkLst>
            <pc:docMk/>
            <pc:sldMk cId="2508342982" sldId="363"/>
            <ac:spMk id="64" creationId="{7105A825-B31C-7459-288D-D6760D6CAA12}"/>
          </ac:spMkLst>
        </pc:spChg>
        <pc:spChg chg="mod">
          <ac:chgData name="Alex Jordan" userId="30755697-3be4-4efa-ad5c-ca2e4102b45a" providerId="ADAL" clId="{FC76EA98-9B1A-4F2F-9A6E-876FE3C87E8A}" dt="2025-06-25T08:46:29.953" v="99707" actId="947"/>
          <ac:spMkLst>
            <pc:docMk/>
            <pc:sldMk cId="2508342982" sldId="363"/>
            <ac:spMk id="65" creationId="{C91BC351-FC71-BFEA-6DD1-11300858BC31}"/>
          </ac:spMkLst>
        </pc:spChg>
        <pc:spChg chg="add mod">
          <ac:chgData name="Alex Jordan" userId="30755697-3be4-4efa-ad5c-ca2e4102b45a" providerId="ADAL" clId="{FC76EA98-9B1A-4F2F-9A6E-876FE3C87E8A}" dt="2025-06-25T08:46:29.953" v="99705" actId="947"/>
          <ac:spMkLst>
            <pc:docMk/>
            <pc:sldMk cId="2508342982" sldId="363"/>
            <ac:spMk id="66" creationId="{004219D1-5DAB-4120-8CED-42DE2DE14140}"/>
          </ac:spMkLst>
        </pc:spChg>
        <pc:spChg chg="mod">
          <ac:chgData name="Alex Jordan" userId="30755697-3be4-4efa-ad5c-ca2e4102b45a" providerId="ADAL" clId="{FC76EA98-9B1A-4F2F-9A6E-876FE3C87E8A}" dt="2025-06-25T08:46:29.951" v="99703" actId="947"/>
          <ac:spMkLst>
            <pc:docMk/>
            <pc:sldMk cId="2508342982" sldId="363"/>
            <ac:spMk id="67" creationId="{21806BB3-F541-FF3C-ADDE-70E677F010C5}"/>
          </ac:spMkLst>
        </pc:spChg>
        <pc:spChg chg="mod">
          <ac:chgData name="Alex Jordan" userId="30755697-3be4-4efa-ad5c-ca2e4102b45a" providerId="ADAL" clId="{FC76EA98-9B1A-4F2F-9A6E-876FE3C87E8A}" dt="2025-06-25T08:46:29.949" v="99701" actId="947"/>
          <ac:spMkLst>
            <pc:docMk/>
            <pc:sldMk cId="2508342982" sldId="363"/>
            <ac:spMk id="68" creationId="{AB21B6FC-33BB-119A-D41D-8660D7EF5FA4}"/>
          </ac:spMkLst>
        </pc:spChg>
        <pc:spChg chg="add mod">
          <ac:chgData name="Alex Jordan" userId="30755697-3be4-4efa-ad5c-ca2e4102b45a" providerId="ADAL" clId="{FC76EA98-9B1A-4F2F-9A6E-876FE3C87E8A}" dt="2025-06-25T08:46:29.948" v="99699" actId="947"/>
          <ac:spMkLst>
            <pc:docMk/>
            <pc:sldMk cId="2508342982" sldId="363"/>
            <ac:spMk id="69" creationId="{0888FC6D-7C0A-6203-1EEB-7950366DC6D9}"/>
          </ac:spMkLst>
        </pc:spChg>
        <pc:spChg chg="mod">
          <ac:chgData name="Alex Jordan" userId="30755697-3be4-4efa-ad5c-ca2e4102b45a" providerId="ADAL" clId="{FC76EA98-9B1A-4F2F-9A6E-876FE3C87E8A}" dt="2025-06-25T08:46:29.946" v="99697" actId="947"/>
          <ac:spMkLst>
            <pc:docMk/>
            <pc:sldMk cId="2508342982" sldId="363"/>
            <ac:spMk id="70" creationId="{DB810827-2CD7-5A42-A04E-D5177D0B2056}"/>
          </ac:spMkLst>
        </pc:spChg>
        <pc:spChg chg="mod">
          <ac:chgData name="Alex Jordan" userId="30755697-3be4-4efa-ad5c-ca2e4102b45a" providerId="ADAL" clId="{FC76EA98-9B1A-4F2F-9A6E-876FE3C87E8A}" dt="2025-06-25T08:46:29.944" v="99695" actId="947"/>
          <ac:spMkLst>
            <pc:docMk/>
            <pc:sldMk cId="2508342982" sldId="363"/>
            <ac:spMk id="71" creationId="{1C110DB2-1EB9-8639-692B-1E8DBB25D8B1}"/>
          </ac:spMkLst>
        </pc:spChg>
        <pc:spChg chg="mod">
          <ac:chgData name="Alex Jordan" userId="30755697-3be4-4efa-ad5c-ca2e4102b45a" providerId="ADAL" clId="{FC76EA98-9B1A-4F2F-9A6E-876FE3C87E8A}" dt="2025-06-25T08:46:29.944" v="99693" actId="947"/>
          <ac:spMkLst>
            <pc:docMk/>
            <pc:sldMk cId="2508342982" sldId="363"/>
            <ac:spMk id="72" creationId="{55ED7AA5-D22D-A190-9E7E-E372DCC1D020}"/>
          </ac:spMkLst>
        </pc:spChg>
        <pc:spChg chg="add mod">
          <ac:chgData name="Alex Jordan" userId="30755697-3be4-4efa-ad5c-ca2e4102b45a" providerId="ADAL" clId="{FC76EA98-9B1A-4F2F-9A6E-876FE3C87E8A}" dt="2025-06-25T08:46:29.942" v="99691" actId="947"/>
          <ac:spMkLst>
            <pc:docMk/>
            <pc:sldMk cId="2508342982" sldId="363"/>
            <ac:spMk id="73" creationId="{A8024733-6603-A2FD-A3B5-ACB2E30768BF}"/>
          </ac:spMkLst>
        </pc:spChg>
        <pc:spChg chg="mod">
          <ac:chgData name="Alex Jordan" userId="30755697-3be4-4efa-ad5c-ca2e4102b45a" providerId="ADAL" clId="{FC76EA98-9B1A-4F2F-9A6E-876FE3C87E8A}" dt="2025-06-25T08:46:29.940" v="99689" actId="947"/>
          <ac:spMkLst>
            <pc:docMk/>
            <pc:sldMk cId="2508342982" sldId="363"/>
            <ac:spMk id="74" creationId="{78CA1788-7B20-7871-D5EB-98D25593ABAB}"/>
          </ac:spMkLst>
        </pc:spChg>
        <pc:spChg chg="mod">
          <ac:chgData name="Alex Jordan" userId="30755697-3be4-4efa-ad5c-ca2e4102b45a" providerId="ADAL" clId="{FC76EA98-9B1A-4F2F-9A6E-876FE3C87E8A}" dt="2025-06-25T08:46:29.938" v="99687" actId="947"/>
          <ac:spMkLst>
            <pc:docMk/>
            <pc:sldMk cId="2508342982" sldId="363"/>
            <ac:spMk id="75" creationId="{A2A070E7-2085-B644-B7A3-EB39D225FE77}"/>
          </ac:spMkLst>
        </pc:spChg>
        <pc:spChg chg="mod">
          <ac:chgData name="Alex Jordan" userId="30755697-3be4-4efa-ad5c-ca2e4102b45a" providerId="ADAL" clId="{FC76EA98-9B1A-4F2F-9A6E-876FE3C87E8A}" dt="2025-06-25T08:46:29.936" v="99685" actId="947"/>
          <ac:spMkLst>
            <pc:docMk/>
            <pc:sldMk cId="2508342982" sldId="363"/>
            <ac:spMk id="76" creationId="{4C1A5A02-D260-76CA-06DF-61B995B8F0CA}"/>
          </ac:spMkLst>
        </pc:spChg>
        <pc:spChg chg="mod">
          <ac:chgData name="Alex Jordan" userId="30755697-3be4-4efa-ad5c-ca2e4102b45a" providerId="ADAL" clId="{FC76EA98-9B1A-4F2F-9A6E-876FE3C87E8A}" dt="2025-06-25T08:46:29.936" v="99683" actId="947"/>
          <ac:spMkLst>
            <pc:docMk/>
            <pc:sldMk cId="2508342982" sldId="363"/>
            <ac:spMk id="77" creationId="{716D75FA-B576-7854-C4F6-AECCFDAED7D7}"/>
          </ac:spMkLst>
        </pc:spChg>
        <pc:spChg chg="mod">
          <ac:chgData name="Alex Jordan" userId="30755697-3be4-4efa-ad5c-ca2e4102b45a" providerId="ADAL" clId="{FC76EA98-9B1A-4F2F-9A6E-876FE3C87E8A}" dt="2025-06-25T08:46:29.934" v="99681" actId="947"/>
          <ac:spMkLst>
            <pc:docMk/>
            <pc:sldMk cId="2508342982" sldId="363"/>
            <ac:spMk id="78" creationId="{47DD5D27-33D0-ADD5-771D-FC5B46D02BEF}"/>
          </ac:spMkLst>
        </pc:spChg>
        <pc:spChg chg="mod">
          <ac:chgData name="Alex Jordan" userId="30755697-3be4-4efa-ad5c-ca2e4102b45a" providerId="ADAL" clId="{FC76EA98-9B1A-4F2F-9A6E-876FE3C87E8A}" dt="2025-06-25T08:46:29.928" v="99679" actId="947"/>
          <ac:spMkLst>
            <pc:docMk/>
            <pc:sldMk cId="2508342982" sldId="363"/>
            <ac:spMk id="79" creationId="{C85E2767-B1DB-429D-5E31-399D1402D0CA}"/>
          </ac:spMkLst>
        </pc:spChg>
        <pc:spChg chg="mod">
          <ac:chgData name="Alex Jordan" userId="30755697-3be4-4efa-ad5c-ca2e4102b45a" providerId="ADAL" clId="{FC76EA98-9B1A-4F2F-9A6E-876FE3C87E8A}" dt="2025-06-25T08:46:29.928" v="99677" actId="947"/>
          <ac:spMkLst>
            <pc:docMk/>
            <pc:sldMk cId="2508342982" sldId="363"/>
            <ac:spMk id="80" creationId="{B6252D60-F6A7-BE86-7FA0-B1A681805934}"/>
          </ac:spMkLst>
        </pc:spChg>
        <pc:spChg chg="add mod">
          <ac:chgData name="Alex Jordan" userId="30755697-3be4-4efa-ad5c-ca2e4102b45a" providerId="ADAL" clId="{FC76EA98-9B1A-4F2F-9A6E-876FE3C87E8A}" dt="2025-06-25T08:46:29.928" v="99675" actId="947"/>
          <ac:spMkLst>
            <pc:docMk/>
            <pc:sldMk cId="2508342982" sldId="363"/>
            <ac:spMk id="81" creationId="{1C772EC2-59C3-9784-DD7D-3E19AE39F37D}"/>
          </ac:spMkLst>
        </pc:spChg>
        <pc:spChg chg="mod">
          <ac:chgData name="Alex Jordan" userId="30755697-3be4-4efa-ad5c-ca2e4102b45a" providerId="ADAL" clId="{FC76EA98-9B1A-4F2F-9A6E-876FE3C87E8A}" dt="2025-06-25T08:46:29.928" v="99673" actId="947"/>
          <ac:spMkLst>
            <pc:docMk/>
            <pc:sldMk cId="2508342982" sldId="363"/>
            <ac:spMk id="82" creationId="{037E12FF-76F6-05AD-C148-9FB88A06FB42}"/>
          </ac:spMkLst>
        </pc:spChg>
        <pc:spChg chg="mod">
          <ac:chgData name="Alex Jordan" userId="30755697-3be4-4efa-ad5c-ca2e4102b45a" providerId="ADAL" clId="{FC76EA98-9B1A-4F2F-9A6E-876FE3C87E8A}" dt="2025-06-25T08:46:29.918" v="99671" actId="947"/>
          <ac:spMkLst>
            <pc:docMk/>
            <pc:sldMk cId="2508342982" sldId="363"/>
            <ac:spMk id="83" creationId="{B083DD55-6596-8C55-F445-FF76E6D9F347}"/>
          </ac:spMkLst>
        </pc:spChg>
        <pc:spChg chg="mod">
          <ac:chgData name="Alex Jordan" userId="30755697-3be4-4efa-ad5c-ca2e4102b45a" providerId="ADAL" clId="{FC76EA98-9B1A-4F2F-9A6E-876FE3C87E8A}" dt="2025-06-25T08:46:29.918" v="99669" actId="947"/>
          <ac:spMkLst>
            <pc:docMk/>
            <pc:sldMk cId="2508342982" sldId="363"/>
            <ac:spMk id="84" creationId="{3E004E18-E129-DC88-B095-A8D1ABBBA333}"/>
          </ac:spMkLst>
        </pc:spChg>
        <pc:spChg chg="add mod">
          <ac:chgData name="Alex Jordan" userId="30755697-3be4-4efa-ad5c-ca2e4102b45a" providerId="ADAL" clId="{FC76EA98-9B1A-4F2F-9A6E-876FE3C87E8A}" dt="2025-06-27T11:06:36.749" v="104812"/>
          <ac:spMkLst>
            <pc:docMk/>
            <pc:sldMk cId="2508342982" sldId="363"/>
            <ac:spMk id="85" creationId="{8ABC1A41-49D7-B869-D9A2-97F0AC1B8FA2}"/>
          </ac:spMkLst>
        </pc:spChg>
        <pc:spChg chg="add mod ord">
          <ac:chgData name="Alex Jordan" userId="30755697-3be4-4efa-ad5c-ca2e4102b45a" providerId="ADAL" clId="{FC76EA98-9B1A-4F2F-9A6E-876FE3C87E8A}" dt="2025-06-25T08:46:29.990" v="99749" actId="947"/>
          <ac:spMkLst>
            <pc:docMk/>
            <pc:sldMk cId="2508342982" sldId="363"/>
            <ac:spMk id="86" creationId="{F8AA62CD-62A6-D8D7-8879-77B44AC8E413}"/>
          </ac:spMkLst>
        </pc:spChg>
        <pc:spChg chg="add mod ord">
          <ac:chgData name="Alex Jordan" userId="30755697-3be4-4efa-ad5c-ca2e4102b45a" providerId="ADAL" clId="{FC76EA98-9B1A-4F2F-9A6E-876FE3C87E8A}" dt="2025-06-25T08:46:29.992" v="99751" actId="947"/>
          <ac:spMkLst>
            <pc:docMk/>
            <pc:sldMk cId="2508342982" sldId="363"/>
            <ac:spMk id="87" creationId="{35933944-9BA2-8ECA-B70B-879EAFC1A4D6}"/>
          </ac:spMkLst>
        </pc:spChg>
        <pc:spChg chg="mod ord">
          <ac:chgData name="Alex Jordan" userId="30755697-3be4-4efa-ad5c-ca2e4102b45a" providerId="ADAL" clId="{FC76EA98-9B1A-4F2F-9A6E-876FE3C87E8A}" dt="2025-06-25T08:46:29.994" v="99753" actId="947"/>
          <ac:spMkLst>
            <pc:docMk/>
            <pc:sldMk cId="2508342982" sldId="363"/>
            <ac:spMk id="88" creationId="{C258E4BA-B2C6-EF1F-24A0-A89A88294F33}"/>
          </ac:spMkLst>
        </pc:spChg>
        <pc:spChg chg="add mod ord">
          <ac:chgData name="Alex Jordan" userId="30755697-3be4-4efa-ad5c-ca2e4102b45a" providerId="ADAL" clId="{FC76EA98-9B1A-4F2F-9A6E-876FE3C87E8A}" dt="2025-06-25T08:46:29.994" v="99755" actId="947"/>
          <ac:spMkLst>
            <pc:docMk/>
            <pc:sldMk cId="2508342982" sldId="363"/>
            <ac:spMk id="89" creationId="{9B0A6456-A7A7-6C9E-BE28-8613B59EF333}"/>
          </ac:spMkLst>
        </pc:spChg>
        <pc:spChg chg="mod ord">
          <ac:chgData name="Alex Jordan" userId="30755697-3be4-4efa-ad5c-ca2e4102b45a" providerId="ADAL" clId="{FC76EA98-9B1A-4F2F-9A6E-876FE3C87E8A}" dt="2025-06-25T08:46:29.997" v="99757" actId="947"/>
          <ac:spMkLst>
            <pc:docMk/>
            <pc:sldMk cId="2508342982" sldId="363"/>
            <ac:spMk id="90" creationId="{018CA94B-8A74-C98D-AEA4-9256C652FF36}"/>
          </ac:spMkLst>
        </pc:spChg>
        <pc:spChg chg="mod ord">
          <ac:chgData name="Alex Jordan" userId="30755697-3be4-4efa-ad5c-ca2e4102b45a" providerId="ADAL" clId="{FC76EA98-9B1A-4F2F-9A6E-876FE3C87E8A}" dt="2025-06-25T08:46:30" v="99759" actId="947"/>
          <ac:spMkLst>
            <pc:docMk/>
            <pc:sldMk cId="2508342982" sldId="363"/>
            <ac:spMk id="91" creationId="{CF607337-1591-7BBB-822A-393472E1CCC8}"/>
          </ac:spMkLst>
        </pc:spChg>
        <pc:spChg chg="mod ord">
          <ac:chgData name="Alex Jordan" userId="30755697-3be4-4efa-ad5c-ca2e4102b45a" providerId="ADAL" clId="{FC76EA98-9B1A-4F2F-9A6E-876FE3C87E8A}" dt="2025-06-25T08:46:30.024" v="99785" actId="947"/>
          <ac:spMkLst>
            <pc:docMk/>
            <pc:sldMk cId="2508342982" sldId="363"/>
            <ac:spMk id="98" creationId="{F4009278-33B5-5AE6-9B7F-3E6D5CCD1948}"/>
          </ac:spMkLst>
        </pc:spChg>
        <pc:spChg chg="mod ord">
          <ac:chgData name="Alex Jordan" userId="30755697-3be4-4efa-ad5c-ca2e4102b45a" providerId="ADAL" clId="{FC76EA98-9B1A-4F2F-9A6E-876FE3C87E8A}" dt="2025-06-25T08:46:30.026" v="99787" actId="947"/>
          <ac:spMkLst>
            <pc:docMk/>
            <pc:sldMk cId="2508342982" sldId="363"/>
            <ac:spMk id="99" creationId="{6A31B89B-BE1B-A53A-B61E-D9CE7FEC6F13}"/>
          </ac:spMkLst>
        </pc:spChg>
        <pc:spChg chg="add mod ord">
          <ac:chgData name="Alex Jordan" userId="30755697-3be4-4efa-ad5c-ca2e4102b45a" providerId="ADAL" clId="{FC76EA98-9B1A-4F2F-9A6E-876FE3C87E8A}" dt="2025-06-25T08:46:30.028" v="99789" actId="947"/>
          <ac:spMkLst>
            <pc:docMk/>
            <pc:sldMk cId="2508342982" sldId="363"/>
            <ac:spMk id="100" creationId="{DE86354D-876F-2D9A-DF57-ED68F499B0DD}"/>
          </ac:spMkLst>
        </pc:spChg>
        <pc:spChg chg="mod ord">
          <ac:chgData name="Alex Jordan" userId="30755697-3be4-4efa-ad5c-ca2e4102b45a" providerId="ADAL" clId="{FC76EA98-9B1A-4F2F-9A6E-876FE3C87E8A}" dt="2025-06-25T08:46:30.031" v="99791" actId="947"/>
          <ac:spMkLst>
            <pc:docMk/>
            <pc:sldMk cId="2508342982" sldId="363"/>
            <ac:spMk id="101" creationId="{4254AC4E-749C-7704-00AF-FBEAD5CC26D7}"/>
          </ac:spMkLst>
        </pc:spChg>
        <pc:spChg chg="add mod ord">
          <ac:chgData name="Alex Jordan" userId="30755697-3be4-4efa-ad5c-ca2e4102b45a" providerId="ADAL" clId="{FC76EA98-9B1A-4F2F-9A6E-876FE3C87E8A}" dt="2025-06-25T08:46:30.031" v="99793" actId="947"/>
          <ac:spMkLst>
            <pc:docMk/>
            <pc:sldMk cId="2508342982" sldId="363"/>
            <ac:spMk id="102" creationId="{13B1C0F0-7659-6455-C563-E0724F7D3EFD}"/>
          </ac:spMkLst>
        </pc:spChg>
        <pc:spChg chg="mod ord">
          <ac:chgData name="Alex Jordan" userId="30755697-3be4-4efa-ad5c-ca2e4102b45a" providerId="ADAL" clId="{FC76EA98-9B1A-4F2F-9A6E-876FE3C87E8A}" dt="2025-06-25T08:46:30.034" v="99795" actId="947"/>
          <ac:spMkLst>
            <pc:docMk/>
            <pc:sldMk cId="2508342982" sldId="363"/>
            <ac:spMk id="103" creationId="{4EF77599-AD05-2B4C-2562-01BEB43045D6}"/>
          </ac:spMkLst>
        </pc:spChg>
        <pc:spChg chg="mod ord">
          <ac:chgData name="Alex Jordan" userId="30755697-3be4-4efa-ad5c-ca2e4102b45a" providerId="ADAL" clId="{FC76EA98-9B1A-4F2F-9A6E-876FE3C87E8A}" dt="2025-06-25T08:46:30.036" v="99797" actId="947"/>
          <ac:spMkLst>
            <pc:docMk/>
            <pc:sldMk cId="2508342982" sldId="363"/>
            <ac:spMk id="104" creationId="{92320C04-E4EC-8765-7AB3-E1109504EFA6}"/>
          </ac:spMkLst>
        </pc:spChg>
        <pc:spChg chg="mod ord">
          <ac:chgData name="Alex Jordan" userId="30755697-3be4-4efa-ad5c-ca2e4102b45a" providerId="ADAL" clId="{FC76EA98-9B1A-4F2F-9A6E-876FE3C87E8A}" dt="2025-06-25T08:46:30.038" v="99799" actId="947"/>
          <ac:spMkLst>
            <pc:docMk/>
            <pc:sldMk cId="2508342982" sldId="363"/>
            <ac:spMk id="105" creationId="{15B7BC91-6D2D-A189-DF78-67FFD00EAC66}"/>
          </ac:spMkLst>
        </pc:spChg>
        <pc:spChg chg="add mod ord">
          <ac:chgData name="Alex Jordan" userId="30755697-3be4-4efa-ad5c-ca2e4102b45a" providerId="ADAL" clId="{FC76EA98-9B1A-4F2F-9A6E-876FE3C87E8A}" dt="2025-06-25T08:46:30.040" v="99801" actId="947"/>
          <ac:spMkLst>
            <pc:docMk/>
            <pc:sldMk cId="2508342982" sldId="363"/>
            <ac:spMk id="106" creationId="{7503255D-46B4-2556-71D6-B850D1C9407B}"/>
          </ac:spMkLst>
        </pc:spChg>
        <pc:spChg chg="mod ord">
          <ac:chgData name="Alex Jordan" userId="30755697-3be4-4efa-ad5c-ca2e4102b45a" providerId="ADAL" clId="{FC76EA98-9B1A-4F2F-9A6E-876FE3C87E8A}" dt="2025-06-25T08:46:30.042" v="99803" actId="947"/>
          <ac:spMkLst>
            <pc:docMk/>
            <pc:sldMk cId="2508342982" sldId="363"/>
            <ac:spMk id="107" creationId="{79378DF6-461E-27E8-708C-2E04E95FE022}"/>
          </ac:spMkLst>
        </pc:spChg>
        <pc:spChg chg="mod ord">
          <ac:chgData name="Alex Jordan" userId="30755697-3be4-4efa-ad5c-ca2e4102b45a" providerId="ADAL" clId="{FC76EA98-9B1A-4F2F-9A6E-876FE3C87E8A}" dt="2025-06-25T08:46:30.045" v="99805" actId="947"/>
          <ac:spMkLst>
            <pc:docMk/>
            <pc:sldMk cId="2508342982" sldId="363"/>
            <ac:spMk id="108" creationId="{32BAB6B3-8CF1-3AD4-38F4-671188DA7297}"/>
          </ac:spMkLst>
        </pc:spChg>
        <pc:spChg chg="mod ord">
          <ac:chgData name="Alex Jordan" userId="30755697-3be4-4efa-ad5c-ca2e4102b45a" providerId="ADAL" clId="{FC76EA98-9B1A-4F2F-9A6E-876FE3C87E8A}" dt="2025-06-25T08:46:30.047" v="99807" actId="947"/>
          <ac:spMkLst>
            <pc:docMk/>
            <pc:sldMk cId="2508342982" sldId="363"/>
            <ac:spMk id="109" creationId="{F3EE792B-FBB8-1BE3-F77C-9CEB3A39D2F3}"/>
          </ac:spMkLst>
        </pc:spChg>
        <pc:spChg chg="mod ord">
          <ac:chgData name="Alex Jordan" userId="30755697-3be4-4efa-ad5c-ca2e4102b45a" providerId="ADAL" clId="{FC76EA98-9B1A-4F2F-9A6E-876FE3C87E8A}" dt="2025-06-25T08:46:30.049" v="99809" actId="947"/>
          <ac:spMkLst>
            <pc:docMk/>
            <pc:sldMk cId="2508342982" sldId="363"/>
            <ac:spMk id="110" creationId="{5A056F83-09D2-864C-9897-8A3AE10B2B0C}"/>
          </ac:spMkLst>
        </pc:spChg>
        <pc:spChg chg="mod ord">
          <ac:chgData name="Alex Jordan" userId="30755697-3be4-4efa-ad5c-ca2e4102b45a" providerId="ADAL" clId="{FC76EA98-9B1A-4F2F-9A6E-876FE3C87E8A}" dt="2025-06-25T08:46:30.049" v="99811" actId="947"/>
          <ac:spMkLst>
            <pc:docMk/>
            <pc:sldMk cId="2508342982" sldId="363"/>
            <ac:spMk id="111" creationId="{C508B95D-EECD-D077-B325-686F4646B210}"/>
          </ac:spMkLst>
        </pc:spChg>
        <pc:spChg chg="add mod ord">
          <ac:chgData name="Alex Jordan" userId="30755697-3be4-4efa-ad5c-ca2e4102b45a" providerId="ADAL" clId="{FC76EA98-9B1A-4F2F-9A6E-876FE3C87E8A}" dt="2025-06-25T08:46:30.053" v="99813" actId="947"/>
          <ac:spMkLst>
            <pc:docMk/>
            <pc:sldMk cId="2508342982" sldId="363"/>
            <ac:spMk id="112" creationId="{00CB3E17-E540-2CF4-CE47-2D8CF80FD439}"/>
          </ac:spMkLst>
        </pc:spChg>
        <pc:spChg chg="mod ord">
          <ac:chgData name="Alex Jordan" userId="30755697-3be4-4efa-ad5c-ca2e4102b45a" providerId="ADAL" clId="{FC76EA98-9B1A-4F2F-9A6E-876FE3C87E8A}" dt="2025-06-25T08:46:30.054" v="99815" actId="947"/>
          <ac:spMkLst>
            <pc:docMk/>
            <pc:sldMk cId="2508342982" sldId="363"/>
            <ac:spMk id="113" creationId="{55F832EE-8AB0-9920-28F9-18B9C819DA36}"/>
          </ac:spMkLst>
        </pc:spChg>
        <pc:spChg chg="mod ord">
          <ac:chgData name="Alex Jordan" userId="30755697-3be4-4efa-ad5c-ca2e4102b45a" providerId="ADAL" clId="{FC76EA98-9B1A-4F2F-9A6E-876FE3C87E8A}" dt="2025-06-25T08:46:30.054" v="99817" actId="947"/>
          <ac:spMkLst>
            <pc:docMk/>
            <pc:sldMk cId="2508342982" sldId="363"/>
            <ac:spMk id="114" creationId="{AE93DEE0-A2A4-ED9A-0315-E181DF941451}"/>
          </ac:spMkLst>
        </pc:spChg>
        <pc:spChg chg="mod ord">
          <ac:chgData name="Alex Jordan" userId="30755697-3be4-4efa-ad5c-ca2e4102b45a" providerId="ADAL" clId="{FC76EA98-9B1A-4F2F-9A6E-876FE3C87E8A}" dt="2025-06-25T08:46:30.057" v="99819" actId="947"/>
          <ac:spMkLst>
            <pc:docMk/>
            <pc:sldMk cId="2508342982" sldId="363"/>
            <ac:spMk id="115" creationId="{D6EA1A6C-722C-CDEF-0784-0FD9AB75121C}"/>
          </ac:spMkLst>
        </pc:spChg>
        <pc:spChg chg="mod ord">
          <ac:chgData name="Alex Jordan" userId="30755697-3be4-4efa-ad5c-ca2e4102b45a" providerId="ADAL" clId="{FC76EA98-9B1A-4F2F-9A6E-876FE3C87E8A}" dt="2025-06-25T08:46:30.059" v="99821" actId="947"/>
          <ac:spMkLst>
            <pc:docMk/>
            <pc:sldMk cId="2508342982" sldId="363"/>
            <ac:spMk id="116" creationId="{322B5DAF-FD45-DEBE-C164-AEA944627645}"/>
          </ac:spMkLst>
        </pc:spChg>
        <pc:spChg chg="mod">
          <ac:chgData name="Alex Jordan" userId="30755697-3be4-4efa-ad5c-ca2e4102b45a" providerId="ADAL" clId="{FC76EA98-9B1A-4F2F-9A6E-876FE3C87E8A}" dt="2025-06-25T08:46:30.013" v="99783" actId="947"/>
          <ac:spMkLst>
            <pc:docMk/>
            <pc:sldMk cId="2508342982" sldId="363"/>
            <ac:spMk id="117" creationId="{DF95825D-9A11-F832-CC90-74E583F838D0}"/>
          </ac:spMkLst>
        </pc:spChg>
        <pc:spChg chg="add mod">
          <ac:chgData name="Alex Jordan" userId="30755697-3be4-4efa-ad5c-ca2e4102b45a" providerId="ADAL" clId="{FC76EA98-9B1A-4F2F-9A6E-876FE3C87E8A}" dt="2025-06-25T08:46:32.056" v="101958" actId="790"/>
          <ac:spMkLst>
            <pc:docMk/>
            <pc:sldMk cId="2508342982" sldId="363"/>
            <ac:spMk id="118" creationId="{99953003-FBC1-B04E-2CB2-30BCEFE7F137}"/>
          </ac:spMkLst>
        </pc:spChg>
        <pc:spChg chg="mod">
          <ac:chgData name="Alex Jordan" userId="30755697-3be4-4efa-ad5c-ca2e4102b45a" providerId="ADAL" clId="{FC76EA98-9B1A-4F2F-9A6E-876FE3C87E8A}" dt="2025-06-25T08:46:30.013" v="99779" actId="947"/>
          <ac:spMkLst>
            <pc:docMk/>
            <pc:sldMk cId="2508342982" sldId="363"/>
            <ac:spMk id="119" creationId="{A284273C-1E1B-6BF4-9BB6-19C834584F5D}"/>
          </ac:spMkLst>
        </pc:spChg>
        <pc:spChg chg="mod">
          <ac:chgData name="Alex Jordan" userId="30755697-3be4-4efa-ad5c-ca2e4102b45a" providerId="ADAL" clId="{FC76EA98-9B1A-4F2F-9A6E-876FE3C87E8A}" dt="2025-06-25T08:46:30.013" v="99777" actId="947"/>
          <ac:spMkLst>
            <pc:docMk/>
            <pc:sldMk cId="2508342982" sldId="363"/>
            <ac:spMk id="120" creationId="{465496B8-8076-8C92-BAF8-B1BBE0A2D7EC}"/>
          </ac:spMkLst>
        </pc:spChg>
        <pc:spChg chg="mod">
          <ac:chgData name="Alex Jordan" userId="30755697-3be4-4efa-ad5c-ca2e4102b45a" providerId="ADAL" clId="{FC76EA98-9B1A-4F2F-9A6E-876FE3C87E8A}" dt="2025-06-25T08:46:30.013" v="99775" actId="947"/>
          <ac:spMkLst>
            <pc:docMk/>
            <pc:sldMk cId="2508342982" sldId="363"/>
            <ac:spMk id="121" creationId="{E2D19B3A-9BAC-83B8-4539-2A14975EE9BA}"/>
          </ac:spMkLst>
        </pc:spChg>
        <pc:spChg chg="mod">
          <ac:chgData name="Alex Jordan" userId="30755697-3be4-4efa-ad5c-ca2e4102b45a" providerId="ADAL" clId="{FC76EA98-9B1A-4F2F-9A6E-876FE3C87E8A}" dt="2025-06-25T08:46:30.012" v="99773" actId="947"/>
          <ac:spMkLst>
            <pc:docMk/>
            <pc:sldMk cId="2508342982" sldId="363"/>
            <ac:spMk id="122" creationId="{36D98C53-330B-8AF3-8472-957F6F6A3439}"/>
          </ac:spMkLst>
        </pc:spChg>
        <pc:spChg chg="mod">
          <ac:chgData name="Alex Jordan" userId="30755697-3be4-4efa-ad5c-ca2e4102b45a" providerId="ADAL" clId="{FC76EA98-9B1A-4F2F-9A6E-876FE3C87E8A}" dt="2025-06-25T08:46:30.010" v="99771" actId="947"/>
          <ac:spMkLst>
            <pc:docMk/>
            <pc:sldMk cId="2508342982" sldId="363"/>
            <ac:spMk id="123" creationId="{4FE856A4-5A78-F09F-06BD-310FC83B3D29}"/>
          </ac:spMkLst>
        </pc:spChg>
        <pc:spChg chg="add mod">
          <ac:chgData name="Alex Jordan" userId="30755697-3be4-4efa-ad5c-ca2e4102b45a" providerId="ADAL" clId="{FC76EA98-9B1A-4F2F-9A6E-876FE3C87E8A}" dt="2025-06-25T08:46:30.008" v="99769" actId="947"/>
          <ac:spMkLst>
            <pc:docMk/>
            <pc:sldMk cId="2508342982" sldId="363"/>
            <ac:spMk id="124" creationId="{69CCD597-3678-DB82-5EA6-A249C9BABF01}"/>
          </ac:spMkLst>
        </pc:spChg>
        <pc:spChg chg="mod">
          <ac:chgData name="Alex Jordan" userId="30755697-3be4-4efa-ad5c-ca2e4102b45a" providerId="ADAL" clId="{FC76EA98-9B1A-4F2F-9A6E-876FE3C87E8A}" dt="2025-06-25T08:46:30.006" v="99767" actId="947"/>
          <ac:spMkLst>
            <pc:docMk/>
            <pc:sldMk cId="2508342982" sldId="363"/>
            <ac:spMk id="125" creationId="{A6F3F166-41FB-186A-29EB-D713A95A0C8E}"/>
          </ac:spMkLst>
        </pc:spChg>
        <pc:spChg chg="mod">
          <ac:chgData name="Alex Jordan" userId="30755697-3be4-4efa-ad5c-ca2e4102b45a" providerId="ADAL" clId="{FC76EA98-9B1A-4F2F-9A6E-876FE3C87E8A}" dt="2025-06-25T08:46:32.056" v="101958" actId="790"/>
          <ac:spMkLst>
            <pc:docMk/>
            <pc:sldMk cId="2508342982" sldId="363"/>
            <ac:spMk id="126" creationId="{94B605CF-754A-93B7-6F0C-15FFDA446816}"/>
          </ac:spMkLst>
        </pc:spChg>
        <pc:spChg chg="add mod">
          <ac:chgData name="Alex Jordan" userId="30755697-3be4-4efa-ad5c-ca2e4102b45a" providerId="ADAL" clId="{FC76EA98-9B1A-4F2F-9A6E-876FE3C87E8A}" dt="2025-06-25T08:46:30.002" v="99763" actId="947"/>
          <ac:spMkLst>
            <pc:docMk/>
            <pc:sldMk cId="2508342982" sldId="363"/>
            <ac:spMk id="127" creationId="{6780E36C-5247-EE84-77B2-0B5599641D8F}"/>
          </ac:spMkLst>
        </pc:spChg>
        <pc:spChg chg="mod">
          <ac:chgData name="Alex Jordan" userId="30755697-3be4-4efa-ad5c-ca2e4102b45a" providerId="ADAL" clId="{FC76EA98-9B1A-4F2F-9A6E-876FE3C87E8A}" dt="2025-06-25T08:46:32.056" v="101958" actId="790"/>
          <ac:spMkLst>
            <pc:docMk/>
            <pc:sldMk cId="2508342982" sldId="363"/>
            <ac:spMk id="128" creationId="{AC6C528C-E19B-B834-A407-4335BB145304}"/>
          </ac:spMkLst>
        </pc:spChg>
        <pc:spChg chg="add mod ord">
          <ac:chgData name="Alex Jordan" userId="30755697-3be4-4efa-ad5c-ca2e4102b45a" providerId="ADAL" clId="{FC76EA98-9B1A-4F2F-9A6E-876FE3C87E8A}" dt="2025-06-25T08:46:29.870" v="99607" actId="947"/>
          <ac:spMkLst>
            <pc:docMk/>
            <pc:sldMk cId="2508342982" sldId="363"/>
            <ac:spMk id="129" creationId="{6DEF486C-19DC-0E1E-8042-0EDDC54007CC}"/>
          </ac:spMkLst>
        </pc:spChg>
        <pc:spChg chg="add mod">
          <ac:chgData name="Alex Jordan" userId="30755697-3be4-4efa-ad5c-ca2e4102b45a" providerId="ADAL" clId="{FC76EA98-9B1A-4F2F-9A6E-876FE3C87E8A}" dt="2025-06-27T11:06:36.749" v="104812"/>
          <ac:spMkLst>
            <pc:docMk/>
            <pc:sldMk cId="2508342982" sldId="363"/>
            <ac:spMk id="130" creationId="{AED42987-BB09-5DB0-48BD-9B2E1FBBDF30}"/>
          </ac:spMkLst>
        </pc:spChg>
        <pc:spChg chg="add mod">
          <ac:chgData name="Alex Jordan" userId="30755697-3be4-4efa-ad5c-ca2e4102b45a" providerId="ADAL" clId="{FC76EA98-9B1A-4F2F-9A6E-876FE3C87E8A}" dt="2025-06-27T11:06:36.749" v="104812"/>
          <ac:spMkLst>
            <pc:docMk/>
            <pc:sldMk cId="2508342982" sldId="363"/>
            <ac:spMk id="132" creationId="{629D04AF-6BA4-F879-4240-65282D44F3DF}"/>
          </ac:spMkLst>
        </pc:spChg>
        <pc:grpChg chg="mod">
          <ac:chgData name="Alex Jordan" userId="30755697-3be4-4efa-ad5c-ca2e4102b45a" providerId="ADAL" clId="{FC76EA98-9B1A-4F2F-9A6E-876FE3C87E8A}" dt="2025-06-25T07:37:49.188" v="98059" actId="164"/>
          <ac:grpSpMkLst>
            <pc:docMk/>
            <pc:sldMk cId="2508342982" sldId="363"/>
            <ac:grpSpMk id="11" creationId="{192EB052-8D2E-398A-782D-724A1D8DF4DC}"/>
          </ac:grpSpMkLst>
        </pc:grpChg>
        <pc:grpChg chg="mod">
          <ac:chgData name="Alex Jordan" userId="30755697-3be4-4efa-ad5c-ca2e4102b45a" providerId="ADAL" clId="{FC76EA98-9B1A-4F2F-9A6E-876FE3C87E8A}" dt="2025-06-25T07:37:49.188" v="98059" actId="164"/>
          <ac:grpSpMkLst>
            <pc:docMk/>
            <pc:sldMk cId="2508342982" sldId="363"/>
            <ac:grpSpMk id="15" creationId="{5D4346B3-41A5-8E2B-1901-2EDF9AD417C1}"/>
          </ac:grpSpMkLst>
        </pc:grpChg>
        <pc:grpChg chg="add mod ord">
          <ac:chgData name="Alex Jordan" userId="30755697-3be4-4efa-ad5c-ca2e4102b45a" providerId="ADAL" clId="{FC76EA98-9B1A-4F2F-9A6E-876FE3C87E8A}" dt="2025-06-25T07:49:05.271" v="98391" actId="1076"/>
          <ac:grpSpMkLst>
            <pc:docMk/>
            <pc:sldMk cId="2508342982" sldId="363"/>
            <ac:grpSpMk id="41" creationId="{DE848790-AACA-A76E-F3A4-5D5F83C4D3BD}"/>
          </ac:grpSpMkLst>
        </pc:grpChg>
        <pc:grpChg chg="mod ord">
          <ac:chgData name="Alex Jordan" userId="30755697-3be4-4efa-ad5c-ca2e4102b45a" providerId="ADAL" clId="{FC76EA98-9B1A-4F2F-9A6E-876FE3C87E8A}" dt="2025-06-25T07:44:22.365" v="98141"/>
          <ac:grpSpMkLst>
            <pc:docMk/>
            <pc:sldMk cId="2508342982" sldId="363"/>
            <ac:grpSpMk id="42" creationId="{BE1855FA-C4E7-C8FD-49C7-8C83CC0D7CB9}"/>
          </ac:grpSpMkLst>
        </pc:grpChg>
        <pc:grpChg chg="mod ord">
          <ac:chgData name="Alex Jordan" userId="30755697-3be4-4efa-ad5c-ca2e4102b45a" providerId="ADAL" clId="{FC76EA98-9B1A-4F2F-9A6E-876FE3C87E8A}" dt="2025-06-25T07:44:22.367" v="98143"/>
          <ac:grpSpMkLst>
            <pc:docMk/>
            <pc:sldMk cId="2508342982" sldId="363"/>
            <ac:grpSpMk id="43" creationId="{E3877850-23F4-C582-C50B-BE61CB7B1DE7}"/>
          </ac:grpSpMkLst>
        </pc:grpChg>
        <pc:grpChg chg="mod ord">
          <ac:chgData name="Alex Jordan" userId="30755697-3be4-4efa-ad5c-ca2e4102b45a" providerId="ADAL" clId="{FC76EA98-9B1A-4F2F-9A6E-876FE3C87E8A}" dt="2025-06-25T07:44:22.367" v="98145"/>
          <ac:grpSpMkLst>
            <pc:docMk/>
            <pc:sldMk cId="2508342982" sldId="363"/>
            <ac:grpSpMk id="44" creationId="{9D920947-E7DC-E0DA-3210-FB90B76D2A45}"/>
          </ac:grpSpMkLst>
        </pc:grpChg>
        <pc:grpChg chg="mod ord">
          <ac:chgData name="Alex Jordan" userId="30755697-3be4-4efa-ad5c-ca2e4102b45a" providerId="ADAL" clId="{FC76EA98-9B1A-4F2F-9A6E-876FE3C87E8A}" dt="2025-06-25T07:44:22.378" v="98179"/>
          <ac:grpSpMkLst>
            <pc:docMk/>
            <pc:sldMk cId="2508342982" sldId="363"/>
            <ac:grpSpMk id="92" creationId="{DDDBBFD7-8179-95F6-9B95-B65371A0B77C}"/>
          </ac:grpSpMkLst>
        </pc:grpChg>
        <pc:grpChg chg="mod ord">
          <ac:chgData name="Alex Jordan" userId="30755697-3be4-4efa-ad5c-ca2e4102b45a" providerId="ADAL" clId="{FC76EA98-9B1A-4F2F-9A6E-876FE3C87E8A}" dt="2025-06-25T07:44:22.378" v="98181"/>
          <ac:grpSpMkLst>
            <pc:docMk/>
            <pc:sldMk cId="2508342982" sldId="363"/>
            <ac:grpSpMk id="93" creationId="{4EEBE447-FC22-A426-302B-89E34F3D38D4}"/>
          </ac:grpSpMkLst>
        </pc:grpChg>
        <pc:grpChg chg="mod ord">
          <ac:chgData name="Alex Jordan" userId="30755697-3be4-4efa-ad5c-ca2e4102b45a" providerId="ADAL" clId="{FC76EA98-9B1A-4F2F-9A6E-876FE3C87E8A}" dt="2025-06-25T07:44:22.379" v="98183"/>
          <ac:grpSpMkLst>
            <pc:docMk/>
            <pc:sldMk cId="2508342982" sldId="363"/>
            <ac:grpSpMk id="94" creationId="{9B155D35-5F4D-EDD1-E5E2-0DAC30B806DD}"/>
          </ac:grpSpMkLst>
        </pc:grpChg>
        <pc:grpChg chg="mod ord">
          <ac:chgData name="Alex Jordan" userId="30755697-3be4-4efa-ad5c-ca2e4102b45a" providerId="ADAL" clId="{FC76EA98-9B1A-4F2F-9A6E-876FE3C87E8A}" dt="2025-06-25T07:44:22.379" v="98185"/>
          <ac:grpSpMkLst>
            <pc:docMk/>
            <pc:sldMk cId="2508342982" sldId="363"/>
            <ac:grpSpMk id="95" creationId="{C86E1DCB-D634-EDAE-BFDF-5CBEBBDB7901}"/>
          </ac:grpSpMkLst>
        </pc:grpChg>
        <pc:grpChg chg="mod ord">
          <ac:chgData name="Alex Jordan" userId="30755697-3be4-4efa-ad5c-ca2e4102b45a" providerId="ADAL" clId="{FC76EA98-9B1A-4F2F-9A6E-876FE3C87E8A}" dt="2025-06-25T07:44:22.379" v="98187"/>
          <ac:grpSpMkLst>
            <pc:docMk/>
            <pc:sldMk cId="2508342982" sldId="363"/>
            <ac:grpSpMk id="96" creationId="{C108CB88-1408-5E48-9931-906995D8BC9D}"/>
          </ac:grpSpMkLst>
        </pc:grpChg>
        <pc:grpChg chg="mod ord">
          <ac:chgData name="Alex Jordan" userId="30755697-3be4-4efa-ad5c-ca2e4102b45a" providerId="ADAL" clId="{FC76EA98-9B1A-4F2F-9A6E-876FE3C87E8A}" dt="2025-06-25T07:44:22.379" v="98189"/>
          <ac:grpSpMkLst>
            <pc:docMk/>
            <pc:sldMk cId="2508342982" sldId="363"/>
            <ac:grpSpMk id="97" creationId="{8395E925-60BF-2443-E19F-E47C4C8E6936}"/>
          </ac:grpSpMkLst>
        </pc:grpChg>
        <pc:graphicFrameChg chg="mod">
          <ac:chgData name="Alex Jordan" userId="30755697-3be4-4efa-ad5c-ca2e4102b45a" providerId="ADAL" clId="{FC76EA98-9B1A-4F2F-9A6E-876FE3C87E8A}" dt="2025-06-25T08:46:34.824" v="103884"/>
          <ac:graphicFrameMkLst>
            <pc:docMk/>
            <pc:sldMk cId="2508342982" sldId="363"/>
            <ac:graphicFrameMk id="7" creationId="{C27AB1D1-9BD3-82B4-EBAE-5BDFB409BD1F}"/>
          </ac:graphicFrameMkLst>
        </pc:graphicFrameChg>
        <pc:cxnChg chg="add mod">
          <ac:chgData name="Alex Jordan" userId="30755697-3be4-4efa-ad5c-ca2e4102b45a" providerId="ADAL" clId="{FC76EA98-9B1A-4F2F-9A6E-876FE3C87E8A}" dt="2025-06-25T07:49:16.741" v="98393" actId="208"/>
          <ac:cxnSpMkLst>
            <pc:docMk/>
            <pc:sldMk cId="2508342982" sldId="363"/>
            <ac:cxnSpMk id="131" creationId="{AE26987C-CA99-3926-9058-D658DFB9F801}"/>
          </ac:cxnSpMkLst>
        </pc:cxnChg>
      </pc:sldChg>
      <pc:sldChg chg="del">
        <pc:chgData name="Alex Jordan" userId="30755697-3be4-4efa-ad5c-ca2e4102b45a" providerId="ADAL" clId="{FC76EA98-9B1A-4F2F-9A6E-876FE3C87E8A}" dt="2025-06-24T13:18:50.078" v="3960" actId="47"/>
        <pc:sldMkLst>
          <pc:docMk/>
          <pc:sldMk cId="1770192883" sldId="364"/>
        </pc:sldMkLst>
      </pc:sldChg>
      <pc:sldChg chg="del">
        <pc:chgData name="Alex Jordan" userId="30755697-3be4-4efa-ad5c-ca2e4102b45a" providerId="ADAL" clId="{FC76EA98-9B1A-4F2F-9A6E-876FE3C87E8A}" dt="2025-06-24T13:18:50.078" v="3960" actId="47"/>
        <pc:sldMkLst>
          <pc:docMk/>
          <pc:sldMk cId="2697359127" sldId="365"/>
        </pc:sldMkLst>
      </pc:sldChg>
      <pc:sldChg chg="del">
        <pc:chgData name="Alex Jordan" userId="30755697-3be4-4efa-ad5c-ca2e4102b45a" providerId="ADAL" clId="{FC76EA98-9B1A-4F2F-9A6E-876FE3C87E8A}" dt="2025-06-24T13:18:50.078" v="3960" actId="47"/>
        <pc:sldMkLst>
          <pc:docMk/>
          <pc:sldMk cId="2379631090" sldId="366"/>
        </pc:sldMkLst>
      </pc:sldChg>
      <pc:sldChg chg="del">
        <pc:chgData name="Alex Jordan" userId="30755697-3be4-4efa-ad5c-ca2e4102b45a" providerId="ADAL" clId="{FC76EA98-9B1A-4F2F-9A6E-876FE3C87E8A}" dt="2025-06-24T13:13:54.349" v="3277" actId="47"/>
        <pc:sldMkLst>
          <pc:docMk/>
          <pc:sldMk cId="1052392321" sldId="367"/>
        </pc:sldMkLst>
      </pc:sldChg>
      <pc:sldChg chg="del">
        <pc:chgData name="Alex Jordan" userId="30755697-3be4-4efa-ad5c-ca2e4102b45a" providerId="ADAL" clId="{FC76EA98-9B1A-4F2F-9A6E-876FE3C87E8A}" dt="2025-06-24T13:13:54.349" v="3277" actId="47"/>
        <pc:sldMkLst>
          <pc:docMk/>
          <pc:sldMk cId="3863025001" sldId="368"/>
        </pc:sldMkLst>
      </pc:sldChg>
      <pc:sldChg chg="del">
        <pc:chgData name="Alex Jordan" userId="30755697-3be4-4efa-ad5c-ca2e4102b45a" providerId="ADAL" clId="{FC76EA98-9B1A-4F2F-9A6E-876FE3C87E8A}" dt="2025-06-24T13:13:54.349" v="3277" actId="47"/>
        <pc:sldMkLst>
          <pc:docMk/>
          <pc:sldMk cId="415383362" sldId="369"/>
        </pc:sldMkLst>
      </pc:sldChg>
      <pc:sldChg chg="del">
        <pc:chgData name="Alex Jordan" userId="30755697-3be4-4efa-ad5c-ca2e4102b45a" providerId="ADAL" clId="{FC76EA98-9B1A-4F2F-9A6E-876FE3C87E8A}" dt="2025-06-24T13:13:54.349" v="3277" actId="47"/>
        <pc:sldMkLst>
          <pc:docMk/>
          <pc:sldMk cId="435294683" sldId="370"/>
        </pc:sldMkLst>
      </pc:sldChg>
      <pc:sldChg chg="del">
        <pc:chgData name="Alex Jordan" userId="30755697-3be4-4efa-ad5c-ca2e4102b45a" providerId="ADAL" clId="{FC76EA98-9B1A-4F2F-9A6E-876FE3C87E8A}" dt="2025-06-24T13:13:54.349" v="3277" actId="47"/>
        <pc:sldMkLst>
          <pc:docMk/>
          <pc:sldMk cId="2645453210" sldId="371"/>
        </pc:sldMkLst>
      </pc:sldChg>
      <pc:sldChg chg="addSp delSp modSp add mod modNotes">
        <pc:chgData name="Alex Jordan" userId="30755697-3be4-4efa-ad5c-ca2e4102b45a" providerId="ADAL" clId="{FC76EA98-9B1A-4F2F-9A6E-876FE3C87E8A}" dt="2025-06-27T11:05:27.606" v="104780"/>
        <pc:sldMkLst>
          <pc:docMk/>
          <pc:sldMk cId="2213578473" sldId="372"/>
        </pc:sldMkLst>
        <pc:spChg chg="mod ord">
          <ac:chgData name="Alex Jordan" userId="30755697-3be4-4efa-ad5c-ca2e4102b45a" providerId="ADAL" clId="{FC76EA98-9B1A-4F2F-9A6E-876FE3C87E8A}" dt="2025-06-25T08:46:33.057" v="102252" actId="948"/>
          <ac:spMkLst>
            <pc:docMk/>
            <pc:sldMk cId="2213578473" sldId="372"/>
            <ac:spMk id="2" creationId="{FF80E921-48C2-8642-66AA-BFA9456549CD}"/>
          </ac:spMkLst>
        </pc:spChg>
        <pc:spChg chg="add mod">
          <ac:chgData name="Alex Jordan" userId="30755697-3be4-4efa-ad5c-ca2e4102b45a" providerId="ADAL" clId="{FC76EA98-9B1A-4F2F-9A6E-876FE3C87E8A}" dt="2025-06-25T08:46:32.056" v="101958" actId="790"/>
          <ac:spMkLst>
            <pc:docMk/>
            <pc:sldMk cId="2213578473" sldId="372"/>
            <ac:spMk id="3" creationId="{3536BD6A-348E-860E-48A1-5A14D29DF792}"/>
          </ac:spMkLst>
        </pc:spChg>
        <pc:spChg chg="del mod ord">
          <ac:chgData name="Alex Jordan" userId="30755697-3be4-4efa-ad5c-ca2e4102b45a" providerId="ADAL" clId="{FC76EA98-9B1A-4F2F-9A6E-876FE3C87E8A}" dt="2025-06-27T11:04:45.791" v="104754" actId="478"/>
          <ac:spMkLst>
            <pc:docMk/>
            <pc:sldMk cId="2213578473" sldId="372"/>
            <ac:spMk id="4" creationId="{0AE69EA6-3CDD-FC77-503F-A6D294BCC8D4}"/>
          </ac:spMkLst>
        </pc:spChg>
        <pc:spChg chg="del mod ord">
          <ac:chgData name="Alex Jordan" userId="30755697-3be4-4efa-ad5c-ca2e4102b45a" providerId="ADAL" clId="{FC76EA98-9B1A-4F2F-9A6E-876FE3C87E8A}" dt="2025-06-27T11:04:45.791" v="104754" actId="478"/>
          <ac:spMkLst>
            <pc:docMk/>
            <pc:sldMk cId="2213578473" sldId="372"/>
            <ac:spMk id="5" creationId="{CD776349-ACC0-BD1B-59BC-8F62ABF439C2}"/>
          </ac:spMkLst>
        </pc:spChg>
        <pc:spChg chg="del mod ord">
          <ac:chgData name="Alex Jordan" userId="30755697-3be4-4efa-ad5c-ca2e4102b45a" providerId="ADAL" clId="{FC76EA98-9B1A-4F2F-9A6E-876FE3C87E8A}" dt="2025-06-27T11:04:45.791" v="104754" actId="478"/>
          <ac:spMkLst>
            <pc:docMk/>
            <pc:sldMk cId="2213578473" sldId="372"/>
            <ac:spMk id="6" creationId="{89F37BCB-6A48-A0C0-2698-4DD93B9694E5}"/>
          </ac:spMkLst>
        </pc:spChg>
        <pc:spChg chg="del mod ord">
          <ac:chgData name="Alex Jordan" userId="30755697-3be4-4efa-ad5c-ca2e4102b45a" providerId="ADAL" clId="{FC76EA98-9B1A-4F2F-9A6E-876FE3C87E8A}" dt="2025-06-27T11:04:45.791" v="104754" actId="478"/>
          <ac:spMkLst>
            <pc:docMk/>
            <pc:sldMk cId="2213578473" sldId="372"/>
            <ac:spMk id="8" creationId="{B46BDB4B-2A0B-3D4F-59DC-9F5762859609}"/>
          </ac:spMkLst>
        </pc:spChg>
        <pc:spChg chg="del mod ord">
          <ac:chgData name="Alex Jordan" userId="30755697-3be4-4efa-ad5c-ca2e4102b45a" providerId="ADAL" clId="{FC76EA98-9B1A-4F2F-9A6E-876FE3C87E8A}" dt="2025-06-27T11:04:45.791" v="104754" actId="478"/>
          <ac:spMkLst>
            <pc:docMk/>
            <pc:sldMk cId="2213578473" sldId="372"/>
            <ac:spMk id="9" creationId="{D5A90966-2EF6-37C2-F1A1-A48E6105C890}"/>
          </ac:spMkLst>
        </pc:spChg>
        <pc:spChg chg="mod">
          <ac:chgData name="Alex Jordan" userId="30755697-3be4-4efa-ad5c-ca2e4102b45a" providerId="ADAL" clId="{FC76EA98-9B1A-4F2F-9A6E-876FE3C87E8A}" dt="2025-06-25T08:46:30.629" v="100511" actId="947"/>
          <ac:spMkLst>
            <pc:docMk/>
            <pc:sldMk cId="2213578473" sldId="372"/>
            <ac:spMk id="14" creationId="{C18321C1-2609-3247-E7C4-65231F26B6DD}"/>
          </ac:spMkLst>
        </pc:spChg>
        <pc:spChg chg="add mod">
          <ac:chgData name="Alex Jordan" userId="30755697-3be4-4efa-ad5c-ca2e4102b45a" providerId="ADAL" clId="{FC76EA98-9B1A-4F2F-9A6E-876FE3C87E8A}" dt="2025-06-25T08:46:30.626" v="100509" actId="947"/>
          <ac:spMkLst>
            <pc:docMk/>
            <pc:sldMk cId="2213578473" sldId="372"/>
            <ac:spMk id="15" creationId="{417317DC-BD89-A16E-D0FE-B10BCE74394F}"/>
          </ac:spMkLst>
        </pc:spChg>
        <pc:spChg chg="mod">
          <ac:chgData name="Alex Jordan" userId="30755697-3be4-4efa-ad5c-ca2e4102b45a" providerId="ADAL" clId="{FC76EA98-9B1A-4F2F-9A6E-876FE3C87E8A}" dt="2025-06-25T08:46:32.056" v="101958" actId="790"/>
          <ac:spMkLst>
            <pc:docMk/>
            <pc:sldMk cId="2213578473" sldId="372"/>
            <ac:spMk id="16" creationId="{20FA81FE-C883-F141-027F-520A410DF06C}"/>
          </ac:spMkLst>
        </pc:spChg>
        <pc:spChg chg="mod">
          <ac:chgData name="Alex Jordan" userId="30755697-3be4-4efa-ad5c-ca2e4102b45a" providerId="ADAL" clId="{FC76EA98-9B1A-4F2F-9A6E-876FE3C87E8A}" dt="2025-06-25T08:46:32.056" v="101958" actId="790"/>
          <ac:spMkLst>
            <pc:docMk/>
            <pc:sldMk cId="2213578473" sldId="372"/>
            <ac:spMk id="17" creationId="{3A0E2B28-295E-F725-C6A7-BB84BE16E658}"/>
          </ac:spMkLst>
        </pc:spChg>
        <pc:spChg chg="mod">
          <ac:chgData name="Alex Jordan" userId="30755697-3be4-4efa-ad5c-ca2e4102b45a" providerId="ADAL" clId="{FC76EA98-9B1A-4F2F-9A6E-876FE3C87E8A}" dt="2025-06-25T08:46:30.621" v="100503" actId="947"/>
          <ac:spMkLst>
            <pc:docMk/>
            <pc:sldMk cId="2213578473" sldId="372"/>
            <ac:spMk id="18" creationId="{A291F17D-5593-804D-1D8B-282DBBB9A2ED}"/>
          </ac:spMkLst>
        </pc:spChg>
        <pc:spChg chg="mod">
          <ac:chgData name="Alex Jordan" userId="30755697-3be4-4efa-ad5c-ca2e4102b45a" providerId="ADAL" clId="{FC76EA98-9B1A-4F2F-9A6E-876FE3C87E8A}" dt="2025-06-25T08:46:32.056" v="101958" actId="790"/>
          <ac:spMkLst>
            <pc:docMk/>
            <pc:sldMk cId="2213578473" sldId="372"/>
            <ac:spMk id="19" creationId="{C882CEEF-2646-BA06-018E-A9ADDF1D2782}"/>
          </ac:spMkLst>
        </pc:spChg>
        <pc:spChg chg="add mod">
          <ac:chgData name="Alex Jordan" userId="30755697-3be4-4efa-ad5c-ca2e4102b45a" providerId="ADAL" clId="{FC76EA98-9B1A-4F2F-9A6E-876FE3C87E8A}" dt="2025-06-25T08:46:30.619" v="100499" actId="947"/>
          <ac:spMkLst>
            <pc:docMk/>
            <pc:sldMk cId="2213578473" sldId="372"/>
            <ac:spMk id="20" creationId="{B97A7EC6-A0B4-DC5C-9D3D-3C728A1D3514}"/>
          </ac:spMkLst>
        </pc:spChg>
        <pc:spChg chg="mod">
          <ac:chgData name="Alex Jordan" userId="30755697-3be4-4efa-ad5c-ca2e4102b45a" providerId="ADAL" clId="{FC76EA98-9B1A-4F2F-9A6E-876FE3C87E8A}" dt="2025-06-25T08:46:30.617" v="100497" actId="947"/>
          <ac:spMkLst>
            <pc:docMk/>
            <pc:sldMk cId="2213578473" sldId="372"/>
            <ac:spMk id="21" creationId="{8D83B3E7-FB62-0985-96DC-9C915C359C1E}"/>
          </ac:spMkLst>
        </pc:spChg>
        <pc:spChg chg="mod">
          <ac:chgData name="Alex Jordan" userId="30755697-3be4-4efa-ad5c-ca2e4102b45a" providerId="ADAL" clId="{FC76EA98-9B1A-4F2F-9A6E-876FE3C87E8A}" dt="2025-06-25T08:46:32.056" v="101958" actId="790"/>
          <ac:spMkLst>
            <pc:docMk/>
            <pc:sldMk cId="2213578473" sldId="372"/>
            <ac:spMk id="22" creationId="{AA6B11AA-E145-334E-EB72-DA4BF85FCD58}"/>
          </ac:spMkLst>
        </pc:spChg>
        <pc:spChg chg="add mod">
          <ac:chgData name="Alex Jordan" userId="30755697-3be4-4efa-ad5c-ca2e4102b45a" providerId="ADAL" clId="{FC76EA98-9B1A-4F2F-9A6E-876FE3C87E8A}" dt="2025-06-25T08:46:30.613" v="100493" actId="947"/>
          <ac:spMkLst>
            <pc:docMk/>
            <pc:sldMk cId="2213578473" sldId="372"/>
            <ac:spMk id="23" creationId="{7130C810-78EA-477A-2C18-02080B815662}"/>
          </ac:spMkLst>
        </pc:spChg>
        <pc:spChg chg="add mod">
          <ac:chgData name="Alex Jordan" userId="30755697-3be4-4efa-ad5c-ca2e4102b45a" providerId="ADAL" clId="{FC76EA98-9B1A-4F2F-9A6E-876FE3C87E8A}" dt="2025-06-25T08:46:30.612" v="100491" actId="947"/>
          <ac:spMkLst>
            <pc:docMk/>
            <pc:sldMk cId="2213578473" sldId="372"/>
            <ac:spMk id="24" creationId="{342636AA-3C00-7315-989A-A8B6B71EAB6C}"/>
          </ac:spMkLst>
        </pc:spChg>
        <pc:spChg chg="mod">
          <ac:chgData name="Alex Jordan" userId="30755697-3be4-4efa-ad5c-ca2e4102b45a" providerId="ADAL" clId="{FC76EA98-9B1A-4F2F-9A6E-876FE3C87E8A}" dt="2025-06-25T08:46:30.610" v="100489" actId="947"/>
          <ac:spMkLst>
            <pc:docMk/>
            <pc:sldMk cId="2213578473" sldId="372"/>
            <ac:spMk id="25" creationId="{B9F2CAE5-CF95-88C4-A5C8-646DB96568F0}"/>
          </ac:spMkLst>
        </pc:spChg>
        <pc:spChg chg="add mod">
          <ac:chgData name="Alex Jordan" userId="30755697-3be4-4efa-ad5c-ca2e4102b45a" providerId="ADAL" clId="{FC76EA98-9B1A-4F2F-9A6E-876FE3C87E8A}" dt="2025-06-25T08:46:30.608" v="100487" actId="947"/>
          <ac:spMkLst>
            <pc:docMk/>
            <pc:sldMk cId="2213578473" sldId="372"/>
            <ac:spMk id="26" creationId="{E075E74B-2B27-436F-F5C0-7A76BBD72269}"/>
          </ac:spMkLst>
        </pc:spChg>
        <pc:spChg chg="add mod">
          <ac:chgData name="Alex Jordan" userId="30755697-3be4-4efa-ad5c-ca2e4102b45a" providerId="ADAL" clId="{FC76EA98-9B1A-4F2F-9A6E-876FE3C87E8A}" dt="2025-06-25T08:46:30.608" v="100485" actId="947"/>
          <ac:spMkLst>
            <pc:docMk/>
            <pc:sldMk cId="2213578473" sldId="372"/>
            <ac:spMk id="27" creationId="{30507078-8D24-41BB-48E1-9C0942B8FA21}"/>
          </ac:spMkLst>
        </pc:spChg>
        <pc:spChg chg="mod">
          <ac:chgData name="Alex Jordan" userId="30755697-3be4-4efa-ad5c-ca2e4102b45a" providerId="ADAL" clId="{FC76EA98-9B1A-4F2F-9A6E-876FE3C87E8A}" dt="2025-06-25T08:46:32.056" v="101958" actId="790"/>
          <ac:spMkLst>
            <pc:docMk/>
            <pc:sldMk cId="2213578473" sldId="372"/>
            <ac:spMk id="28" creationId="{D9BBA120-BA9A-9A76-F6A3-8FDCF4659A59}"/>
          </ac:spMkLst>
        </pc:spChg>
        <pc:spChg chg="mod">
          <ac:chgData name="Alex Jordan" userId="30755697-3be4-4efa-ad5c-ca2e4102b45a" providerId="ADAL" clId="{FC76EA98-9B1A-4F2F-9A6E-876FE3C87E8A}" dt="2025-06-25T08:46:30.631" v="100515" actId="947"/>
          <ac:spMkLst>
            <pc:docMk/>
            <pc:sldMk cId="2213578473" sldId="372"/>
            <ac:spMk id="29" creationId="{85F74F3B-0CB5-762A-8A12-4583422B9931}"/>
          </ac:spMkLst>
        </pc:spChg>
        <pc:spChg chg="add mod">
          <ac:chgData name="Alex Jordan" userId="30755697-3be4-4efa-ad5c-ca2e4102b45a" providerId="ADAL" clId="{FC76EA98-9B1A-4F2F-9A6E-876FE3C87E8A}" dt="2025-06-25T08:46:30.629" v="100513" actId="947"/>
          <ac:spMkLst>
            <pc:docMk/>
            <pc:sldMk cId="2213578473" sldId="372"/>
            <ac:spMk id="30" creationId="{58121B14-B065-364C-1DE8-2105550462A7}"/>
          </ac:spMkLst>
        </pc:spChg>
        <pc:spChg chg="mod">
          <ac:chgData name="Alex Jordan" userId="30755697-3be4-4efa-ad5c-ca2e4102b45a" providerId="ADAL" clId="{FC76EA98-9B1A-4F2F-9A6E-876FE3C87E8A}" dt="2025-06-25T08:46:32.056" v="101958" actId="790"/>
          <ac:spMkLst>
            <pc:docMk/>
            <pc:sldMk cId="2213578473" sldId="372"/>
            <ac:spMk id="31" creationId="{B9862096-38C8-F775-5B85-236CA1BC2DB1}"/>
          </ac:spMkLst>
        </pc:spChg>
        <pc:spChg chg="mod">
          <ac:chgData name="Alex Jordan" userId="30755697-3be4-4efa-ad5c-ca2e4102b45a" providerId="ADAL" clId="{FC76EA98-9B1A-4F2F-9A6E-876FE3C87E8A}" dt="2025-06-25T08:46:32.056" v="101958" actId="790"/>
          <ac:spMkLst>
            <pc:docMk/>
            <pc:sldMk cId="2213578473" sldId="372"/>
            <ac:spMk id="33" creationId="{9959858B-97FA-75CD-FB22-C06D4CF37151}"/>
          </ac:spMkLst>
        </pc:spChg>
        <pc:spChg chg="mod">
          <ac:chgData name="Alex Jordan" userId="30755697-3be4-4efa-ad5c-ca2e4102b45a" providerId="ADAL" clId="{FC76EA98-9B1A-4F2F-9A6E-876FE3C87E8A}" dt="2025-06-25T08:46:30.589" v="100465" actId="947"/>
          <ac:spMkLst>
            <pc:docMk/>
            <pc:sldMk cId="2213578473" sldId="372"/>
            <ac:spMk id="34" creationId="{2C37F541-E1B0-6412-2847-40C6FAB14E35}"/>
          </ac:spMkLst>
        </pc:spChg>
        <pc:spChg chg="mod">
          <ac:chgData name="Alex Jordan" userId="30755697-3be4-4efa-ad5c-ca2e4102b45a" providerId="ADAL" clId="{FC76EA98-9B1A-4F2F-9A6E-876FE3C87E8A}" dt="2025-06-25T08:46:32.056" v="101958" actId="790"/>
          <ac:spMkLst>
            <pc:docMk/>
            <pc:sldMk cId="2213578473" sldId="372"/>
            <ac:spMk id="37" creationId="{FF475D8D-3B6A-0340-48D5-026B5ECB6B71}"/>
          </ac:spMkLst>
        </pc:spChg>
        <pc:spChg chg="mod ord">
          <ac:chgData name="Alex Jordan" userId="30755697-3be4-4efa-ad5c-ca2e4102b45a" providerId="ADAL" clId="{FC76EA98-9B1A-4F2F-9A6E-876FE3C87E8A}" dt="2025-06-25T08:46:30.604" v="100481" actId="947"/>
          <ac:spMkLst>
            <pc:docMk/>
            <pc:sldMk cId="2213578473" sldId="372"/>
            <ac:spMk id="38" creationId="{957975BA-EA5F-B0FA-96B9-AC5BB27C8BEE}"/>
          </ac:spMkLst>
        </pc:spChg>
        <pc:spChg chg="add mod">
          <ac:chgData name="Alex Jordan" userId="30755697-3be4-4efa-ad5c-ca2e4102b45a" providerId="ADAL" clId="{FC76EA98-9B1A-4F2F-9A6E-876FE3C87E8A}" dt="2025-06-25T08:46:30.633" v="100517" actId="947"/>
          <ac:spMkLst>
            <pc:docMk/>
            <pc:sldMk cId="2213578473" sldId="372"/>
            <ac:spMk id="48" creationId="{84470A5C-AF8D-E7D1-DE24-823FD3F4A910}"/>
          </ac:spMkLst>
        </pc:spChg>
        <pc:spChg chg="mod">
          <ac:chgData name="Alex Jordan" userId="30755697-3be4-4efa-ad5c-ca2e4102b45a" providerId="ADAL" clId="{FC76EA98-9B1A-4F2F-9A6E-876FE3C87E8A}" dt="2025-06-25T08:46:30.640" v="100527" actId="947"/>
          <ac:spMkLst>
            <pc:docMk/>
            <pc:sldMk cId="2213578473" sldId="372"/>
            <ac:spMk id="49" creationId="{BF4F13E5-E029-C545-BC1E-E18005A43806}"/>
          </ac:spMkLst>
        </pc:spChg>
        <pc:spChg chg="mod">
          <ac:chgData name="Alex Jordan" userId="30755697-3be4-4efa-ad5c-ca2e4102b45a" providerId="ADAL" clId="{FC76EA98-9B1A-4F2F-9A6E-876FE3C87E8A}" dt="2025-06-25T08:46:30.640" v="100525" actId="947"/>
          <ac:spMkLst>
            <pc:docMk/>
            <pc:sldMk cId="2213578473" sldId="372"/>
            <ac:spMk id="50" creationId="{FF9F07C0-F4E0-2D95-6309-DFE5B0D860D1}"/>
          </ac:spMkLst>
        </pc:spChg>
        <pc:spChg chg="mod">
          <ac:chgData name="Alex Jordan" userId="30755697-3be4-4efa-ad5c-ca2e4102b45a" providerId="ADAL" clId="{FC76EA98-9B1A-4F2F-9A6E-876FE3C87E8A}" dt="2025-06-25T08:46:30.638" v="100523" actId="947"/>
          <ac:spMkLst>
            <pc:docMk/>
            <pc:sldMk cId="2213578473" sldId="372"/>
            <ac:spMk id="51" creationId="{465EBEA6-F782-1109-2AC6-DA3F3405B0F5}"/>
          </ac:spMkLst>
        </pc:spChg>
        <pc:spChg chg="add mod">
          <ac:chgData name="Alex Jordan" userId="30755697-3be4-4efa-ad5c-ca2e4102b45a" providerId="ADAL" clId="{FC76EA98-9B1A-4F2F-9A6E-876FE3C87E8A}" dt="2025-06-25T08:46:30.636" v="100521" actId="947"/>
          <ac:spMkLst>
            <pc:docMk/>
            <pc:sldMk cId="2213578473" sldId="372"/>
            <ac:spMk id="52" creationId="{8A338515-7BA5-6618-CA4C-3393B406FEC9}"/>
          </ac:spMkLst>
        </pc:spChg>
        <pc:spChg chg="mod">
          <ac:chgData name="Alex Jordan" userId="30755697-3be4-4efa-ad5c-ca2e4102b45a" providerId="ADAL" clId="{FC76EA98-9B1A-4F2F-9A6E-876FE3C87E8A}" dt="2025-06-25T08:46:30.644" v="100531" actId="947"/>
          <ac:spMkLst>
            <pc:docMk/>
            <pc:sldMk cId="2213578473" sldId="372"/>
            <ac:spMk id="53" creationId="{109CCB95-F7AD-C280-BB5A-AF8416CFB343}"/>
          </ac:spMkLst>
        </pc:spChg>
        <pc:spChg chg="mod">
          <ac:chgData name="Alex Jordan" userId="30755697-3be4-4efa-ad5c-ca2e4102b45a" providerId="ADAL" clId="{FC76EA98-9B1A-4F2F-9A6E-876FE3C87E8A}" dt="2025-06-25T08:46:30.642" v="100529" actId="947"/>
          <ac:spMkLst>
            <pc:docMk/>
            <pc:sldMk cId="2213578473" sldId="372"/>
            <ac:spMk id="54" creationId="{9169684C-3BF5-70AF-2276-75D26B82B5F1}"/>
          </ac:spMkLst>
        </pc:spChg>
        <pc:spChg chg="add mod">
          <ac:chgData name="Alex Jordan" userId="30755697-3be4-4efa-ad5c-ca2e4102b45a" providerId="ADAL" clId="{FC76EA98-9B1A-4F2F-9A6E-876FE3C87E8A}" dt="2025-06-27T11:05:13.167" v="104768"/>
          <ac:spMkLst>
            <pc:docMk/>
            <pc:sldMk cId="2213578473" sldId="372"/>
            <ac:spMk id="56" creationId="{F5A7653C-9199-DD0F-0414-9C367C8C9BFB}"/>
          </ac:spMkLst>
        </pc:spChg>
        <pc:spChg chg="add mod">
          <ac:chgData name="Alex Jordan" userId="30755697-3be4-4efa-ad5c-ca2e4102b45a" providerId="ADAL" clId="{FC76EA98-9B1A-4F2F-9A6E-876FE3C87E8A}" dt="2025-06-27T11:05:13.167" v="104768"/>
          <ac:spMkLst>
            <pc:docMk/>
            <pc:sldMk cId="2213578473" sldId="372"/>
            <ac:spMk id="57" creationId="{571F38F8-AD88-DC7E-8D1C-D248823EAFB2}"/>
          </ac:spMkLst>
        </pc:spChg>
        <pc:spChg chg="add mod">
          <ac:chgData name="Alex Jordan" userId="30755697-3be4-4efa-ad5c-ca2e4102b45a" providerId="ADAL" clId="{FC76EA98-9B1A-4F2F-9A6E-876FE3C87E8A}" dt="2025-06-27T11:05:13.167" v="104768"/>
          <ac:spMkLst>
            <pc:docMk/>
            <pc:sldMk cId="2213578473" sldId="372"/>
            <ac:spMk id="58" creationId="{640DFE46-8061-DF32-402E-E355BC269B21}"/>
          </ac:spMkLst>
        </pc:spChg>
        <pc:spChg chg="add mod">
          <ac:chgData name="Alex Jordan" userId="30755697-3be4-4efa-ad5c-ca2e4102b45a" providerId="ADAL" clId="{FC76EA98-9B1A-4F2F-9A6E-876FE3C87E8A}" dt="2025-06-27T11:05:27.606" v="104780"/>
          <ac:spMkLst>
            <pc:docMk/>
            <pc:sldMk cId="2213578473" sldId="372"/>
            <ac:spMk id="59" creationId="{D87ECC51-A8BC-17E1-7DD0-CD2D6A6A5A96}"/>
          </ac:spMkLst>
        </pc:spChg>
        <pc:spChg chg="add mod">
          <ac:chgData name="Alex Jordan" userId="30755697-3be4-4efa-ad5c-ca2e4102b45a" providerId="ADAL" clId="{FC76EA98-9B1A-4F2F-9A6E-876FE3C87E8A}" dt="2025-06-27T11:05:27.606" v="104780"/>
          <ac:spMkLst>
            <pc:docMk/>
            <pc:sldMk cId="2213578473" sldId="372"/>
            <ac:spMk id="60" creationId="{FD8E24C0-CD2A-9DEB-7912-875D9F400E3A}"/>
          </ac:spMkLst>
        </pc:spChg>
        <pc:spChg chg="add mod">
          <ac:chgData name="Alex Jordan" userId="30755697-3be4-4efa-ad5c-ca2e4102b45a" providerId="ADAL" clId="{FC76EA98-9B1A-4F2F-9A6E-876FE3C87E8A}" dt="2025-06-27T11:05:27.606" v="104780"/>
          <ac:spMkLst>
            <pc:docMk/>
            <pc:sldMk cId="2213578473" sldId="372"/>
            <ac:spMk id="61" creationId="{FF9122A9-3364-9B78-5AD2-07400A9D3F37}"/>
          </ac:spMkLst>
        </pc:spChg>
        <pc:spChg chg="add mod">
          <ac:chgData name="Alex Jordan" userId="30755697-3be4-4efa-ad5c-ca2e4102b45a" providerId="ADAL" clId="{FC76EA98-9B1A-4F2F-9A6E-876FE3C87E8A}" dt="2025-06-27T11:05:27.606" v="104780"/>
          <ac:spMkLst>
            <pc:docMk/>
            <pc:sldMk cId="2213578473" sldId="372"/>
            <ac:spMk id="62" creationId="{89623828-051B-CE3E-5DEC-9FD7592A0BC2}"/>
          </ac:spMkLst>
        </pc:spChg>
        <pc:grpChg chg="add mod ord">
          <ac:chgData name="Alex Jordan" userId="30755697-3be4-4efa-ad5c-ca2e4102b45a" providerId="ADAL" clId="{FC76EA98-9B1A-4F2F-9A6E-876FE3C87E8A}" dt="2025-06-24T13:03:20.151" v="3149"/>
          <ac:grpSpMkLst>
            <pc:docMk/>
            <pc:sldMk cId="2213578473" sldId="372"/>
            <ac:grpSpMk id="32" creationId="{FD46E81A-88DC-4676-F789-518B1F5FA49A}"/>
          </ac:grpSpMkLst>
        </pc:grpChg>
        <pc:grpChg chg="mod">
          <ac:chgData name="Alex Jordan" userId="30755697-3be4-4efa-ad5c-ca2e4102b45a" providerId="ADAL" clId="{FC76EA98-9B1A-4F2F-9A6E-876FE3C87E8A}" dt="2025-06-24T13:02:29.496" v="3138"/>
          <ac:grpSpMkLst>
            <pc:docMk/>
            <pc:sldMk cId="2213578473" sldId="372"/>
            <ac:grpSpMk id="35" creationId="{BFE20B5F-5DB0-6251-728A-88364FBC9117}"/>
          </ac:grpSpMkLst>
        </pc:grpChg>
        <pc:grpChg chg="mod">
          <ac:chgData name="Alex Jordan" userId="30755697-3be4-4efa-ad5c-ca2e4102b45a" providerId="ADAL" clId="{FC76EA98-9B1A-4F2F-9A6E-876FE3C87E8A}" dt="2025-06-24T16:28:37.221" v="71426" actId="1076"/>
          <ac:grpSpMkLst>
            <pc:docMk/>
            <pc:sldMk cId="2213578473" sldId="372"/>
            <ac:grpSpMk id="55" creationId="{DA2FD928-3A2F-8BF4-BEC8-ECA43A75EFB2}"/>
          </ac:grpSpMkLst>
        </pc:grpChg>
        <pc:graphicFrameChg chg="mod">
          <ac:chgData name="Alex Jordan" userId="30755697-3be4-4efa-ad5c-ca2e4102b45a" providerId="ADAL" clId="{FC76EA98-9B1A-4F2F-9A6E-876FE3C87E8A}" dt="2025-06-25T08:46:34.892" v="103920"/>
          <ac:graphicFrameMkLst>
            <pc:docMk/>
            <pc:sldMk cId="2213578473" sldId="372"/>
            <ac:graphicFrameMk id="7" creationId="{C059205B-2995-BAB1-E334-F3F6B89D8AFC}"/>
          </ac:graphicFrameMkLst>
        </pc:graphicFrameChg>
        <pc:cxnChg chg="mod">
          <ac:chgData name="Alex Jordan" userId="30755697-3be4-4efa-ad5c-ca2e4102b45a" providerId="ADAL" clId="{FC76EA98-9B1A-4F2F-9A6E-876FE3C87E8A}" dt="2025-06-24T13:02:29.496" v="3138"/>
          <ac:cxnSpMkLst>
            <pc:docMk/>
            <pc:sldMk cId="2213578473" sldId="372"/>
            <ac:cxnSpMk id="36" creationId="{A8F6EE00-3E5F-25DA-9F9F-CE893A486B0A}"/>
          </ac:cxnSpMkLst>
        </pc:cxnChg>
        <pc:cxnChg chg="mod">
          <ac:chgData name="Alex Jordan" userId="30755697-3be4-4efa-ad5c-ca2e4102b45a" providerId="ADAL" clId="{FC76EA98-9B1A-4F2F-9A6E-876FE3C87E8A}" dt="2025-06-24T13:03:11.367" v="3146" actId="208"/>
          <ac:cxnSpMkLst>
            <pc:docMk/>
            <pc:sldMk cId="2213578473" sldId="372"/>
            <ac:cxnSpMk id="40" creationId="{0DD995EA-803C-F583-D9B2-B5E34E9DBC21}"/>
          </ac:cxnSpMkLst>
        </pc:cxnChg>
        <pc:cxnChg chg="mod">
          <ac:chgData name="Alex Jordan" userId="30755697-3be4-4efa-ad5c-ca2e4102b45a" providerId="ADAL" clId="{FC76EA98-9B1A-4F2F-9A6E-876FE3C87E8A}" dt="2025-06-24T13:03:11.367" v="3146" actId="208"/>
          <ac:cxnSpMkLst>
            <pc:docMk/>
            <pc:sldMk cId="2213578473" sldId="372"/>
            <ac:cxnSpMk id="41" creationId="{D228622D-5A0E-2E81-070C-12ED3D1C1CE1}"/>
          </ac:cxnSpMkLst>
        </pc:cxnChg>
        <pc:cxnChg chg="mod">
          <ac:chgData name="Alex Jordan" userId="30755697-3be4-4efa-ad5c-ca2e4102b45a" providerId="ADAL" clId="{FC76EA98-9B1A-4F2F-9A6E-876FE3C87E8A}" dt="2025-06-24T13:03:11.367" v="3146" actId="208"/>
          <ac:cxnSpMkLst>
            <pc:docMk/>
            <pc:sldMk cId="2213578473" sldId="372"/>
            <ac:cxnSpMk id="42" creationId="{3FA1D3DB-BBE1-F94B-313C-E6915F468EE2}"/>
          </ac:cxnSpMkLst>
        </pc:cxnChg>
        <pc:cxnChg chg="mod">
          <ac:chgData name="Alex Jordan" userId="30755697-3be4-4efa-ad5c-ca2e4102b45a" providerId="ADAL" clId="{FC76EA98-9B1A-4F2F-9A6E-876FE3C87E8A}" dt="2025-06-24T13:03:11.367" v="3146" actId="208"/>
          <ac:cxnSpMkLst>
            <pc:docMk/>
            <pc:sldMk cId="2213578473" sldId="372"/>
            <ac:cxnSpMk id="44" creationId="{A32B2EC6-0ABF-B7DF-5620-0974689663F6}"/>
          </ac:cxnSpMkLst>
        </pc:cxnChg>
        <pc:cxnChg chg="mod">
          <ac:chgData name="Alex Jordan" userId="30755697-3be4-4efa-ad5c-ca2e4102b45a" providerId="ADAL" clId="{FC76EA98-9B1A-4F2F-9A6E-876FE3C87E8A}" dt="2025-06-24T13:03:11.367" v="3146" actId="208"/>
          <ac:cxnSpMkLst>
            <pc:docMk/>
            <pc:sldMk cId="2213578473" sldId="372"/>
            <ac:cxnSpMk id="45" creationId="{7519C18A-0B5B-4054-A5E6-1D398BD83C2E}"/>
          </ac:cxnSpMkLst>
        </pc:cxnChg>
        <pc:cxnChg chg="mod">
          <ac:chgData name="Alex Jordan" userId="30755697-3be4-4efa-ad5c-ca2e4102b45a" providerId="ADAL" clId="{FC76EA98-9B1A-4F2F-9A6E-876FE3C87E8A}" dt="2025-06-24T13:03:11.367" v="3146" actId="208"/>
          <ac:cxnSpMkLst>
            <pc:docMk/>
            <pc:sldMk cId="2213578473" sldId="372"/>
            <ac:cxnSpMk id="46" creationId="{1108F893-686F-3D19-E87A-BAEF469110E6}"/>
          </ac:cxnSpMkLst>
        </pc:cxnChg>
        <pc:cxnChg chg="mod">
          <ac:chgData name="Alex Jordan" userId="30755697-3be4-4efa-ad5c-ca2e4102b45a" providerId="ADAL" clId="{FC76EA98-9B1A-4F2F-9A6E-876FE3C87E8A}" dt="2025-06-24T13:02:29.496" v="3138"/>
          <ac:cxnSpMkLst>
            <pc:docMk/>
            <pc:sldMk cId="2213578473" sldId="372"/>
            <ac:cxnSpMk id="47" creationId="{E49591A3-189B-3FE0-F33E-859C17737E9F}"/>
          </ac:cxnSpMkLst>
        </pc:cxnChg>
      </pc:sldChg>
      <pc:sldChg chg="addSp delSp modSp add mod modNotes">
        <pc:chgData name="Alex Jordan" userId="30755697-3be4-4efa-ad5c-ca2e4102b45a" providerId="ADAL" clId="{FC76EA98-9B1A-4F2F-9A6E-876FE3C87E8A}" dt="2025-06-27T11:05:27.611" v="104782"/>
        <pc:sldMkLst>
          <pc:docMk/>
          <pc:sldMk cId="2848735801" sldId="373"/>
        </pc:sldMkLst>
        <pc:spChg chg="mod ord">
          <ac:chgData name="Alex Jordan" userId="30755697-3be4-4efa-ad5c-ca2e4102b45a" providerId="ADAL" clId="{FC76EA98-9B1A-4F2F-9A6E-876FE3C87E8A}" dt="2025-06-25T08:46:33.081" v="102273" actId="948"/>
          <ac:spMkLst>
            <pc:docMk/>
            <pc:sldMk cId="2848735801" sldId="373"/>
            <ac:spMk id="2" creationId="{A30C2E9F-70D3-59D7-5FCB-D78845EEF419}"/>
          </ac:spMkLst>
        </pc:spChg>
        <pc:spChg chg="del mod ord">
          <ac:chgData name="Alex Jordan" userId="30755697-3be4-4efa-ad5c-ca2e4102b45a" providerId="ADAL" clId="{FC76EA98-9B1A-4F2F-9A6E-876FE3C87E8A}" dt="2025-06-27T11:04:51.741" v="104756" actId="478"/>
          <ac:spMkLst>
            <pc:docMk/>
            <pc:sldMk cId="2848735801" sldId="373"/>
            <ac:spMk id="4" creationId="{53DB6415-D748-9412-1EC2-BAB561278E9F}"/>
          </ac:spMkLst>
        </pc:spChg>
        <pc:spChg chg="del mod ord">
          <ac:chgData name="Alex Jordan" userId="30755697-3be4-4efa-ad5c-ca2e4102b45a" providerId="ADAL" clId="{FC76EA98-9B1A-4F2F-9A6E-876FE3C87E8A}" dt="2025-06-27T11:04:51.741" v="104756" actId="478"/>
          <ac:spMkLst>
            <pc:docMk/>
            <pc:sldMk cId="2848735801" sldId="373"/>
            <ac:spMk id="5" creationId="{AED5D7A2-DBEB-1A54-CDD1-8008C074D6BD}"/>
          </ac:spMkLst>
        </pc:spChg>
        <pc:spChg chg="del mod ord">
          <ac:chgData name="Alex Jordan" userId="30755697-3be4-4efa-ad5c-ca2e4102b45a" providerId="ADAL" clId="{FC76EA98-9B1A-4F2F-9A6E-876FE3C87E8A}" dt="2025-06-27T11:04:51.741" v="104756" actId="478"/>
          <ac:spMkLst>
            <pc:docMk/>
            <pc:sldMk cId="2848735801" sldId="373"/>
            <ac:spMk id="6" creationId="{E0AEF386-9E38-7EC8-9F76-42F93BD4D335}"/>
          </ac:spMkLst>
        </pc:spChg>
        <pc:spChg chg="del mod ord">
          <ac:chgData name="Alex Jordan" userId="30755697-3be4-4efa-ad5c-ca2e4102b45a" providerId="ADAL" clId="{FC76EA98-9B1A-4F2F-9A6E-876FE3C87E8A}" dt="2025-06-27T11:04:51.741" v="104756" actId="478"/>
          <ac:spMkLst>
            <pc:docMk/>
            <pc:sldMk cId="2848735801" sldId="373"/>
            <ac:spMk id="8" creationId="{A3CA7859-EFDC-203A-42A2-0F68CAD31A25}"/>
          </ac:spMkLst>
        </pc:spChg>
        <pc:spChg chg="del mod ord">
          <ac:chgData name="Alex Jordan" userId="30755697-3be4-4efa-ad5c-ca2e4102b45a" providerId="ADAL" clId="{FC76EA98-9B1A-4F2F-9A6E-876FE3C87E8A}" dt="2025-06-27T11:04:51.741" v="104756" actId="478"/>
          <ac:spMkLst>
            <pc:docMk/>
            <pc:sldMk cId="2848735801" sldId="373"/>
            <ac:spMk id="9" creationId="{F24A5AD6-6D49-EADC-41EE-918D685D0F8A}"/>
          </ac:spMkLst>
        </pc:spChg>
        <pc:spChg chg="mod">
          <ac:chgData name="Alex Jordan" userId="30755697-3be4-4efa-ad5c-ca2e4102b45a" providerId="ADAL" clId="{FC76EA98-9B1A-4F2F-9A6E-876FE3C87E8A}" dt="2025-06-25T08:46:30.652" v="100539" actId="947"/>
          <ac:spMkLst>
            <pc:docMk/>
            <pc:sldMk cId="2848735801" sldId="373"/>
            <ac:spMk id="10" creationId="{A57962D6-B796-D2BD-E0CA-5D9342E3D108}"/>
          </ac:spMkLst>
        </pc:spChg>
        <pc:spChg chg="mod">
          <ac:chgData name="Alex Jordan" userId="30755697-3be4-4efa-ad5c-ca2e4102b45a" providerId="ADAL" clId="{FC76EA98-9B1A-4F2F-9A6E-876FE3C87E8A}" dt="2025-06-25T08:46:32.056" v="101958" actId="790"/>
          <ac:spMkLst>
            <pc:docMk/>
            <pc:sldMk cId="2848735801" sldId="373"/>
            <ac:spMk id="11" creationId="{56D503CA-0A20-A322-AF0F-DD5010CC571F}"/>
          </ac:spMkLst>
        </pc:spChg>
        <pc:spChg chg="mod">
          <ac:chgData name="Alex Jordan" userId="30755697-3be4-4efa-ad5c-ca2e4102b45a" providerId="ADAL" clId="{FC76EA98-9B1A-4F2F-9A6E-876FE3C87E8A}" dt="2025-06-25T08:46:30.649" v="100535" actId="947"/>
          <ac:spMkLst>
            <pc:docMk/>
            <pc:sldMk cId="2848735801" sldId="373"/>
            <ac:spMk id="14" creationId="{A098FC7B-0F79-537F-CD4C-0FD9B483728A}"/>
          </ac:spMkLst>
        </pc:spChg>
        <pc:spChg chg="mod">
          <ac:chgData name="Alex Jordan" userId="30755697-3be4-4efa-ad5c-ca2e4102b45a" providerId="ADAL" clId="{FC76EA98-9B1A-4F2F-9A6E-876FE3C87E8A}" dt="2025-06-25T08:46:30.692" v="100587" actId="947"/>
          <ac:spMkLst>
            <pc:docMk/>
            <pc:sldMk cId="2848735801" sldId="373"/>
            <ac:spMk id="32" creationId="{181F7276-AC3A-62AE-3921-3B2AA377AE76}"/>
          </ac:spMkLst>
        </pc:spChg>
        <pc:spChg chg="add mod">
          <ac:chgData name="Alex Jordan" userId="30755697-3be4-4efa-ad5c-ca2e4102b45a" providerId="ADAL" clId="{FC76EA98-9B1A-4F2F-9A6E-876FE3C87E8A}" dt="2025-06-25T08:46:30.692" v="100589" actId="947"/>
          <ac:spMkLst>
            <pc:docMk/>
            <pc:sldMk cId="2848735801" sldId="373"/>
            <ac:spMk id="33" creationId="{3E432759-6BE9-C5B6-C02F-1C5A68FD0975}"/>
          </ac:spMkLst>
        </pc:spChg>
        <pc:spChg chg="mod">
          <ac:chgData name="Alex Jordan" userId="30755697-3be4-4efa-ad5c-ca2e4102b45a" providerId="ADAL" clId="{FC76EA98-9B1A-4F2F-9A6E-876FE3C87E8A}" dt="2025-06-25T08:46:30.692" v="100591" actId="947"/>
          <ac:spMkLst>
            <pc:docMk/>
            <pc:sldMk cId="2848735801" sldId="373"/>
            <ac:spMk id="34" creationId="{3D76EED9-317F-6B63-E4CB-4C0CFB738CC0}"/>
          </ac:spMkLst>
        </pc:spChg>
        <pc:spChg chg="mod">
          <ac:chgData name="Alex Jordan" userId="30755697-3be4-4efa-ad5c-ca2e4102b45a" providerId="ADAL" clId="{FC76EA98-9B1A-4F2F-9A6E-876FE3C87E8A}" dt="2025-06-25T08:46:32.056" v="101958" actId="790"/>
          <ac:spMkLst>
            <pc:docMk/>
            <pc:sldMk cId="2848735801" sldId="373"/>
            <ac:spMk id="35" creationId="{334274DE-F37B-CD04-C3E7-B210562167C7}"/>
          </ac:spMkLst>
        </pc:spChg>
        <pc:spChg chg="mod">
          <ac:chgData name="Alex Jordan" userId="30755697-3be4-4efa-ad5c-ca2e4102b45a" providerId="ADAL" clId="{FC76EA98-9B1A-4F2F-9A6E-876FE3C87E8A}" dt="2025-06-25T08:46:30.697" v="100595" actId="947"/>
          <ac:spMkLst>
            <pc:docMk/>
            <pc:sldMk cId="2848735801" sldId="373"/>
            <ac:spMk id="36" creationId="{9D12084E-CCF1-CAE7-EF3F-39CB0A296517}"/>
          </ac:spMkLst>
        </pc:spChg>
        <pc:spChg chg="mod">
          <ac:chgData name="Alex Jordan" userId="30755697-3be4-4efa-ad5c-ca2e4102b45a" providerId="ADAL" clId="{FC76EA98-9B1A-4F2F-9A6E-876FE3C87E8A}" dt="2025-06-25T08:46:30.697" v="100597" actId="947"/>
          <ac:spMkLst>
            <pc:docMk/>
            <pc:sldMk cId="2848735801" sldId="373"/>
            <ac:spMk id="37" creationId="{BC7251E3-397F-9B48-4327-65F0C7ABBEC7}"/>
          </ac:spMkLst>
        </pc:spChg>
        <pc:spChg chg="mod ord">
          <ac:chgData name="Alex Jordan" userId="30755697-3be4-4efa-ad5c-ca2e4102b45a" providerId="ADAL" clId="{FC76EA98-9B1A-4F2F-9A6E-876FE3C87E8A}" dt="2025-06-25T08:46:32.056" v="101958" actId="790"/>
          <ac:spMkLst>
            <pc:docMk/>
            <pc:sldMk cId="2848735801" sldId="373"/>
            <ac:spMk id="38" creationId="{4445758E-011E-EABB-CAC1-D7AEB60D9441}"/>
          </ac:spMkLst>
        </pc:spChg>
        <pc:spChg chg="mod">
          <ac:chgData name="Alex Jordan" userId="30755697-3be4-4efa-ad5c-ca2e4102b45a" providerId="ADAL" clId="{FC76EA98-9B1A-4F2F-9A6E-876FE3C87E8A}" dt="2025-06-25T08:46:30.697" v="100599" actId="947"/>
          <ac:spMkLst>
            <pc:docMk/>
            <pc:sldMk cId="2848735801" sldId="373"/>
            <ac:spMk id="39" creationId="{EAE077C7-FDB2-822F-920C-468FA9AA9D6E}"/>
          </ac:spMkLst>
        </pc:spChg>
        <pc:spChg chg="mod">
          <ac:chgData name="Alex Jordan" userId="30755697-3be4-4efa-ad5c-ca2e4102b45a" providerId="ADAL" clId="{FC76EA98-9B1A-4F2F-9A6E-876FE3C87E8A}" dt="2025-06-25T08:46:30.697" v="100601" actId="947"/>
          <ac:spMkLst>
            <pc:docMk/>
            <pc:sldMk cId="2848735801" sldId="373"/>
            <ac:spMk id="40" creationId="{5D98B8F7-1664-8F5D-A24A-56B5E042F17D}"/>
          </ac:spMkLst>
        </pc:spChg>
        <pc:spChg chg="mod">
          <ac:chgData name="Alex Jordan" userId="30755697-3be4-4efa-ad5c-ca2e4102b45a" providerId="ADAL" clId="{FC76EA98-9B1A-4F2F-9A6E-876FE3C87E8A}" dt="2025-06-25T08:46:30.697" v="100603" actId="947"/>
          <ac:spMkLst>
            <pc:docMk/>
            <pc:sldMk cId="2848735801" sldId="373"/>
            <ac:spMk id="41" creationId="{5759F711-A101-D349-71A3-56CC4B36D9B6}"/>
          </ac:spMkLst>
        </pc:spChg>
        <pc:spChg chg="mod">
          <ac:chgData name="Alex Jordan" userId="30755697-3be4-4efa-ad5c-ca2e4102b45a" providerId="ADAL" clId="{FC76EA98-9B1A-4F2F-9A6E-876FE3C87E8A}" dt="2025-06-25T08:46:30.697" v="100605" actId="947"/>
          <ac:spMkLst>
            <pc:docMk/>
            <pc:sldMk cId="2848735801" sldId="373"/>
            <ac:spMk id="42" creationId="{C25A125B-1F7B-932B-2FD9-FFDFA00C3A10}"/>
          </ac:spMkLst>
        </pc:spChg>
        <pc:spChg chg="mod">
          <ac:chgData name="Alex Jordan" userId="30755697-3be4-4efa-ad5c-ca2e4102b45a" providerId="ADAL" clId="{FC76EA98-9B1A-4F2F-9A6E-876FE3C87E8A}" dt="2025-06-25T08:46:30.707" v="100607" actId="947"/>
          <ac:spMkLst>
            <pc:docMk/>
            <pc:sldMk cId="2848735801" sldId="373"/>
            <ac:spMk id="43" creationId="{288D2A6D-DDA9-C6A0-2B6F-9F06875412AB}"/>
          </ac:spMkLst>
        </pc:spChg>
        <pc:spChg chg="mod">
          <ac:chgData name="Alex Jordan" userId="30755697-3be4-4efa-ad5c-ca2e4102b45a" providerId="ADAL" clId="{FC76EA98-9B1A-4F2F-9A6E-876FE3C87E8A}" dt="2025-06-25T08:46:30.707" v="100609" actId="947"/>
          <ac:spMkLst>
            <pc:docMk/>
            <pc:sldMk cId="2848735801" sldId="373"/>
            <ac:spMk id="44" creationId="{0087C7A2-8838-3DDC-AA85-D22D85E6DB03}"/>
          </ac:spMkLst>
        </pc:spChg>
        <pc:spChg chg="mod">
          <ac:chgData name="Alex Jordan" userId="30755697-3be4-4efa-ad5c-ca2e4102b45a" providerId="ADAL" clId="{FC76EA98-9B1A-4F2F-9A6E-876FE3C87E8A}" dt="2025-06-25T08:46:30.707" v="100611" actId="947"/>
          <ac:spMkLst>
            <pc:docMk/>
            <pc:sldMk cId="2848735801" sldId="373"/>
            <ac:spMk id="45" creationId="{5CF39C81-2BA9-76BC-D79D-6ACB17450829}"/>
          </ac:spMkLst>
        </pc:spChg>
        <pc:spChg chg="add mod">
          <ac:chgData name="Alex Jordan" userId="30755697-3be4-4efa-ad5c-ca2e4102b45a" providerId="ADAL" clId="{FC76EA98-9B1A-4F2F-9A6E-876FE3C87E8A}" dt="2025-06-25T08:46:30.707" v="100613" actId="947"/>
          <ac:spMkLst>
            <pc:docMk/>
            <pc:sldMk cId="2848735801" sldId="373"/>
            <ac:spMk id="46" creationId="{9FA782BF-C669-1A63-1BBA-BC46F147668A}"/>
          </ac:spMkLst>
        </pc:spChg>
        <pc:spChg chg="add mod">
          <ac:chgData name="Alex Jordan" userId="30755697-3be4-4efa-ad5c-ca2e4102b45a" providerId="ADAL" clId="{FC76EA98-9B1A-4F2F-9A6E-876FE3C87E8A}" dt="2025-06-25T08:46:30.707" v="100615" actId="947"/>
          <ac:spMkLst>
            <pc:docMk/>
            <pc:sldMk cId="2848735801" sldId="373"/>
            <ac:spMk id="47" creationId="{8B9DE6CE-5EE0-041E-8D8D-B626B4E15623}"/>
          </ac:spMkLst>
        </pc:spChg>
        <pc:spChg chg="mod">
          <ac:chgData name="Alex Jordan" userId="30755697-3be4-4efa-ad5c-ca2e4102b45a" providerId="ADAL" clId="{FC76EA98-9B1A-4F2F-9A6E-876FE3C87E8A}" dt="2025-06-25T08:46:30.707" v="100617" actId="947"/>
          <ac:spMkLst>
            <pc:docMk/>
            <pc:sldMk cId="2848735801" sldId="373"/>
            <ac:spMk id="48" creationId="{59E474BA-00EF-4ED7-BC82-D64FD4293D8D}"/>
          </ac:spMkLst>
        </pc:spChg>
        <pc:spChg chg="mod">
          <ac:chgData name="Alex Jordan" userId="30755697-3be4-4efa-ad5c-ca2e4102b45a" providerId="ADAL" clId="{FC76EA98-9B1A-4F2F-9A6E-876FE3C87E8A}" dt="2025-06-25T08:46:30.707" v="100619" actId="947"/>
          <ac:spMkLst>
            <pc:docMk/>
            <pc:sldMk cId="2848735801" sldId="373"/>
            <ac:spMk id="49" creationId="{7218B07A-4C9A-A792-A91D-5933511CECBC}"/>
          </ac:spMkLst>
        </pc:spChg>
        <pc:spChg chg="mod">
          <ac:chgData name="Alex Jordan" userId="30755697-3be4-4efa-ad5c-ca2e4102b45a" providerId="ADAL" clId="{FC76EA98-9B1A-4F2F-9A6E-876FE3C87E8A}" dt="2025-06-25T08:46:30.707" v="100621" actId="947"/>
          <ac:spMkLst>
            <pc:docMk/>
            <pc:sldMk cId="2848735801" sldId="373"/>
            <ac:spMk id="50" creationId="{7A1DD6E5-B185-110F-473D-3D1E54427E7D}"/>
          </ac:spMkLst>
        </pc:spChg>
        <pc:spChg chg="mod">
          <ac:chgData name="Alex Jordan" userId="30755697-3be4-4efa-ad5c-ca2e4102b45a" providerId="ADAL" clId="{FC76EA98-9B1A-4F2F-9A6E-876FE3C87E8A}" dt="2025-06-25T08:46:32.056" v="101958" actId="790"/>
          <ac:spMkLst>
            <pc:docMk/>
            <pc:sldMk cId="2848735801" sldId="373"/>
            <ac:spMk id="51" creationId="{64F8A25A-3740-16FC-04D6-5FC9DC2782B5}"/>
          </ac:spMkLst>
        </pc:spChg>
        <pc:spChg chg="add mod">
          <ac:chgData name="Alex Jordan" userId="30755697-3be4-4efa-ad5c-ca2e4102b45a" providerId="ADAL" clId="{FC76EA98-9B1A-4F2F-9A6E-876FE3C87E8A}" dt="2025-06-25T08:46:30.717" v="100625" actId="947"/>
          <ac:spMkLst>
            <pc:docMk/>
            <pc:sldMk cId="2848735801" sldId="373"/>
            <ac:spMk id="52" creationId="{1A3D12F3-6048-4F58-5EBE-0B540F56D4BB}"/>
          </ac:spMkLst>
        </pc:spChg>
        <pc:spChg chg="mod">
          <ac:chgData name="Alex Jordan" userId="30755697-3be4-4efa-ad5c-ca2e4102b45a" providerId="ADAL" clId="{FC76EA98-9B1A-4F2F-9A6E-876FE3C87E8A}" dt="2025-06-25T08:46:30.717" v="100627" actId="947"/>
          <ac:spMkLst>
            <pc:docMk/>
            <pc:sldMk cId="2848735801" sldId="373"/>
            <ac:spMk id="53" creationId="{9ABA6063-7D8E-78A3-BD4D-C0449D63EAB3}"/>
          </ac:spMkLst>
        </pc:spChg>
        <pc:spChg chg="mod">
          <ac:chgData name="Alex Jordan" userId="30755697-3be4-4efa-ad5c-ca2e4102b45a" providerId="ADAL" clId="{FC76EA98-9B1A-4F2F-9A6E-876FE3C87E8A}" dt="2025-06-25T08:46:32.056" v="101958" actId="790"/>
          <ac:spMkLst>
            <pc:docMk/>
            <pc:sldMk cId="2848735801" sldId="373"/>
            <ac:spMk id="54" creationId="{C61CE1D4-C3B5-E83E-4392-1B6ABEB32AA0}"/>
          </ac:spMkLst>
        </pc:spChg>
        <pc:spChg chg="mod">
          <ac:chgData name="Alex Jordan" userId="30755697-3be4-4efa-ad5c-ca2e4102b45a" providerId="ADAL" clId="{FC76EA98-9B1A-4F2F-9A6E-876FE3C87E8A}" dt="2025-06-25T08:46:30.723" v="100631" actId="947"/>
          <ac:spMkLst>
            <pc:docMk/>
            <pc:sldMk cId="2848735801" sldId="373"/>
            <ac:spMk id="55" creationId="{90E07108-A0E9-AF6A-119B-9BB9E95ABDF1}"/>
          </ac:spMkLst>
        </pc:spChg>
        <pc:spChg chg="add mod">
          <ac:chgData name="Alex Jordan" userId="30755697-3be4-4efa-ad5c-ca2e4102b45a" providerId="ADAL" clId="{FC76EA98-9B1A-4F2F-9A6E-876FE3C87E8A}" dt="2025-06-25T08:46:30.723" v="100633" actId="947"/>
          <ac:spMkLst>
            <pc:docMk/>
            <pc:sldMk cId="2848735801" sldId="373"/>
            <ac:spMk id="56" creationId="{734932D2-6FE9-9C5A-7233-B371D8818EAA}"/>
          </ac:spMkLst>
        </pc:spChg>
        <pc:spChg chg="add mod">
          <ac:chgData name="Alex Jordan" userId="30755697-3be4-4efa-ad5c-ca2e4102b45a" providerId="ADAL" clId="{FC76EA98-9B1A-4F2F-9A6E-876FE3C87E8A}" dt="2025-06-25T08:46:32.056" v="101958" actId="790"/>
          <ac:spMkLst>
            <pc:docMk/>
            <pc:sldMk cId="2848735801" sldId="373"/>
            <ac:spMk id="57" creationId="{82E7BC04-5D63-B566-DB12-C85C3561DAAE}"/>
          </ac:spMkLst>
        </pc:spChg>
        <pc:spChg chg="mod">
          <ac:chgData name="Alex Jordan" userId="30755697-3be4-4efa-ad5c-ca2e4102b45a" providerId="ADAL" clId="{FC76EA98-9B1A-4F2F-9A6E-876FE3C87E8A}" dt="2025-06-25T08:46:30.723" v="100637" actId="947"/>
          <ac:spMkLst>
            <pc:docMk/>
            <pc:sldMk cId="2848735801" sldId="373"/>
            <ac:spMk id="58" creationId="{8E16E7C6-7B59-E4F3-096E-FBD1FFAECEA3}"/>
          </ac:spMkLst>
        </pc:spChg>
        <pc:spChg chg="add mod">
          <ac:chgData name="Alex Jordan" userId="30755697-3be4-4efa-ad5c-ca2e4102b45a" providerId="ADAL" clId="{FC76EA98-9B1A-4F2F-9A6E-876FE3C87E8A}" dt="2025-06-25T08:46:30.686" v="100585" actId="947"/>
          <ac:spMkLst>
            <pc:docMk/>
            <pc:sldMk cId="2848735801" sldId="373"/>
            <ac:spMk id="59" creationId="{BBDCAD10-74BA-1905-44D0-B346E0B19206}"/>
          </ac:spMkLst>
        </pc:spChg>
        <pc:spChg chg="mod">
          <ac:chgData name="Alex Jordan" userId="30755697-3be4-4efa-ad5c-ca2e4102b45a" providerId="ADAL" clId="{FC76EA98-9B1A-4F2F-9A6E-876FE3C87E8A}" dt="2025-06-25T08:46:30.686" v="100583" actId="947"/>
          <ac:spMkLst>
            <pc:docMk/>
            <pc:sldMk cId="2848735801" sldId="373"/>
            <ac:spMk id="60" creationId="{B33205A5-56FF-04D9-AB8F-6430AF10D7D3}"/>
          </ac:spMkLst>
        </pc:spChg>
        <pc:spChg chg="mod">
          <ac:chgData name="Alex Jordan" userId="30755697-3be4-4efa-ad5c-ca2e4102b45a" providerId="ADAL" clId="{FC76EA98-9B1A-4F2F-9A6E-876FE3C87E8A}" dt="2025-06-25T08:46:32.056" v="101958" actId="790"/>
          <ac:spMkLst>
            <pc:docMk/>
            <pc:sldMk cId="2848735801" sldId="373"/>
            <ac:spMk id="61" creationId="{CA0CB0E3-A61D-343F-EF4B-0A9FC76ABB76}"/>
          </ac:spMkLst>
        </pc:spChg>
        <pc:spChg chg="mod">
          <ac:chgData name="Alex Jordan" userId="30755697-3be4-4efa-ad5c-ca2e4102b45a" providerId="ADAL" clId="{FC76EA98-9B1A-4F2F-9A6E-876FE3C87E8A}" dt="2025-06-25T08:46:30.686" v="100579" actId="947"/>
          <ac:spMkLst>
            <pc:docMk/>
            <pc:sldMk cId="2848735801" sldId="373"/>
            <ac:spMk id="62" creationId="{D4E25E28-81EE-999F-44D8-08ACB762E011}"/>
          </ac:spMkLst>
        </pc:spChg>
        <pc:spChg chg="mod">
          <ac:chgData name="Alex Jordan" userId="30755697-3be4-4efa-ad5c-ca2e4102b45a" providerId="ADAL" clId="{FC76EA98-9B1A-4F2F-9A6E-876FE3C87E8A}" dt="2025-06-25T08:46:30.678" v="100577" actId="947"/>
          <ac:spMkLst>
            <pc:docMk/>
            <pc:sldMk cId="2848735801" sldId="373"/>
            <ac:spMk id="63" creationId="{C2EE0D23-606D-C245-CC83-1EFD55C92859}"/>
          </ac:spMkLst>
        </pc:spChg>
        <pc:spChg chg="mod">
          <ac:chgData name="Alex Jordan" userId="30755697-3be4-4efa-ad5c-ca2e4102b45a" providerId="ADAL" clId="{FC76EA98-9B1A-4F2F-9A6E-876FE3C87E8A}" dt="2025-06-25T08:46:30.678" v="100575" actId="947"/>
          <ac:spMkLst>
            <pc:docMk/>
            <pc:sldMk cId="2848735801" sldId="373"/>
            <ac:spMk id="64" creationId="{53AE8BFD-C95F-83F1-6305-4DD341C4736D}"/>
          </ac:spMkLst>
        </pc:spChg>
        <pc:spChg chg="mod">
          <ac:chgData name="Alex Jordan" userId="30755697-3be4-4efa-ad5c-ca2e4102b45a" providerId="ADAL" clId="{FC76EA98-9B1A-4F2F-9A6E-876FE3C87E8A}" dt="2025-06-25T08:46:30.678" v="100573" actId="947"/>
          <ac:spMkLst>
            <pc:docMk/>
            <pc:sldMk cId="2848735801" sldId="373"/>
            <ac:spMk id="65" creationId="{F3C775DA-BFE1-01D2-39A2-F38286EF1DAF}"/>
          </ac:spMkLst>
        </pc:spChg>
        <pc:spChg chg="mod">
          <ac:chgData name="Alex Jordan" userId="30755697-3be4-4efa-ad5c-ca2e4102b45a" providerId="ADAL" clId="{FC76EA98-9B1A-4F2F-9A6E-876FE3C87E8A}" dt="2025-06-25T08:46:30.678" v="100571" actId="947"/>
          <ac:spMkLst>
            <pc:docMk/>
            <pc:sldMk cId="2848735801" sldId="373"/>
            <ac:spMk id="66" creationId="{D54635EB-BED2-32FD-4CD0-482E2BAF7BE9}"/>
          </ac:spMkLst>
        </pc:spChg>
        <pc:spChg chg="add mod">
          <ac:chgData name="Alex Jordan" userId="30755697-3be4-4efa-ad5c-ca2e4102b45a" providerId="ADAL" clId="{FC76EA98-9B1A-4F2F-9A6E-876FE3C87E8A}" dt="2025-06-25T08:46:30.678" v="100569" actId="947"/>
          <ac:spMkLst>
            <pc:docMk/>
            <pc:sldMk cId="2848735801" sldId="373"/>
            <ac:spMk id="67" creationId="{09C1DA4B-8962-FA8E-D320-31027F4A51B9}"/>
          </ac:spMkLst>
        </pc:spChg>
        <pc:spChg chg="mod">
          <ac:chgData name="Alex Jordan" userId="30755697-3be4-4efa-ad5c-ca2e4102b45a" providerId="ADAL" clId="{FC76EA98-9B1A-4F2F-9A6E-876FE3C87E8A}" dt="2025-06-25T08:46:30.678" v="100567" actId="947"/>
          <ac:spMkLst>
            <pc:docMk/>
            <pc:sldMk cId="2848735801" sldId="373"/>
            <ac:spMk id="68" creationId="{FEBD9B96-9E99-B3D6-4FFE-71C292C6F4C5}"/>
          </ac:spMkLst>
        </pc:spChg>
        <pc:spChg chg="add mod">
          <ac:chgData name="Alex Jordan" userId="30755697-3be4-4efa-ad5c-ca2e4102b45a" providerId="ADAL" clId="{FC76EA98-9B1A-4F2F-9A6E-876FE3C87E8A}" dt="2025-06-25T08:46:30.676" v="100565" actId="947"/>
          <ac:spMkLst>
            <pc:docMk/>
            <pc:sldMk cId="2848735801" sldId="373"/>
            <ac:spMk id="69" creationId="{21AA058E-2EB9-E8BD-6AE3-D070C66C2217}"/>
          </ac:spMkLst>
        </pc:spChg>
        <pc:spChg chg="mod">
          <ac:chgData name="Alex Jordan" userId="30755697-3be4-4efa-ad5c-ca2e4102b45a" providerId="ADAL" clId="{FC76EA98-9B1A-4F2F-9A6E-876FE3C87E8A}" dt="2025-06-25T08:46:30.665" v="100563" actId="947"/>
          <ac:spMkLst>
            <pc:docMk/>
            <pc:sldMk cId="2848735801" sldId="373"/>
            <ac:spMk id="70" creationId="{09F3CC2F-0BFD-B25D-E546-1DABA2C29C40}"/>
          </ac:spMkLst>
        </pc:spChg>
        <pc:spChg chg="mod">
          <ac:chgData name="Alex Jordan" userId="30755697-3be4-4efa-ad5c-ca2e4102b45a" providerId="ADAL" clId="{FC76EA98-9B1A-4F2F-9A6E-876FE3C87E8A}" dt="2025-06-25T08:46:32.056" v="101958" actId="790"/>
          <ac:spMkLst>
            <pc:docMk/>
            <pc:sldMk cId="2848735801" sldId="373"/>
            <ac:spMk id="71" creationId="{756971FB-DF8D-6F74-D645-50969BBCCB9E}"/>
          </ac:spMkLst>
        </pc:spChg>
        <pc:spChg chg="mod">
          <ac:chgData name="Alex Jordan" userId="30755697-3be4-4efa-ad5c-ca2e4102b45a" providerId="ADAL" clId="{FC76EA98-9B1A-4F2F-9A6E-876FE3C87E8A}" dt="2025-06-25T08:46:30.665" v="100559" actId="947"/>
          <ac:spMkLst>
            <pc:docMk/>
            <pc:sldMk cId="2848735801" sldId="373"/>
            <ac:spMk id="72" creationId="{CCCEC84C-01B7-8F3A-ADD3-C24F475EF172}"/>
          </ac:spMkLst>
        </pc:spChg>
        <pc:spChg chg="mod">
          <ac:chgData name="Alex Jordan" userId="30755697-3be4-4efa-ad5c-ca2e4102b45a" providerId="ADAL" clId="{FC76EA98-9B1A-4F2F-9A6E-876FE3C87E8A}" dt="2025-06-25T08:46:30.665" v="100557" actId="947"/>
          <ac:spMkLst>
            <pc:docMk/>
            <pc:sldMk cId="2848735801" sldId="373"/>
            <ac:spMk id="73" creationId="{AC2A5D2D-50B5-CAE6-36A8-F0E19D6D45F9}"/>
          </ac:spMkLst>
        </pc:spChg>
        <pc:spChg chg="add mod">
          <ac:chgData name="Alex Jordan" userId="30755697-3be4-4efa-ad5c-ca2e4102b45a" providerId="ADAL" clId="{FC76EA98-9B1A-4F2F-9A6E-876FE3C87E8A}" dt="2025-06-25T08:46:30.665" v="100555" actId="947"/>
          <ac:spMkLst>
            <pc:docMk/>
            <pc:sldMk cId="2848735801" sldId="373"/>
            <ac:spMk id="74" creationId="{B68BD085-9247-218A-CD38-79386AAFD4EE}"/>
          </ac:spMkLst>
        </pc:spChg>
        <pc:spChg chg="add mod">
          <ac:chgData name="Alex Jordan" userId="30755697-3be4-4efa-ad5c-ca2e4102b45a" providerId="ADAL" clId="{FC76EA98-9B1A-4F2F-9A6E-876FE3C87E8A}" dt="2025-06-27T11:05:13.167" v="104770"/>
          <ac:spMkLst>
            <pc:docMk/>
            <pc:sldMk cId="2848735801" sldId="373"/>
            <ac:spMk id="75" creationId="{4ED5665B-1A35-7B14-9CAA-C39AAEC59CEF}"/>
          </ac:spMkLst>
        </pc:spChg>
        <pc:spChg chg="add mod">
          <ac:chgData name="Alex Jordan" userId="30755697-3be4-4efa-ad5c-ca2e4102b45a" providerId="ADAL" clId="{FC76EA98-9B1A-4F2F-9A6E-876FE3C87E8A}" dt="2025-06-27T11:05:13.167" v="104770"/>
          <ac:spMkLst>
            <pc:docMk/>
            <pc:sldMk cId="2848735801" sldId="373"/>
            <ac:spMk id="76" creationId="{6168A38E-826C-A98B-04BA-F7073A751CFE}"/>
          </ac:spMkLst>
        </pc:spChg>
        <pc:spChg chg="add mod">
          <ac:chgData name="Alex Jordan" userId="30755697-3be4-4efa-ad5c-ca2e4102b45a" providerId="ADAL" clId="{FC76EA98-9B1A-4F2F-9A6E-876FE3C87E8A}" dt="2025-06-27T11:05:13.167" v="104770"/>
          <ac:spMkLst>
            <pc:docMk/>
            <pc:sldMk cId="2848735801" sldId="373"/>
            <ac:spMk id="77" creationId="{66F73D62-1CAD-2585-D9F9-5630089B9B3C}"/>
          </ac:spMkLst>
        </pc:spChg>
        <pc:spChg chg="add mod">
          <ac:chgData name="Alex Jordan" userId="30755697-3be4-4efa-ad5c-ca2e4102b45a" providerId="ADAL" clId="{FC76EA98-9B1A-4F2F-9A6E-876FE3C87E8A}" dt="2025-06-27T11:05:27.611" v="104782"/>
          <ac:spMkLst>
            <pc:docMk/>
            <pc:sldMk cId="2848735801" sldId="373"/>
            <ac:spMk id="78" creationId="{CB801F4B-DADA-97B4-9160-D64BB9E3ACC2}"/>
          </ac:spMkLst>
        </pc:spChg>
        <pc:spChg chg="add mod">
          <ac:chgData name="Alex Jordan" userId="30755697-3be4-4efa-ad5c-ca2e4102b45a" providerId="ADAL" clId="{FC76EA98-9B1A-4F2F-9A6E-876FE3C87E8A}" dt="2025-06-27T11:05:27.611" v="104782"/>
          <ac:spMkLst>
            <pc:docMk/>
            <pc:sldMk cId="2848735801" sldId="373"/>
            <ac:spMk id="79" creationId="{7DDEB81C-32B2-B06A-4AE3-0DDAE60A7463}"/>
          </ac:spMkLst>
        </pc:spChg>
        <pc:spChg chg="add mod">
          <ac:chgData name="Alex Jordan" userId="30755697-3be4-4efa-ad5c-ca2e4102b45a" providerId="ADAL" clId="{FC76EA98-9B1A-4F2F-9A6E-876FE3C87E8A}" dt="2025-06-27T11:05:27.611" v="104782"/>
          <ac:spMkLst>
            <pc:docMk/>
            <pc:sldMk cId="2848735801" sldId="373"/>
            <ac:spMk id="80" creationId="{2B6A68D3-E248-12E7-EFC1-1E77790736FF}"/>
          </ac:spMkLst>
        </pc:spChg>
        <pc:spChg chg="add mod">
          <ac:chgData name="Alex Jordan" userId="30755697-3be4-4efa-ad5c-ca2e4102b45a" providerId="ADAL" clId="{FC76EA98-9B1A-4F2F-9A6E-876FE3C87E8A}" dt="2025-06-27T11:05:27.611" v="104782"/>
          <ac:spMkLst>
            <pc:docMk/>
            <pc:sldMk cId="2848735801" sldId="373"/>
            <ac:spMk id="81" creationId="{EFF4A974-EC2E-EC98-BF14-19D71E70B20F}"/>
          </ac:spMkLst>
        </pc:spChg>
        <pc:grpChg chg="add mod ord">
          <ac:chgData name="Alex Jordan" userId="30755697-3be4-4efa-ad5c-ca2e4102b45a" providerId="ADAL" clId="{FC76EA98-9B1A-4F2F-9A6E-876FE3C87E8A}" dt="2025-06-24T13:04:03.376" v="3200"/>
          <ac:grpSpMkLst>
            <pc:docMk/>
            <pc:sldMk cId="2848735801" sldId="373"/>
            <ac:grpSpMk id="3" creationId="{A7A172ED-6647-42F6-8813-B6ADBE9AC610}"/>
          </ac:grpSpMkLst>
        </pc:grpChg>
        <pc:grpChg chg="mod">
          <ac:chgData name="Alex Jordan" userId="30755697-3be4-4efa-ad5c-ca2e4102b45a" providerId="ADAL" clId="{FC76EA98-9B1A-4F2F-9A6E-876FE3C87E8A}" dt="2025-06-24T13:03:30.700" v="3169"/>
          <ac:grpSpMkLst>
            <pc:docMk/>
            <pc:sldMk cId="2848735801" sldId="373"/>
            <ac:grpSpMk id="12" creationId="{A9A7BB4B-C8EC-59A9-895D-39D87A80E814}"/>
          </ac:grpSpMkLst>
        </pc:grpChg>
        <pc:graphicFrameChg chg="mod">
          <ac:chgData name="Alex Jordan" userId="30755697-3be4-4efa-ad5c-ca2e4102b45a" providerId="ADAL" clId="{FC76EA98-9B1A-4F2F-9A6E-876FE3C87E8A}" dt="2025-06-25T08:46:34.892" v="103924"/>
          <ac:graphicFrameMkLst>
            <pc:docMk/>
            <pc:sldMk cId="2848735801" sldId="373"/>
            <ac:graphicFrameMk id="7" creationId="{96648F1C-772B-50B9-3CD0-22722438A387}"/>
          </ac:graphicFrameMkLst>
        </pc:graphicFrameChg>
        <pc:cxnChg chg="mod">
          <ac:chgData name="Alex Jordan" userId="30755697-3be4-4efa-ad5c-ca2e4102b45a" providerId="ADAL" clId="{FC76EA98-9B1A-4F2F-9A6E-876FE3C87E8A}" dt="2025-06-24T13:03:30.700" v="3169"/>
          <ac:cxnSpMkLst>
            <pc:docMk/>
            <pc:sldMk cId="2848735801" sldId="373"/>
            <ac:cxnSpMk id="13" creationId="{4D4CA37E-06AB-F5EB-1629-8C0237188B54}"/>
          </ac:cxnSpMkLst>
        </pc:cxnChg>
        <pc:cxnChg chg="mod">
          <ac:chgData name="Alex Jordan" userId="30755697-3be4-4efa-ad5c-ca2e4102b45a" providerId="ADAL" clId="{FC76EA98-9B1A-4F2F-9A6E-876FE3C87E8A}" dt="2025-06-24T13:03:57.824" v="3176" actId="208"/>
          <ac:cxnSpMkLst>
            <pc:docMk/>
            <pc:sldMk cId="2848735801" sldId="373"/>
            <ac:cxnSpMk id="15" creationId="{6EBD3741-4B5B-D630-010C-222E0489182C}"/>
          </ac:cxnSpMkLst>
        </pc:cxnChg>
        <pc:cxnChg chg="mod">
          <ac:chgData name="Alex Jordan" userId="30755697-3be4-4efa-ad5c-ca2e4102b45a" providerId="ADAL" clId="{FC76EA98-9B1A-4F2F-9A6E-876FE3C87E8A}" dt="2025-06-24T13:03:30.700" v="3169"/>
          <ac:cxnSpMkLst>
            <pc:docMk/>
            <pc:sldMk cId="2848735801" sldId="373"/>
            <ac:cxnSpMk id="16" creationId="{34606052-7029-1325-DA9F-C93773728759}"/>
          </ac:cxnSpMkLst>
        </pc:cxnChg>
        <pc:cxnChg chg="mod">
          <ac:chgData name="Alex Jordan" userId="30755697-3be4-4efa-ad5c-ca2e4102b45a" providerId="ADAL" clId="{FC76EA98-9B1A-4F2F-9A6E-876FE3C87E8A}" dt="2025-06-24T13:03:57.824" v="3176" actId="208"/>
          <ac:cxnSpMkLst>
            <pc:docMk/>
            <pc:sldMk cId="2848735801" sldId="373"/>
            <ac:cxnSpMk id="19" creationId="{5701D559-8B22-BB25-7466-98324C3BB340}"/>
          </ac:cxnSpMkLst>
        </pc:cxnChg>
        <pc:cxnChg chg="mod">
          <ac:chgData name="Alex Jordan" userId="30755697-3be4-4efa-ad5c-ca2e4102b45a" providerId="ADAL" clId="{FC76EA98-9B1A-4F2F-9A6E-876FE3C87E8A}" dt="2025-06-24T13:03:30.700" v="3169"/>
          <ac:cxnSpMkLst>
            <pc:docMk/>
            <pc:sldMk cId="2848735801" sldId="373"/>
            <ac:cxnSpMk id="20" creationId="{8396A62E-D703-50B3-BCED-3111A1636264}"/>
          </ac:cxnSpMkLst>
        </pc:cxnChg>
        <pc:cxnChg chg="mod">
          <ac:chgData name="Alex Jordan" userId="30755697-3be4-4efa-ad5c-ca2e4102b45a" providerId="ADAL" clId="{FC76EA98-9B1A-4F2F-9A6E-876FE3C87E8A}" dt="2025-06-24T13:03:30.700" v="3169"/>
          <ac:cxnSpMkLst>
            <pc:docMk/>
            <pc:sldMk cId="2848735801" sldId="373"/>
            <ac:cxnSpMk id="22" creationId="{E3D0FE3D-CADF-964B-BF19-FEDFCC555FDD}"/>
          </ac:cxnSpMkLst>
        </pc:cxnChg>
        <pc:cxnChg chg="mod">
          <ac:chgData name="Alex Jordan" userId="30755697-3be4-4efa-ad5c-ca2e4102b45a" providerId="ADAL" clId="{FC76EA98-9B1A-4F2F-9A6E-876FE3C87E8A}" dt="2025-06-24T13:04:14.951" v="3222" actId="208"/>
          <ac:cxnSpMkLst>
            <pc:docMk/>
            <pc:sldMk cId="2848735801" sldId="373"/>
            <ac:cxnSpMk id="23" creationId="{0D149CF9-CB68-DB1D-6977-CAF656F706E2}"/>
          </ac:cxnSpMkLst>
        </pc:cxnChg>
      </pc:sldChg>
      <pc:sldChg chg="add del">
        <pc:chgData name="Alex Jordan" userId="30755697-3be4-4efa-ad5c-ca2e4102b45a" providerId="ADAL" clId="{FC76EA98-9B1A-4F2F-9A6E-876FE3C87E8A}" dt="2025-06-24T13:19:01.644" v="3962" actId="2890"/>
        <pc:sldMkLst>
          <pc:docMk/>
          <pc:sldMk cId="818873688" sldId="374"/>
        </pc:sldMkLst>
      </pc:sldChg>
      <pc:sldChg chg="addSp delSp modSp add mod ord modNotes">
        <pc:chgData name="Alex Jordan" userId="30755697-3be4-4efa-ad5c-ca2e4102b45a" providerId="ADAL" clId="{FC76EA98-9B1A-4F2F-9A6E-876FE3C87E8A}" dt="2025-06-27T11:06:31.665" v="104808"/>
        <pc:sldMkLst>
          <pc:docMk/>
          <pc:sldMk cId="3912251497" sldId="374"/>
        </pc:sldMkLst>
        <pc:spChg chg="mod">
          <ac:chgData name="Alex Jordan" userId="30755697-3be4-4efa-ad5c-ca2e4102b45a" providerId="ADAL" clId="{FC76EA98-9B1A-4F2F-9A6E-876FE3C87E8A}" dt="2025-06-25T08:46:33.257" v="102440" actId="948"/>
          <ac:spMkLst>
            <pc:docMk/>
            <pc:sldMk cId="3912251497" sldId="374"/>
            <ac:spMk id="2" creationId="{34CF27A8-AB86-1B27-DB0B-AE0B1ACBD1CD}"/>
          </ac:spMkLst>
        </pc:spChg>
        <pc:spChg chg="add mod">
          <ac:chgData name="Alex Jordan" userId="30755697-3be4-4efa-ad5c-ca2e4102b45a" providerId="ADAL" clId="{FC76EA98-9B1A-4F2F-9A6E-876FE3C87E8A}" dt="2025-06-27T11:06:31.665" v="104808"/>
          <ac:spMkLst>
            <pc:docMk/>
            <pc:sldMk cId="3912251497" sldId="374"/>
            <ac:spMk id="3" creationId="{08CF7E6C-7147-A72A-9DA3-74B5B1771182}"/>
          </ac:spMkLst>
        </pc:spChg>
        <pc:spChg chg="del mod">
          <ac:chgData name="Alex Jordan" userId="30755697-3be4-4efa-ad5c-ca2e4102b45a" providerId="ADAL" clId="{FC76EA98-9B1A-4F2F-9A6E-876FE3C87E8A}" dt="2025-06-27T11:06:26.707" v="104807" actId="478"/>
          <ac:spMkLst>
            <pc:docMk/>
            <pc:sldMk cId="3912251497" sldId="374"/>
            <ac:spMk id="4" creationId="{6CBE1A4C-533F-1C9B-9D78-2B6DA4A8CA18}"/>
          </ac:spMkLst>
        </pc:spChg>
        <pc:spChg chg="del mod">
          <ac:chgData name="Alex Jordan" userId="30755697-3be4-4efa-ad5c-ca2e4102b45a" providerId="ADAL" clId="{FC76EA98-9B1A-4F2F-9A6E-876FE3C87E8A}" dt="2025-06-27T11:06:26.707" v="104807" actId="478"/>
          <ac:spMkLst>
            <pc:docMk/>
            <pc:sldMk cId="3912251497" sldId="374"/>
            <ac:spMk id="5" creationId="{F52CE4C4-0B3F-8B8B-EB65-820D513FB309}"/>
          </ac:spMkLst>
        </pc:spChg>
        <pc:spChg chg="del mod">
          <ac:chgData name="Alex Jordan" userId="30755697-3be4-4efa-ad5c-ca2e4102b45a" providerId="ADAL" clId="{FC76EA98-9B1A-4F2F-9A6E-876FE3C87E8A}" dt="2025-06-27T11:06:26.707" v="104807" actId="478"/>
          <ac:spMkLst>
            <pc:docMk/>
            <pc:sldMk cId="3912251497" sldId="374"/>
            <ac:spMk id="6" creationId="{7EDC904E-FDA4-A576-D17B-D027C54B453F}"/>
          </ac:spMkLst>
        </pc:spChg>
        <pc:spChg chg="del mod">
          <ac:chgData name="Alex Jordan" userId="30755697-3be4-4efa-ad5c-ca2e4102b45a" providerId="ADAL" clId="{FC76EA98-9B1A-4F2F-9A6E-876FE3C87E8A}" dt="2025-06-27T11:06:26.707" v="104807" actId="478"/>
          <ac:spMkLst>
            <pc:docMk/>
            <pc:sldMk cId="3912251497" sldId="374"/>
            <ac:spMk id="8" creationId="{B6DF7771-1B5B-A5E2-189E-440DAC14DB67}"/>
          </ac:spMkLst>
        </pc:spChg>
        <pc:spChg chg="del mod">
          <ac:chgData name="Alex Jordan" userId="30755697-3be4-4efa-ad5c-ca2e4102b45a" providerId="ADAL" clId="{FC76EA98-9B1A-4F2F-9A6E-876FE3C87E8A}" dt="2025-06-27T11:06:26.707" v="104807" actId="478"/>
          <ac:spMkLst>
            <pc:docMk/>
            <pc:sldMk cId="3912251497" sldId="374"/>
            <ac:spMk id="9" creationId="{110FFC81-8566-84C2-2C23-77A02184F602}"/>
          </ac:spMkLst>
        </pc:spChg>
        <pc:spChg chg="mod">
          <ac:chgData name="Alex Jordan" userId="30755697-3be4-4efa-ad5c-ca2e4102b45a" providerId="ADAL" clId="{FC76EA98-9B1A-4F2F-9A6E-876FE3C87E8A}" dt="2025-06-25T08:46:31.028" v="100977" actId="947"/>
          <ac:spMkLst>
            <pc:docMk/>
            <pc:sldMk cId="3912251497" sldId="374"/>
            <ac:spMk id="10" creationId="{A04C6496-793A-C1FB-C48B-76A8B237AC23}"/>
          </ac:spMkLst>
        </pc:spChg>
        <pc:spChg chg="mod">
          <ac:chgData name="Alex Jordan" userId="30755697-3be4-4efa-ad5c-ca2e4102b45a" providerId="ADAL" clId="{FC76EA98-9B1A-4F2F-9A6E-876FE3C87E8A}" dt="2025-06-25T08:46:31.074" v="101023" actId="947"/>
          <ac:spMkLst>
            <pc:docMk/>
            <pc:sldMk cId="3912251497" sldId="374"/>
            <ac:spMk id="11" creationId="{97072E3B-F3D8-17E9-DE23-2A4C1082CAD3}"/>
          </ac:spMkLst>
        </pc:spChg>
        <pc:spChg chg="mod">
          <ac:chgData name="Alex Jordan" userId="30755697-3be4-4efa-ad5c-ca2e4102b45a" providerId="ADAL" clId="{FC76EA98-9B1A-4F2F-9A6E-876FE3C87E8A}" dt="2025-06-25T08:46:31.055" v="101005" actId="947"/>
          <ac:spMkLst>
            <pc:docMk/>
            <pc:sldMk cId="3912251497" sldId="374"/>
            <ac:spMk id="16" creationId="{73C9AF7B-0A73-55F8-3754-BB09E7F8238F}"/>
          </ac:spMkLst>
        </pc:spChg>
        <pc:spChg chg="add mod">
          <ac:chgData name="Alex Jordan" userId="30755697-3be4-4efa-ad5c-ca2e4102b45a" providerId="ADAL" clId="{FC76EA98-9B1A-4F2F-9A6E-876FE3C87E8A}" dt="2025-06-25T08:46:31.055" v="101003" actId="947"/>
          <ac:spMkLst>
            <pc:docMk/>
            <pc:sldMk cId="3912251497" sldId="374"/>
            <ac:spMk id="17" creationId="{40681548-9157-910F-7814-C16825444ADD}"/>
          </ac:spMkLst>
        </pc:spChg>
        <pc:spChg chg="mod">
          <ac:chgData name="Alex Jordan" userId="30755697-3be4-4efa-ad5c-ca2e4102b45a" providerId="ADAL" clId="{FC76EA98-9B1A-4F2F-9A6E-876FE3C87E8A}" dt="2025-06-25T08:46:31.055" v="101001" actId="947"/>
          <ac:spMkLst>
            <pc:docMk/>
            <pc:sldMk cId="3912251497" sldId="374"/>
            <ac:spMk id="18" creationId="{AECB8F41-E145-6593-A20E-0BA5290DA31A}"/>
          </ac:spMkLst>
        </pc:spChg>
        <pc:spChg chg="add mod">
          <ac:chgData name="Alex Jordan" userId="30755697-3be4-4efa-ad5c-ca2e4102b45a" providerId="ADAL" clId="{FC76EA98-9B1A-4F2F-9A6E-876FE3C87E8A}" dt="2025-06-27T11:06:31.665" v="104808"/>
          <ac:spMkLst>
            <pc:docMk/>
            <pc:sldMk cId="3912251497" sldId="374"/>
            <ac:spMk id="19" creationId="{7E33ACB0-121F-111B-6A92-38EC9B271834}"/>
          </ac:spMkLst>
        </pc:spChg>
        <pc:spChg chg="add mod">
          <ac:chgData name="Alex Jordan" userId="30755697-3be4-4efa-ad5c-ca2e4102b45a" providerId="ADAL" clId="{FC76EA98-9B1A-4F2F-9A6E-876FE3C87E8A}" dt="2025-06-27T11:06:31.665" v="104808"/>
          <ac:spMkLst>
            <pc:docMk/>
            <pc:sldMk cId="3912251497" sldId="374"/>
            <ac:spMk id="20" creationId="{7CA6BE62-9099-9173-3C1F-289567379CDD}"/>
          </ac:spMkLst>
        </pc:spChg>
        <pc:spChg chg="add mod">
          <ac:chgData name="Alex Jordan" userId="30755697-3be4-4efa-ad5c-ca2e4102b45a" providerId="ADAL" clId="{FC76EA98-9B1A-4F2F-9A6E-876FE3C87E8A}" dt="2025-06-25T08:46:32.056" v="101958" actId="790"/>
          <ac:spMkLst>
            <pc:docMk/>
            <pc:sldMk cId="3912251497" sldId="374"/>
            <ac:spMk id="21" creationId="{968ECA09-C556-7649-ECE7-F1CBEE5EA1ED}"/>
          </ac:spMkLst>
        </pc:spChg>
        <pc:spChg chg="mod">
          <ac:chgData name="Alex Jordan" userId="30755697-3be4-4efa-ad5c-ca2e4102b45a" providerId="ADAL" clId="{FC76EA98-9B1A-4F2F-9A6E-876FE3C87E8A}" dt="2025-06-25T08:46:31.046" v="100997" actId="947"/>
          <ac:spMkLst>
            <pc:docMk/>
            <pc:sldMk cId="3912251497" sldId="374"/>
            <ac:spMk id="22" creationId="{8D95AC0F-1C8D-BF76-D721-083EA52F22F5}"/>
          </ac:spMkLst>
        </pc:spChg>
        <pc:spChg chg="mod">
          <ac:chgData name="Alex Jordan" userId="30755697-3be4-4efa-ad5c-ca2e4102b45a" providerId="ADAL" clId="{FC76EA98-9B1A-4F2F-9A6E-876FE3C87E8A}" dt="2025-06-25T08:46:31.046" v="100995" actId="947"/>
          <ac:spMkLst>
            <pc:docMk/>
            <pc:sldMk cId="3912251497" sldId="374"/>
            <ac:spMk id="23" creationId="{7BC8932C-0948-6448-5ED7-35F6FC443755}"/>
          </ac:spMkLst>
        </pc:spChg>
        <pc:spChg chg="add mod">
          <ac:chgData name="Alex Jordan" userId="30755697-3be4-4efa-ad5c-ca2e4102b45a" providerId="ADAL" clId="{FC76EA98-9B1A-4F2F-9A6E-876FE3C87E8A}" dt="2025-06-25T08:46:32.056" v="101958" actId="790"/>
          <ac:spMkLst>
            <pc:docMk/>
            <pc:sldMk cId="3912251497" sldId="374"/>
            <ac:spMk id="24" creationId="{EADBFCA7-2421-43A1-8C48-66C0FC758E2E}"/>
          </ac:spMkLst>
        </pc:spChg>
        <pc:spChg chg="add mod">
          <ac:chgData name="Alex Jordan" userId="30755697-3be4-4efa-ad5c-ca2e4102b45a" providerId="ADAL" clId="{FC76EA98-9B1A-4F2F-9A6E-876FE3C87E8A}" dt="2025-06-27T11:06:31.665" v="104808"/>
          <ac:spMkLst>
            <pc:docMk/>
            <pc:sldMk cId="3912251497" sldId="374"/>
            <ac:spMk id="25" creationId="{F841E12E-F9CC-FE60-58CD-A00CB8A8ADA9}"/>
          </ac:spMkLst>
        </pc:spChg>
        <pc:spChg chg="mod">
          <ac:chgData name="Alex Jordan" userId="30755697-3be4-4efa-ad5c-ca2e4102b45a" providerId="ADAL" clId="{FC76EA98-9B1A-4F2F-9A6E-876FE3C87E8A}" dt="2025-06-25T08:46:31.030" v="100979" actId="947"/>
          <ac:spMkLst>
            <pc:docMk/>
            <pc:sldMk cId="3912251497" sldId="374"/>
            <ac:spMk id="27" creationId="{C231BB3F-DB1A-08AC-679D-393F39D919B6}"/>
          </ac:spMkLst>
        </pc:spChg>
        <pc:spChg chg="add mod">
          <ac:chgData name="Alex Jordan" userId="30755697-3be4-4efa-ad5c-ca2e4102b45a" providerId="ADAL" clId="{FC76EA98-9B1A-4F2F-9A6E-876FE3C87E8A}" dt="2025-06-25T08:46:31.041" v="100991" actId="947"/>
          <ac:spMkLst>
            <pc:docMk/>
            <pc:sldMk cId="3912251497" sldId="374"/>
            <ac:spMk id="28" creationId="{E2F21087-B080-EE54-82A5-3DDF4F310E72}"/>
          </ac:spMkLst>
        </pc:spChg>
        <pc:spChg chg="mod">
          <ac:chgData name="Alex Jordan" userId="30755697-3be4-4efa-ad5c-ca2e4102b45a" providerId="ADAL" clId="{FC76EA98-9B1A-4F2F-9A6E-876FE3C87E8A}" dt="2025-06-25T08:46:31.041" v="100989" actId="947"/>
          <ac:spMkLst>
            <pc:docMk/>
            <pc:sldMk cId="3912251497" sldId="374"/>
            <ac:spMk id="29" creationId="{81EAEA29-EAD4-FFA9-81E9-169ABEA2DC74}"/>
          </ac:spMkLst>
        </pc:spChg>
        <pc:spChg chg="mod">
          <ac:chgData name="Alex Jordan" userId="30755697-3be4-4efa-ad5c-ca2e4102b45a" providerId="ADAL" clId="{FC76EA98-9B1A-4F2F-9A6E-876FE3C87E8A}" dt="2025-06-25T08:46:31.037" v="100987" actId="947"/>
          <ac:spMkLst>
            <pc:docMk/>
            <pc:sldMk cId="3912251497" sldId="374"/>
            <ac:spMk id="30" creationId="{6EEA96E5-C776-2EDC-84B6-2408AC958EE8}"/>
          </ac:spMkLst>
        </pc:spChg>
        <pc:spChg chg="add mod">
          <ac:chgData name="Alex Jordan" userId="30755697-3be4-4efa-ad5c-ca2e4102b45a" providerId="ADAL" clId="{FC76EA98-9B1A-4F2F-9A6E-876FE3C87E8A}" dt="2025-06-25T08:46:31.035" v="100985" actId="947"/>
          <ac:spMkLst>
            <pc:docMk/>
            <pc:sldMk cId="3912251497" sldId="374"/>
            <ac:spMk id="31" creationId="{BB0936C2-8B00-1EC5-7516-0B3F0786418C}"/>
          </ac:spMkLst>
        </pc:spChg>
        <pc:spChg chg="mod">
          <ac:chgData name="Alex Jordan" userId="30755697-3be4-4efa-ad5c-ca2e4102b45a" providerId="ADAL" clId="{FC76EA98-9B1A-4F2F-9A6E-876FE3C87E8A}" dt="2025-06-25T08:46:31.033" v="100983" actId="947"/>
          <ac:spMkLst>
            <pc:docMk/>
            <pc:sldMk cId="3912251497" sldId="374"/>
            <ac:spMk id="32" creationId="{C49C2299-D150-A880-4C5D-8B70C7FD5295}"/>
          </ac:spMkLst>
        </pc:spChg>
        <pc:spChg chg="add mod">
          <ac:chgData name="Alex Jordan" userId="30755697-3be4-4efa-ad5c-ca2e4102b45a" providerId="ADAL" clId="{FC76EA98-9B1A-4F2F-9A6E-876FE3C87E8A}" dt="2025-06-25T08:46:32.056" v="101958" actId="790"/>
          <ac:spMkLst>
            <pc:docMk/>
            <pc:sldMk cId="3912251497" sldId="374"/>
            <ac:spMk id="33" creationId="{EBB89BCD-2616-EF44-970C-B62472927D42}"/>
          </ac:spMkLst>
        </pc:spChg>
        <pc:spChg chg="mod">
          <ac:chgData name="Alex Jordan" userId="30755697-3be4-4efa-ad5c-ca2e4102b45a" providerId="ADAL" clId="{FC76EA98-9B1A-4F2F-9A6E-876FE3C87E8A}" dt="2025-06-25T08:46:32.056" v="101958" actId="790"/>
          <ac:spMkLst>
            <pc:docMk/>
            <pc:sldMk cId="3912251497" sldId="374"/>
            <ac:spMk id="34" creationId="{D6F3D86D-D1DD-DA6F-62DC-E91851815F67}"/>
          </ac:spMkLst>
        </pc:spChg>
        <pc:spChg chg="mod">
          <ac:chgData name="Alex Jordan" userId="30755697-3be4-4efa-ad5c-ca2e4102b45a" providerId="ADAL" clId="{FC76EA98-9B1A-4F2F-9A6E-876FE3C87E8A}" dt="2025-06-25T08:46:31.055" v="101007" actId="947"/>
          <ac:spMkLst>
            <pc:docMk/>
            <pc:sldMk cId="3912251497" sldId="374"/>
            <ac:spMk id="35" creationId="{DBC1CC17-2D6F-DDEE-A98C-34D60D8AEA2C}"/>
          </ac:spMkLst>
        </pc:spChg>
        <pc:spChg chg="mod">
          <ac:chgData name="Alex Jordan" userId="30755697-3be4-4efa-ad5c-ca2e4102b45a" providerId="ADAL" clId="{FC76EA98-9B1A-4F2F-9A6E-876FE3C87E8A}" dt="2025-06-25T08:46:31.063" v="101013" actId="947"/>
          <ac:spMkLst>
            <pc:docMk/>
            <pc:sldMk cId="3912251497" sldId="374"/>
            <ac:spMk id="36" creationId="{BCA76A69-92E0-8B72-760D-08E992ABDC0D}"/>
          </ac:spMkLst>
        </pc:spChg>
        <pc:spChg chg="add del mod">
          <ac:chgData name="Alex Jordan" userId="30755697-3be4-4efa-ad5c-ca2e4102b45a" providerId="ADAL" clId="{FC76EA98-9B1A-4F2F-9A6E-876FE3C87E8A}" dt="2025-06-25T08:46:31.063" v="101011" actId="947"/>
          <ac:spMkLst>
            <pc:docMk/>
            <pc:sldMk cId="3912251497" sldId="374"/>
            <ac:spMk id="37" creationId="{7DB87195-CBDA-9774-5886-181A929741AF}"/>
          </ac:spMkLst>
        </pc:spChg>
        <pc:spChg chg="mod">
          <ac:chgData name="Alex Jordan" userId="30755697-3be4-4efa-ad5c-ca2e4102b45a" providerId="ADAL" clId="{FC76EA98-9B1A-4F2F-9A6E-876FE3C87E8A}" dt="2025-06-25T08:46:31.069" v="101017" actId="947"/>
          <ac:spMkLst>
            <pc:docMk/>
            <pc:sldMk cId="3912251497" sldId="374"/>
            <ac:spMk id="38" creationId="{079AC4C1-BEDB-C0EE-A982-EADE592C2593}"/>
          </ac:spMkLst>
        </pc:spChg>
        <pc:spChg chg="add del mod">
          <ac:chgData name="Alex Jordan" userId="30755697-3be4-4efa-ad5c-ca2e4102b45a" providerId="ADAL" clId="{FC76EA98-9B1A-4F2F-9A6E-876FE3C87E8A}" dt="2025-06-25T08:46:31.063" v="101015" actId="947"/>
          <ac:spMkLst>
            <pc:docMk/>
            <pc:sldMk cId="3912251497" sldId="374"/>
            <ac:spMk id="39" creationId="{84AE7819-5B53-F8AC-7CC3-EED3D2ABD8EA}"/>
          </ac:spMkLst>
        </pc:spChg>
        <pc:spChg chg="add mod">
          <ac:chgData name="Alex Jordan" userId="30755697-3be4-4efa-ad5c-ca2e4102b45a" providerId="ADAL" clId="{FC76EA98-9B1A-4F2F-9A6E-876FE3C87E8A}" dt="2025-06-25T08:46:31.074" v="101021" actId="947"/>
          <ac:spMkLst>
            <pc:docMk/>
            <pc:sldMk cId="3912251497" sldId="374"/>
            <ac:spMk id="40" creationId="{65A1EA61-5E52-55DA-7730-D9394CF1AFEE}"/>
          </ac:spMkLst>
        </pc:spChg>
        <pc:spChg chg="mod">
          <ac:chgData name="Alex Jordan" userId="30755697-3be4-4efa-ad5c-ca2e4102b45a" providerId="ADAL" clId="{FC76EA98-9B1A-4F2F-9A6E-876FE3C87E8A}" dt="2025-06-25T08:46:32.056" v="101958" actId="790"/>
          <ac:spMkLst>
            <pc:docMk/>
            <pc:sldMk cId="3912251497" sldId="374"/>
            <ac:spMk id="41" creationId="{683A9BDA-D73D-FDC6-6861-F91399F46D05}"/>
          </ac:spMkLst>
        </pc:spChg>
        <pc:spChg chg="mod">
          <ac:chgData name="Alex Jordan" userId="30755697-3be4-4efa-ad5c-ca2e4102b45a" providerId="ADAL" clId="{FC76EA98-9B1A-4F2F-9A6E-876FE3C87E8A}" dt="2025-06-25T08:46:31.116" v="101067" actId="947"/>
          <ac:spMkLst>
            <pc:docMk/>
            <pc:sldMk cId="3912251497" sldId="374"/>
            <ac:spMk id="43" creationId="{6473DDCD-A914-C1D5-5AD9-54ACF9ABFE57}"/>
          </ac:spMkLst>
        </pc:spChg>
        <pc:spChg chg="mod">
          <ac:chgData name="Alex Jordan" userId="30755697-3be4-4efa-ad5c-ca2e4102b45a" providerId="ADAL" clId="{FC76EA98-9B1A-4F2F-9A6E-876FE3C87E8A}" dt="2025-06-25T08:46:31.101" v="101049" actId="947"/>
          <ac:spMkLst>
            <pc:docMk/>
            <pc:sldMk cId="3912251497" sldId="374"/>
            <ac:spMk id="48" creationId="{F732D01E-D8C6-F58C-6489-2C921CD50D28}"/>
          </ac:spMkLst>
        </pc:spChg>
        <pc:spChg chg="add mod">
          <ac:chgData name="Alex Jordan" userId="30755697-3be4-4efa-ad5c-ca2e4102b45a" providerId="ADAL" clId="{FC76EA98-9B1A-4F2F-9A6E-876FE3C87E8A}" dt="2025-06-25T08:46:32.056" v="101958" actId="790"/>
          <ac:spMkLst>
            <pc:docMk/>
            <pc:sldMk cId="3912251497" sldId="374"/>
            <ac:spMk id="49" creationId="{C89CF717-1B40-54C0-02A1-ADC8E46BBD2D}"/>
          </ac:spMkLst>
        </pc:spChg>
        <pc:spChg chg="mod">
          <ac:chgData name="Alex Jordan" userId="30755697-3be4-4efa-ad5c-ca2e4102b45a" providerId="ADAL" clId="{FC76EA98-9B1A-4F2F-9A6E-876FE3C87E8A}" dt="2025-06-25T08:46:31.095" v="101045" actId="947"/>
          <ac:spMkLst>
            <pc:docMk/>
            <pc:sldMk cId="3912251497" sldId="374"/>
            <ac:spMk id="50" creationId="{86FCCAEA-94C5-5410-E70F-257477ABFD6F}"/>
          </ac:spMkLst>
        </pc:spChg>
        <pc:spChg chg="mod">
          <ac:chgData name="Alex Jordan" userId="30755697-3be4-4efa-ad5c-ca2e4102b45a" providerId="ADAL" clId="{FC76EA98-9B1A-4F2F-9A6E-876FE3C87E8A}" dt="2025-06-25T08:46:31.089" v="101043" actId="947"/>
          <ac:spMkLst>
            <pc:docMk/>
            <pc:sldMk cId="3912251497" sldId="374"/>
            <ac:spMk id="53" creationId="{D49D063B-A298-EEE9-6DFC-03C1E7E54300}"/>
          </ac:spMkLst>
        </pc:spChg>
        <pc:spChg chg="mod">
          <ac:chgData name="Alex Jordan" userId="30755697-3be4-4efa-ad5c-ca2e4102b45a" providerId="ADAL" clId="{FC76EA98-9B1A-4F2F-9A6E-876FE3C87E8A}" dt="2025-06-25T08:46:31.089" v="101041" actId="947"/>
          <ac:spMkLst>
            <pc:docMk/>
            <pc:sldMk cId="3912251497" sldId="374"/>
            <ac:spMk id="54" creationId="{36959F29-085E-F213-67E9-841C23842CAC}"/>
          </ac:spMkLst>
        </pc:spChg>
        <pc:spChg chg="mod">
          <ac:chgData name="Alex Jordan" userId="30755697-3be4-4efa-ad5c-ca2e4102b45a" providerId="ADAL" clId="{FC76EA98-9B1A-4F2F-9A6E-876FE3C87E8A}" dt="2025-06-25T08:46:31.089" v="101039" actId="947"/>
          <ac:spMkLst>
            <pc:docMk/>
            <pc:sldMk cId="3912251497" sldId="374"/>
            <ac:spMk id="55" creationId="{26474EE4-7BDC-96AE-CBBA-8F2DC3F2AE6E}"/>
          </ac:spMkLst>
        </pc:spChg>
        <pc:spChg chg="mod">
          <ac:chgData name="Alex Jordan" userId="30755697-3be4-4efa-ad5c-ca2e4102b45a" providerId="ADAL" clId="{FC76EA98-9B1A-4F2F-9A6E-876FE3C87E8A}" dt="2025-06-25T08:46:31.089" v="101037" actId="947"/>
          <ac:spMkLst>
            <pc:docMk/>
            <pc:sldMk cId="3912251497" sldId="374"/>
            <ac:spMk id="56" creationId="{5915535B-869E-BE1B-7424-A2F4FEA0ED8E}"/>
          </ac:spMkLst>
        </pc:spChg>
        <pc:spChg chg="add mod">
          <ac:chgData name="Alex Jordan" userId="30755697-3be4-4efa-ad5c-ca2e4102b45a" providerId="ADAL" clId="{FC76EA98-9B1A-4F2F-9A6E-876FE3C87E8A}" dt="2025-06-25T08:46:31.087" v="101035" actId="947"/>
          <ac:spMkLst>
            <pc:docMk/>
            <pc:sldMk cId="3912251497" sldId="374"/>
            <ac:spMk id="58" creationId="{420390B5-B97E-3CDA-82EC-5381A453916C}"/>
          </ac:spMkLst>
        </pc:spChg>
        <pc:spChg chg="add mod">
          <ac:chgData name="Alex Jordan" userId="30755697-3be4-4efa-ad5c-ca2e4102b45a" providerId="ADAL" clId="{FC76EA98-9B1A-4F2F-9A6E-876FE3C87E8A}" dt="2025-06-25T08:46:32.056" v="101958" actId="790"/>
          <ac:spMkLst>
            <pc:docMk/>
            <pc:sldMk cId="3912251497" sldId="374"/>
            <ac:spMk id="59" creationId="{3D85B14D-62A7-9BB5-BDAD-C2EB6B26E3D5}"/>
          </ac:spMkLst>
        </pc:spChg>
        <pc:spChg chg="mod">
          <ac:chgData name="Alex Jordan" userId="30755697-3be4-4efa-ad5c-ca2e4102b45a" providerId="ADAL" clId="{FC76EA98-9B1A-4F2F-9A6E-876FE3C87E8A}" dt="2025-06-25T08:46:31.074" v="101031" actId="947"/>
          <ac:spMkLst>
            <pc:docMk/>
            <pc:sldMk cId="3912251497" sldId="374"/>
            <ac:spMk id="62" creationId="{CE6005F3-CB69-9E15-3187-F5A7FEECA1E3}"/>
          </ac:spMkLst>
        </pc:spChg>
        <pc:spChg chg="add mod">
          <ac:chgData name="Alex Jordan" userId="30755697-3be4-4efa-ad5c-ca2e4102b45a" providerId="ADAL" clId="{FC76EA98-9B1A-4F2F-9A6E-876FE3C87E8A}" dt="2025-06-25T08:46:32.056" v="101958" actId="790"/>
          <ac:spMkLst>
            <pc:docMk/>
            <pc:sldMk cId="3912251497" sldId="374"/>
            <ac:spMk id="5121" creationId="{869A6F68-9095-A752-83A1-3D22F11B7793}"/>
          </ac:spMkLst>
        </pc:spChg>
        <pc:spChg chg="mod">
          <ac:chgData name="Alex Jordan" userId="30755697-3be4-4efa-ad5c-ca2e4102b45a" providerId="ADAL" clId="{FC76EA98-9B1A-4F2F-9A6E-876FE3C87E8A}" dt="2025-06-25T08:46:31.101" v="101051" actId="947"/>
          <ac:spMkLst>
            <pc:docMk/>
            <pc:sldMk cId="3912251497" sldId="374"/>
            <ac:spMk id="5123" creationId="{D32F4F1E-7682-C489-8611-28C36534ED5D}"/>
          </ac:spMkLst>
        </pc:spChg>
        <pc:spChg chg="mod">
          <ac:chgData name="Alex Jordan" userId="30755697-3be4-4efa-ad5c-ca2e4102b45a" providerId="ADAL" clId="{FC76EA98-9B1A-4F2F-9A6E-876FE3C87E8A}" dt="2025-06-25T08:46:31.106" v="101057" actId="947"/>
          <ac:spMkLst>
            <pc:docMk/>
            <pc:sldMk cId="3912251497" sldId="374"/>
            <ac:spMk id="5125" creationId="{02ADCBB8-C2D1-4FF3-AD62-3A619B00E7D8}"/>
          </ac:spMkLst>
        </pc:spChg>
        <pc:spChg chg="add mod">
          <ac:chgData name="Alex Jordan" userId="30755697-3be4-4efa-ad5c-ca2e4102b45a" providerId="ADAL" clId="{FC76EA98-9B1A-4F2F-9A6E-876FE3C87E8A}" dt="2025-06-25T08:46:31.106" v="101055" actId="947"/>
          <ac:spMkLst>
            <pc:docMk/>
            <pc:sldMk cId="3912251497" sldId="374"/>
            <ac:spMk id="5126" creationId="{56030B8C-3B89-94B0-1B7F-F8559357E93D}"/>
          </ac:spMkLst>
        </pc:spChg>
        <pc:spChg chg="add del mod">
          <ac:chgData name="Alex Jordan" userId="30755697-3be4-4efa-ad5c-ca2e4102b45a" providerId="ADAL" clId="{FC76EA98-9B1A-4F2F-9A6E-876FE3C87E8A}" dt="2025-06-25T08:46:31.106" v="101061" actId="947"/>
          <ac:spMkLst>
            <pc:docMk/>
            <pc:sldMk cId="3912251497" sldId="374"/>
            <ac:spMk id="5127" creationId="{D52EADD3-F920-EA01-B487-9FAB8CB0BB05}"/>
          </ac:spMkLst>
        </pc:spChg>
        <pc:spChg chg="mod">
          <ac:chgData name="Alex Jordan" userId="30755697-3be4-4efa-ad5c-ca2e4102b45a" providerId="ADAL" clId="{FC76EA98-9B1A-4F2F-9A6E-876FE3C87E8A}" dt="2025-06-25T08:46:31.106" v="101059" actId="947"/>
          <ac:spMkLst>
            <pc:docMk/>
            <pc:sldMk cId="3912251497" sldId="374"/>
            <ac:spMk id="5128" creationId="{948E163F-C73B-575E-F6B3-FCBC27253798}"/>
          </ac:spMkLst>
        </pc:spChg>
        <pc:spChg chg="mod">
          <ac:chgData name="Alex Jordan" userId="30755697-3be4-4efa-ad5c-ca2e4102b45a" providerId="ADAL" clId="{FC76EA98-9B1A-4F2F-9A6E-876FE3C87E8A}" dt="2025-06-25T08:46:31.116" v="101065" actId="947"/>
          <ac:spMkLst>
            <pc:docMk/>
            <pc:sldMk cId="3912251497" sldId="374"/>
            <ac:spMk id="5129" creationId="{1C4F4B3F-4828-936A-CB6C-66AF90615DAE}"/>
          </ac:spMkLst>
        </pc:spChg>
        <pc:spChg chg="add mod">
          <ac:chgData name="Alex Jordan" userId="30755697-3be4-4efa-ad5c-ca2e4102b45a" providerId="ADAL" clId="{FC76EA98-9B1A-4F2F-9A6E-876FE3C87E8A}" dt="2025-06-25T08:46:31.106" v="101063" actId="947"/>
          <ac:spMkLst>
            <pc:docMk/>
            <pc:sldMk cId="3912251497" sldId="374"/>
            <ac:spMk id="5130" creationId="{E16306FE-2FAC-6EF1-4F96-934EC611024E}"/>
          </ac:spMkLst>
        </pc:spChg>
        <pc:spChg chg="add mod">
          <ac:chgData name="Alex Jordan" userId="30755697-3be4-4efa-ad5c-ca2e4102b45a" providerId="ADAL" clId="{FC76EA98-9B1A-4F2F-9A6E-876FE3C87E8A}" dt="2025-06-25T08:46:31.074" v="101029" actId="947"/>
          <ac:spMkLst>
            <pc:docMk/>
            <pc:sldMk cId="3912251497" sldId="374"/>
            <ac:spMk id="5134" creationId="{CB473A58-7804-A3C3-A65A-DCECA135976F}"/>
          </ac:spMkLst>
        </pc:spChg>
        <pc:spChg chg="add mod">
          <ac:chgData name="Alex Jordan" userId="30755697-3be4-4efa-ad5c-ca2e4102b45a" providerId="ADAL" clId="{FC76EA98-9B1A-4F2F-9A6E-876FE3C87E8A}" dt="2025-06-25T08:46:31.074" v="101027" actId="947"/>
          <ac:spMkLst>
            <pc:docMk/>
            <pc:sldMk cId="3912251497" sldId="374"/>
            <ac:spMk id="5135" creationId="{72FE28BB-550E-5592-4A4F-19D1F3B73ED6}"/>
          </ac:spMkLst>
        </pc:spChg>
        <pc:spChg chg="add mod">
          <ac:chgData name="Alex Jordan" userId="30755697-3be4-4efa-ad5c-ca2e4102b45a" providerId="ADAL" clId="{FC76EA98-9B1A-4F2F-9A6E-876FE3C87E8A}" dt="2025-06-25T08:46:31.074" v="101025" actId="947"/>
          <ac:spMkLst>
            <pc:docMk/>
            <pc:sldMk cId="3912251497" sldId="374"/>
            <ac:spMk id="5136" creationId="{C62A266D-8C85-4537-1C6F-535F048A76B4}"/>
          </ac:spMkLst>
        </pc:spChg>
        <pc:grpChg chg="add del">
          <ac:chgData name="Alex Jordan" userId="30755697-3be4-4efa-ad5c-ca2e4102b45a" providerId="ADAL" clId="{FC76EA98-9B1A-4F2F-9A6E-876FE3C87E8A}" dt="2025-06-25T08:02:38.011" v="98576" actId="478"/>
          <ac:grpSpMkLst>
            <pc:docMk/>
            <pc:sldMk cId="3912251497" sldId="374"/>
            <ac:grpSpMk id="13" creationId="{965CDCE8-7136-F9FB-A286-AC7CDB689CA3}"/>
          </ac:grpSpMkLst>
        </pc:grpChg>
        <pc:grpChg chg="add del">
          <ac:chgData name="Alex Jordan" userId="30755697-3be4-4efa-ad5c-ca2e4102b45a" providerId="ADAL" clId="{FC76EA98-9B1A-4F2F-9A6E-876FE3C87E8A}" dt="2025-06-25T08:02:38.700" v="98577" actId="478"/>
          <ac:grpSpMkLst>
            <pc:docMk/>
            <pc:sldMk cId="3912251497" sldId="374"/>
            <ac:grpSpMk id="14" creationId="{2F69B25E-6B51-0FD5-8416-23ED3B74418E}"/>
          </ac:grpSpMkLst>
        </pc:grpChg>
        <pc:grpChg chg="mod">
          <ac:chgData name="Alex Jordan" userId="30755697-3be4-4efa-ad5c-ca2e4102b45a" providerId="ADAL" clId="{FC76EA98-9B1A-4F2F-9A6E-876FE3C87E8A}" dt="2025-06-25T08:06:18.797" v="98634" actId="1076"/>
          <ac:grpSpMkLst>
            <pc:docMk/>
            <pc:sldMk cId="3912251497" sldId="374"/>
            <ac:grpSpMk id="42" creationId="{6FEB1009-AD26-4539-35BB-F49CFE80D5A2}"/>
          </ac:grpSpMkLst>
        </pc:grpChg>
        <pc:grpChg chg="add del">
          <ac:chgData name="Alex Jordan" userId="30755697-3be4-4efa-ad5c-ca2e4102b45a" providerId="ADAL" clId="{FC76EA98-9B1A-4F2F-9A6E-876FE3C87E8A}" dt="2025-06-25T08:03:44.597" v="98588" actId="478"/>
          <ac:grpSpMkLst>
            <pc:docMk/>
            <pc:sldMk cId="3912251497" sldId="374"/>
            <ac:grpSpMk id="45" creationId="{F2DC734B-4784-BEB7-98AC-65A099DC1E1C}"/>
          </ac:grpSpMkLst>
        </pc:grpChg>
        <pc:grpChg chg="mod">
          <ac:chgData name="Alex Jordan" userId="30755697-3be4-4efa-ad5c-ca2e4102b45a" providerId="ADAL" clId="{FC76EA98-9B1A-4F2F-9A6E-876FE3C87E8A}" dt="2025-06-25T08:06:45.008" v="98647" actId="164"/>
          <ac:grpSpMkLst>
            <pc:docMk/>
            <pc:sldMk cId="3912251497" sldId="374"/>
            <ac:grpSpMk id="5131" creationId="{AF8F44A9-33D3-8683-FF61-EEEF1D05DC98}"/>
          </ac:grpSpMkLst>
        </pc:grpChg>
        <pc:grpChg chg="add mod">
          <ac:chgData name="Alex Jordan" userId="30755697-3be4-4efa-ad5c-ca2e4102b45a" providerId="ADAL" clId="{FC76EA98-9B1A-4F2F-9A6E-876FE3C87E8A}" dt="2025-06-25T08:06:45.008" v="98647" actId="164"/>
          <ac:grpSpMkLst>
            <pc:docMk/>
            <pc:sldMk cId="3912251497" sldId="374"/>
            <ac:grpSpMk id="5137" creationId="{8AE1FB12-6520-2EFF-C66F-32932B65A58B}"/>
          </ac:grpSpMkLst>
        </pc:grpChg>
        <pc:graphicFrameChg chg="mod">
          <ac:chgData name="Alex Jordan" userId="30755697-3be4-4efa-ad5c-ca2e4102b45a" providerId="ADAL" clId="{FC76EA98-9B1A-4F2F-9A6E-876FE3C87E8A}" dt="2025-06-25T08:46:34.944" v="103956"/>
          <ac:graphicFrameMkLst>
            <pc:docMk/>
            <pc:sldMk cId="3912251497" sldId="374"/>
            <ac:graphicFrameMk id="7" creationId="{A3BF4F2F-DFA9-2FD2-17F1-2138F82D88C4}"/>
          </ac:graphicFrameMkLst>
        </pc:graphicFrameChg>
        <pc:picChg chg="add mod">
          <ac:chgData name="Alex Jordan" userId="30755697-3be4-4efa-ad5c-ca2e4102b45a" providerId="ADAL" clId="{FC76EA98-9B1A-4F2F-9A6E-876FE3C87E8A}" dt="2025-06-25T08:00:38.474" v="98557" actId="1440"/>
          <ac:picMkLst>
            <pc:docMk/>
            <pc:sldMk cId="3912251497" sldId="374"/>
            <ac:picMk id="5124" creationId="{313B9E46-DB89-4EE6-ACFB-0093FE1A326A}"/>
          </ac:picMkLst>
        </pc:picChg>
        <pc:picChg chg="add mod">
          <ac:chgData name="Alex Jordan" userId="30755697-3be4-4efa-ad5c-ca2e4102b45a" providerId="ADAL" clId="{FC76EA98-9B1A-4F2F-9A6E-876FE3C87E8A}" dt="2025-06-25T08:05:11.337" v="98616" actId="1076"/>
          <ac:picMkLst>
            <pc:docMk/>
            <pc:sldMk cId="3912251497" sldId="374"/>
            <ac:picMk id="5132" creationId="{3D625331-E829-E492-0F03-62E18EF84C9C}"/>
          </ac:picMkLst>
        </pc:picChg>
        <pc:picChg chg="add mod">
          <ac:chgData name="Alex Jordan" userId="30755697-3be4-4efa-ad5c-ca2e4102b45a" providerId="ADAL" clId="{FC76EA98-9B1A-4F2F-9A6E-876FE3C87E8A}" dt="2025-06-25T08:05:40.516" v="98622" actId="1076"/>
          <ac:picMkLst>
            <pc:docMk/>
            <pc:sldMk cId="3912251497" sldId="374"/>
            <ac:picMk id="5133" creationId="{CD90BD3C-D7FE-2C0D-F329-B1AF1EF4DB6B}"/>
          </ac:picMkLst>
        </pc:picChg>
      </pc:sldChg>
      <pc:sldChg chg="addSp delSp modSp add mod modNotes">
        <pc:chgData name="Alex Jordan" userId="30755697-3be4-4efa-ad5c-ca2e4102b45a" providerId="ADAL" clId="{FC76EA98-9B1A-4F2F-9A6E-876FE3C87E8A}" dt="2025-06-27T11:05:27.606" v="104779"/>
        <pc:sldMkLst>
          <pc:docMk/>
          <pc:sldMk cId="2697744707" sldId="375"/>
        </pc:sldMkLst>
        <pc:spChg chg="mod ord">
          <ac:chgData name="Alex Jordan" userId="30755697-3be4-4efa-ad5c-ca2e4102b45a" providerId="ADAL" clId="{FC76EA98-9B1A-4F2F-9A6E-876FE3C87E8A}" dt="2025-06-25T08:46:33.010" v="102210" actId="948"/>
          <ac:spMkLst>
            <pc:docMk/>
            <pc:sldMk cId="2697744707" sldId="375"/>
            <ac:spMk id="2" creationId="{88B5D46A-1C30-6540-C173-62E936938489}"/>
          </ac:spMkLst>
        </pc:spChg>
        <pc:spChg chg="del mod ord">
          <ac:chgData name="Alex Jordan" userId="30755697-3be4-4efa-ad5c-ca2e4102b45a" providerId="ADAL" clId="{FC76EA98-9B1A-4F2F-9A6E-876FE3C87E8A}" dt="2025-06-27T11:04:42.910" v="104753" actId="478"/>
          <ac:spMkLst>
            <pc:docMk/>
            <pc:sldMk cId="2697744707" sldId="375"/>
            <ac:spMk id="4" creationId="{0B2FC94B-3812-89DF-2470-14A5BC8F08BE}"/>
          </ac:spMkLst>
        </pc:spChg>
        <pc:spChg chg="del mod ord">
          <ac:chgData name="Alex Jordan" userId="30755697-3be4-4efa-ad5c-ca2e4102b45a" providerId="ADAL" clId="{FC76EA98-9B1A-4F2F-9A6E-876FE3C87E8A}" dt="2025-06-27T11:04:42.910" v="104753" actId="478"/>
          <ac:spMkLst>
            <pc:docMk/>
            <pc:sldMk cId="2697744707" sldId="375"/>
            <ac:spMk id="5" creationId="{845C9A10-1755-32DB-F426-4049D9F03DE6}"/>
          </ac:spMkLst>
        </pc:spChg>
        <pc:spChg chg="del mod ord">
          <ac:chgData name="Alex Jordan" userId="30755697-3be4-4efa-ad5c-ca2e4102b45a" providerId="ADAL" clId="{FC76EA98-9B1A-4F2F-9A6E-876FE3C87E8A}" dt="2025-06-27T11:04:42.910" v="104753" actId="478"/>
          <ac:spMkLst>
            <pc:docMk/>
            <pc:sldMk cId="2697744707" sldId="375"/>
            <ac:spMk id="6" creationId="{F42A69F3-763E-8446-2254-4504EA1A486A}"/>
          </ac:spMkLst>
        </pc:spChg>
        <pc:spChg chg="del mod ord">
          <ac:chgData name="Alex Jordan" userId="30755697-3be4-4efa-ad5c-ca2e4102b45a" providerId="ADAL" clId="{FC76EA98-9B1A-4F2F-9A6E-876FE3C87E8A}" dt="2025-06-27T11:04:42.910" v="104753" actId="478"/>
          <ac:spMkLst>
            <pc:docMk/>
            <pc:sldMk cId="2697744707" sldId="375"/>
            <ac:spMk id="8" creationId="{F431E458-931C-0C3C-B6A1-8D6EEB37ABEF}"/>
          </ac:spMkLst>
        </pc:spChg>
        <pc:spChg chg="del mod ord">
          <ac:chgData name="Alex Jordan" userId="30755697-3be4-4efa-ad5c-ca2e4102b45a" providerId="ADAL" clId="{FC76EA98-9B1A-4F2F-9A6E-876FE3C87E8A}" dt="2025-06-27T11:04:42.910" v="104753" actId="478"/>
          <ac:spMkLst>
            <pc:docMk/>
            <pc:sldMk cId="2697744707" sldId="375"/>
            <ac:spMk id="9" creationId="{C7A342C3-0751-F871-6F0B-BAA5EB5F5470}"/>
          </ac:spMkLst>
        </pc:spChg>
        <pc:spChg chg="add mod">
          <ac:chgData name="Alex Jordan" userId="30755697-3be4-4efa-ad5c-ca2e4102b45a" providerId="ADAL" clId="{FC76EA98-9B1A-4F2F-9A6E-876FE3C87E8A}" dt="2025-06-27T11:05:13.165" v="104767"/>
          <ac:spMkLst>
            <pc:docMk/>
            <pc:sldMk cId="2697744707" sldId="375"/>
            <ac:spMk id="10" creationId="{75F200C0-7FD4-71A8-503D-44524D1307FD}"/>
          </ac:spMkLst>
        </pc:spChg>
        <pc:spChg chg="add mod">
          <ac:chgData name="Alex Jordan" userId="30755697-3be4-4efa-ad5c-ca2e4102b45a" providerId="ADAL" clId="{FC76EA98-9B1A-4F2F-9A6E-876FE3C87E8A}" dt="2025-06-27T11:05:13.165" v="104767"/>
          <ac:spMkLst>
            <pc:docMk/>
            <pc:sldMk cId="2697744707" sldId="375"/>
            <ac:spMk id="11" creationId="{FD34148E-47D2-C6F6-6F02-06878024ED88}"/>
          </ac:spMkLst>
        </pc:spChg>
        <pc:spChg chg="add mod">
          <ac:chgData name="Alex Jordan" userId="30755697-3be4-4efa-ad5c-ca2e4102b45a" providerId="ADAL" clId="{FC76EA98-9B1A-4F2F-9A6E-876FE3C87E8A}" dt="2025-06-27T11:05:13.165" v="104767"/>
          <ac:spMkLst>
            <pc:docMk/>
            <pc:sldMk cId="2697744707" sldId="375"/>
            <ac:spMk id="12" creationId="{1E800449-5185-FD58-E2DD-82421E071665}"/>
          </ac:spMkLst>
        </pc:spChg>
        <pc:spChg chg="add mod">
          <ac:chgData name="Alex Jordan" userId="30755697-3be4-4efa-ad5c-ca2e4102b45a" providerId="ADAL" clId="{FC76EA98-9B1A-4F2F-9A6E-876FE3C87E8A}" dt="2025-06-27T11:05:27.606" v="104779"/>
          <ac:spMkLst>
            <pc:docMk/>
            <pc:sldMk cId="2697744707" sldId="375"/>
            <ac:spMk id="13" creationId="{BEF9B425-B0FE-971A-9AD6-D3F2686AB5F4}"/>
          </ac:spMkLst>
        </pc:spChg>
        <pc:spChg chg="add mod">
          <ac:chgData name="Alex Jordan" userId="30755697-3be4-4efa-ad5c-ca2e4102b45a" providerId="ADAL" clId="{FC76EA98-9B1A-4F2F-9A6E-876FE3C87E8A}" dt="2025-06-27T11:05:27.606" v="104779"/>
          <ac:spMkLst>
            <pc:docMk/>
            <pc:sldMk cId="2697744707" sldId="375"/>
            <ac:spMk id="14" creationId="{DB2FB9A0-33B8-9B15-D804-BB0CA333D04E}"/>
          </ac:spMkLst>
        </pc:spChg>
        <pc:spChg chg="add mod">
          <ac:chgData name="Alex Jordan" userId="30755697-3be4-4efa-ad5c-ca2e4102b45a" providerId="ADAL" clId="{FC76EA98-9B1A-4F2F-9A6E-876FE3C87E8A}" dt="2025-06-27T11:05:27.606" v="104779"/>
          <ac:spMkLst>
            <pc:docMk/>
            <pc:sldMk cId="2697744707" sldId="375"/>
            <ac:spMk id="15" creationId="{3A8D92C1-027A-5BC7-CD82-4E85B2B16CD8}"/>
          </ac:spMkLst>
        </pc:spChg>
        <pc:spChg chg="add mod">
          <ac:chgData name="Alex Jordan" userId="30755697-3be4-4efa-ad5c-ca2e4102b45a" providerId="ADAL" clId="{FC76EA98-9B1A-4F2F-9A6E-876FE3C87E8A}" dt="2025-06-27T11:05:27.606" v="104779"/>
          <ac:spMkLst>
            <pc:docMk/>
            <pc:sldMk cId="2697744707" sldId="375"/>
            <ac:spMk id="16" creationId="{3DA37718-4E13-7557-73B9-95B4FAFA502D}"/>
          </ac:spMkLst>
        </pc:spChg>
        <pc:spChg chg="mod ord">
          <ac:chgData name="Alex Jordan" userId="30755697-3be4-4efa-ad5c-ca2e4102b45a" providerId="ADAL" clId="{FC76EA98-9B1A-4F2F-9A6E-876FE3C87E8A}" dt="2025-06-25T08:46:32.056" v="101958" actId="790"/>
          <ac:spMkLst>
            <pc:docMk/>
            <pc:sldMk cId="2697744707" sldId="375"/>
            <ac:spMk id="38" creationId="{B37F1E14-F036-FF8C-8EEF-472AF056CC58}"/>
          </ac:spMkLst>
        </pc:spChg>
        <pc:spChg chg="mod">
          <ac:chgData name="Alex Jordan" userId="30755697-3be4-4efa-ad5c-ca2e4102b45a" providerId="ADAL" clId="{FC76EA98-9B1A-4F2F-9A6E-876FE3C87E8A}" dt="2025-06-25T08:46:32.056" v="101958" actId="790"/>
          <ac:spMkLst>
            <pc:docMk/>
            <pc:sldMk cId="2697744707" sldId="375"/>
            <ac:spMk id="56" creationId="{E2E52F98-25E0-53E5-5315-4DE119A620D0}"/>
          </ac:spMkLst>
        </pc:spChg>
        <pc:spChg chg="mod">
          <ac:chgData name="Alex Jordan" userId="30755697-3be4-4efa-ad5c-ca2e4102b45a" providerId="ADAL" clId="{FC76EA98-9B1A-4F2F-9A6E-876FE3C87E8A}" dt="2025-06-25T08:46:32.056" v="101958" actId="790"/>
          <ac:spMkLst>
            <pc:docMk/>
            <pc:sldMk cId="2697744707" sldId="375"/>
            <ac:spMk id="57" creationId="{B41D5362-D874-C2CB-7049-72722C20DA51}"/>
          </ac:spMkLst>
        </pc:spChg>
        <pc:spChg chg="mod">
          <ac:chgData name="Alex Jordan" userId="30755697-3be4-4efa-ad5c-ca2e4102b45a" providerId="ADAL" clId="{FC76EA98-9B1A-4F2F-9A6E-876FE3C87E8A}" dt="2025-06-25T08:46:32.056" v="101958" actId="790"/>
          <ac:spMkLst>
            <pc:docMk/>
            <pc:sldMk cId="2697744707" sldId="375"/>
            <ac:spMk id="60" creationId="{E84F3A59-839B-10BE-A4A2-F2D069527B52}"/>
          </ac:spMkLst>
        </pc:spChg>
        <pc:grpChg chg="mod ord">
          <ac:chgData name="Alex Jordan" userId="30755697-3be4-4efa-ad5c-ca2e4102b45a" providerId="ADAL" clId="{FC76EA98-9B1A-4F2F-9A6E-876FE3C87E8A}" dt="2025-06-24T16:03:27.146" v="70729" actId="1076"/>
          <ac:grpSpMkLst>
            <pc:docMk/>
            <pc:sldMk cId="2697744707" sldId="375"/>
            <ac:grpSpMk id="55" creationId="{D3401263-DA66-D19D-8330-AFD086EDF7C2}"/>
          </ac:grpSpMkLst>
        </pc:grpChg>
        <pc:graphicFrameChg chg="add mod ord modGraphic">
          <ac:chgData name="Alex Jordan" userId="30755697-3be4-4efa-ad5c-ca2e4102b45a" providerId="ADAL" clId="{FC76EA98-9B1A-4F2F-9A6E-876FE3C87E8A}" dt="2025-06-25T08:46:30.529" v="100401" actId="947"/>
          <ac:graphicFrameMkLst>
            <pc:docMk/>
            <pc:sldMk cId="2697744707" sldId="375"/>
            <ac:graphicFrameMk id="3" creationId="{8D5BF3F3-988A-E588-84E3-69C3B69E76A1}"/>
          </ac:graphicFrameMkLst>
        </pc:graphicFrameChg>
        <pc:graphicFrameChg chg="mod">
          <ac:chgData name="Alex Jordan" userId="30755697-3be4-4efa-ad5c-ca2e4102b45a" providerId="ADAL" clId="{FC76EA98-9B1A-4F2F-9A6E-876FE3C87E8A}" dt="2025-06-25T08:46:34.874" v="103912"/>
          <ac:graphicFrameMkLst>
            <pc:docMk/>
            <pc:sldMk cId="2697744707" sldId="375"/>
            <ac:graphicFrameMk id="7" creationId="{440BB512-6BF7-FA69-5202-55545939579F}"/>
          </ac:graphicFrameMkLst>
        </pc:graphicFrameChg>
      </pc:sldChg>
      <pc:sldChg chg="addSp delSp modSp add mod modNotes">
        <pc:chgData name="Alex Jordan" userId="30755697-3be4-4efa-ad5c-ca2e4102b45a" providerId="ADAL" clId="{FC76EA98-9B1A-4F2F-9A6E-876FE3C87E8A}" dt="2025-06-27T11:05:27.600" v="104776"/>
        <pc:sldMkLst>
          <pc:docMk/>
          <pc:sldMk cId="2251385594" sldId="376"/>
        </pc:sldMkLst>
        <pc:spChg chg="mod ord">
          <ac:chgData name="Alex Jordan" userId="30755697-3be4-4efa-ad5c-ca2e4102b45a" providerId="ADAL" clId="{FC76EA98-9B1A-4F2F-9A6E-876FE3C87E8A}" dt="2025-06-25T08:46:35.395" v="104324"/>
          <ac:spMkLst>
            <pc:docMk/>
            <pc:sldMk cId="2251385594" sldId="376"/>
            <ac:spMk id="2" creationId="{3BB526E7-65A7-18B6-DB07-7BE65FAED491}"/>
          </ac:spMkLst>
        </pc:spChg>
        <pc:spChg chg="add mod">
          <ac:chgData name="Alex Jordan" userId="30755697-3be4-4efa-ad5c-ca2e4102b45a" providerId="ADAL" clId="{FC76EA98-9B1A-4F2F-9A6E-876FE3C87E8A}" dt="2025-06-27T11:05:13.162" v="104764"/>
          <ac:spMkLst>
            <pc:docMk/>
            <pc:sldMk cId="2251385594" sldId="376"/>
            <ac:spMk id="3" creationId="{0B4FBAD2-3751-5E7E-B79C-1D0372695A6D}"/>
          </ac:spMkLst>
        </pc:spChg>
        <pc:spChg chg="del mod ord">
          <ac:chgData name="Alex Jordan" userId="30755697-3be4-4efa-ad5c-ca2e4102b45a" providerId="ADAL" clId="{FC76EA98-9B1A-4F2F-9A6E-876FE3C87E8A}" dt="2025-06-27T11:04:33.651" v="104750" actId="478"/>
          <ac:spMkLst>
            <pc:docMk/>
            <pc:sldMk cId="2251385594" sldId="376"/>
            <ac:spMk id="4" creationId="{5432AC70-DD7A-80DA-0DBA-E830E16DCBC9}"/>
          </ac:spMkLst>
        </pc:spChg>
        <pc:spChg chg="del mod ord">
          <ac:chgData name="Alex Jordan" userId="30755697-3be4-4efa-ad5c-ca2e4102b45a" providerId="ADAL" clId="{FC76EA98-9B1A-4F2F-9A6E-876FE3C87E8A}" dt="2025-06-27T11:04:33.651" v="104750" actId="478"/>
          <ac:spMkLst>
            <pc:docMk/>
            <pc:sldMk cId="2251385594" sldId="376"/>
            <ac:spMk id="5" creationId="{429B3CCE-EF68-2A70-F29E-B469FC40D19A}"/>
          </ac:spMkLst>
        </pc:spChg>
        <pc:spChg chg="del mod ord">
          <ac:chgData name="Alex Jordan" userId="30755697-3be4-4efa-ad5c-ca2e4102b45a" providerId="ADAL" clId="{FC76EA98-9B1A-4F2F-9A6E-876FE3C87E8A}" dt="2025-06-27T11:04:33.651" v="104750" actId="478"/>
          <ac:spMkLst>
            <pc:docMk/>
            <pc:sldMk cId="2251385594" sldId="376"/>
            <ac:spMk id="6" creationId="{63D1D2C1-203D-0EB7-450A-71E5D8BEB4A5}"/>
          </ac:spMkLst>
        </pc:spChg>
        <pc:spChg chg="del mod ord">
          <ac:chgData name="Alex Jordan" userId="30755697-3be4-4efa-ad5c-ca2e4102b45a" providerId="ADAL" clId="{FC76EA98-9B1A-4F2F-9A6E-876FE3C87E8A}" dt="2025-06-27T11:04:33.651" v="104750" actId="478"/>
          <ac:spMkLst>
            <pc:docMk/>
            <pc:sldMk cId="2251385594" sldId="376"/>
            <ac:spMk id="8" creationId="{D5517032-0FEC-FCEA-14C1-B1BE5024D0C7}"/>
          </ac:spMkLst>
        </pc:spChg>
        <pc:spChg chg="del mod ord">
          <ac:chgData name="Alex Jordan" userId="30755697-3be4-4efa-ad5c-ca2e4102b45a" providerId="ADAL" clId="{FC76EA98-9B1A-4F2F-9A6E-876FE3C87E8A}" dt="2025-06-27T11:04:33.651" v="104750" actId="478"/>
          <ac:spMkLst>
            <pc:docMk/>
            <pc:sldMk cId="2251385594" sldId="376"/>
            <ac:spMk id="9" creationId="{B53EFD93-4E48-0546-9497-BEFBC415158D}"/>
          </ac:spMkLst>
        </pc:spChg>
        <pc:spChg chg="add mod">
          <ac:chgData name="Alex Jordan" userId="30755697-3be4-4efa-ad5c-ca2e4102b45a" providerId="ADAL" clId="{FC76EA98-9B1A-4F2F-9A6E-876FE3C87E8A}" dt="2025-06-27T11:05:13.162" v="104764"/>
          <ac:spMkLst>
            <pc:docMk/>
            <pc:sldMk cId="2251385594" sldId="376"/>
            <ac:spMk id="10" creationId="{90239046-71A5-053B-DFC4-405458850F08}"/>
          </ac:spMkLst>
        </pc:spChg>
        <pc:spChg chg="add mod">
          <ac:chgData name="Alex Jordan" userId="30755697-3be4-4efa-ad5c-ca2e4102b45a" providerId="ADAL" clId="{FC76EA98-9B1A-4F2F-9A6E-876FE3C87E8A}" dt="2025-06-27T11:05:13.162" v="104764"/>
          <ac:spMkLst>
            <pc:docMk/>
            <pc:sldMk cId="2251385594" sldId="376"/>
            <ac:spMk id="11" creationId="{3D8133ED-5727-5779-64B0-A7BEE24B7D07}"/>
          </ac:spMkLst>
        </pc:spChg>
        <pc:spChg chg="add mod">
          <ac:chgData name="Alex Jordan" userId="30755697-3be4-4efa-ad5c-ca2e4102b45a" providerId="ADAL" clId="{FC76EA98-9B1A-4F2F-9A6E-876FE3C87E8A}" dt="2025-06-27T11:05:27.600" v="104776"/>
          <ac:spMkLst>
            <pc:docMk/>
            <pc:sldMk cId="2251385594" sldId="376"/>
            <ac:spMk id="12" creationId="{CD198259-8B45-39EB-D925-63DC756F78CB}"/>
          </ac:spMkLst>
        </pc:spChg>
        <pc:spChg chg="add mod">
          <ac:chgData name="Alex Jordan" userId="30755697-3be4-4efa-ad5c-ca2e4102b45a" providerId="ADAL" clId="{FC76EA98-9B1A-4F2F-9A6E-876FE3C87E8A}" dt="2025-06-27T11:05:27.600" v="104776"/>
          <ac:spMkLst>
            <pc:docMk/>
            <pc:sldMk cId="2251385594" sldId="376"/>
            <ac:spMk id="13" creationId="{9A1EE0D5-50CB-6A51-1DBC-F954AF889B17}"/>
          </ac:spMkLst>
        </pc:spChg>
        <pc:spChg chg="add mod">
          <ac:chgData name="Alex Jordan" userId="30755697-3be4-4efa-ad5c-ca2e4102b45a" providerId="ADAL" clId="{FC76EA98-9B1A-4F2F-9A6E-876FE3C87E8A}" dt="2025-06-27T11:05:27.600" v="104776"/>
          <ac:spMkLst>
            <pc:docMk/>
            <pc:sldMk cId="2251385594" sldId="376"/>
            <ac:spMk id="14" creationId="{6792CBAC-231D-F03E-D83D-5B8AB1FA9148}"/>
          </ac:spMkLst>
        </pc:spChg>
        <pc:spChg chg="add mod">
          <ac:chgData name="Alex Jordan" userId="30755697-3be4-4efa-ad5c-ca2e4102b45a" providerId="ADAL" clId="{FC76EA98-9B1A-4F2F-9A6E-876FE3C87E8A}" dt="2025-06-27T11:05:27.600" v="104776"/>
          <ac:spMkLst>
            <pc:docMk/>
            <pc:sldMk cId="2251385594" sldId="376"/>
            <ac:spMk id="15" creationId="{9A84F1FC-0C64-FAF0-6D6A-F47B30EFC676}"/>
          </ac:spMkLst>
        </pc:spChg>
        <pc:spChg chg="mod ord">
          <ac:chgData name="Alex Jordan" userId="30755697-3be4-4efa-ad5c-ca2e4102b45a" providerId="ADAL" clId="{FC76EA98-9B1A-4F2F-9A6E-876FE3C87E8A}" dt="2025-06-25T08:46:35.401" v="104336"/>
          <ac:spMkLst>
            <pc:docMk/>
            <pc:sldMk cId="2251385594" sldId="376"/>
            <ac:spMk id="38" creationId="{31C6838A-9A6D-F5D3-07C2-A5F1002ECB9C}"/>
          </ac:spMkLst>
        </pc:spChg>
        <pc:spChg chg="mod ord">
          <ac:chgData name="Alex Jordan" userId="30755697-3be4-4efa-ad5c-ca2e4102b45a" providerId="ADAL" clId="{FC76EA98-9B1A-4F2F-9A6E-876FE3C87E8A}" dt="2025-06-25T08:46:35.406" v="104342"/>
          <ac:spMkLst>
            <pc:docMk/>
            <pc:sldMk cId="2251385594" sldId="376"/>
            <ac:spMk id="54" creationId="{339A5545-F146-E332-6876-608403690186}"/>
          </ac:spMkLst>
        </pc:spChg>
        <pc:spChg chg="mod">
          <ac:chgData name="Alex Jordan" userId="30755697-3be4-4efa-ad5c-ca2e4102b45a" providerId="ADAL" clId="{FC76EA98-9B1A-4F2F-9A6E-876FE3C87E8A}" dt="2025-06-25T08:46:30.353" v="100153" actId="947"/>
          <ac:spMkLst>
            <pc:docMk/>
            <pc:sldMk cId="2251385594" sldId="376"/>
            <ac:spMk id="56" creationId="{6E593F5C-33F0-7F3A-6B28-074145FCC308}"/>
          </ac:spMkLst>
        </pc:spChg>
        <pc:spChg chg="mod">
          <ac:chgData name="Alex Jordan" userId="30755697-3be4-4efa-ad5c-ca2e4102b45a" providerId="ADAL" clId="{FC76EA98-9B1A-4F2F-9A6E-876FE3C87E8A}" dt="2025-06-25T08:46:32.056" v="101958" actId="790"/>
          <ac:spMkLst>
            <pc:docMk/>
            <pc:sldMk cId="2251385594" sldId="376"/>
            <ac:spMk id="57" creationId="{327C4DD2-2E92-FB86-CC19-6ED8C13D6CD7}"/>
          </ac:spMkLst>
        </pc:spChg>
        <pc:spChg chg="mod">
          <ac:chgData name="Alex Jordan" userId="30755697-3be4-4efa-ad5c-ca2e4102b45a" providerId="ADAL" clId="{FC76EA98-9B1A-4F2F-9A6E-876FE3C87E8A}" dt="2025-06-25T08:46:32.056" v="101958" actId="790"/>
          <ac:spMkLst>
            <pc:docMk/>
            <pc:sldMk cId="2251385594" sldId="376"/>
            <ac:spMk id="60" creationId="{8A4094F1-BCD9-AB82-AEC8-590E48095EFD}"/>
          </ac:spMkLst>
        </pc:spChg>
        <pc:spChg chg="mod ord">
          <ac:chgData name="Alex Jordan" userId="30755697-3be4-4efa-ad5c-ca2e4102b45a" providerId="ADAL" clId="{FC76EA98-9B1A-4F2F-9A6E-876FE3C87E8A}" dt="2025-06-25T08:46:35.406" v="104344"/>
          <ac:spMkLst>
            <pc:docMk/>
            <pc:sldMk cId="2251385594" sldId="376"/>
            <ac:spMk id="6149" creationId="{E94F42C2-F28C-6B5F-7ECD-DE4F410A23B6}"/>
          </ac:spMkLst>
        </pc:spChg>
        <pc:spChg chg="add mod ord">
          <ac:chgData name="Alex Jordan" userId="30755697-3be4-4efa-ad5c-ca2e4102b45a" providerId="ADAL" clId="{FC76EA98-9B1A-4F2F-9A6E-876FE3C87E8A}" dt="2025-06-25T08:46:35.406" v="104346"/>
          <ac:spMkLst>
            <pc:docMk/>
            <pc:sldMk cId="2251385594" sldId="376"/>
            <ac:spMk id="6151" creationId="{C54F1898-11CB-3DA1-AEC8-0C2A43D882AA}"/>
          </ac:spMkLst>
        </pc:spChg>
        <pc:spChg chg="mod ord">
          <ac:chgData name="Alex Jordan" userId="30755697-3be4-4efa-ad5c-ca2e4102b45a" providerId="ADAL" clId="{FC76EA98-9B1A-4F2F-9A6E-876FE3C87E8A}" dt="2025-06-25T08:46:35.406" v="104348"/>
          <ac:spMkLst>
            <pc:docMk/>
            <pc:sldMk cId="2251385594" sldId="376"/>
            <ac:spMk id="6152" creationId="{BDEA0BF9-8BBF-E694-693A-21FB0498B378}"/>
          </ac:spMkLst>
        </pc:spChg>
        <pc:spChg chg="mod ord">
          <ac:chgData name="Alex Jordan" userId="30755697-3be4-4efa-ad5c-ca2e4102b45a" providerId="ADAL" clId="{FC76EA98-9B1A-4F2F-9A6E-876FE3C87E8A}" dt="2025-06-25T08:46:35.406" v="104350"/>
          <ac:spMkLst>
            <pc:docMk/>
            <pc:sldMk cId="2251385594" sldId="376"/>
            <ac:spMk id="6153" creationId="{37815030-38CB-A905-9767-95252D142FD4}"/>
          </ac:spMkLst>
        </pc:spChg>
        <pc:spChg chg="add mod ord">
          <ac:chgData name="Alex Jordan" userId="30755697-3be4-4efa-ad5c-ca2e4102b45a" providerId="ADAL" clId="{FC76EA98-9B1A-4F2F-9A6E-876FE3C87E8A}" dt="2025-06-25T08:46:35.406" v="104352"/>
          <ac:spMkLst>
            <pc:docMk/>
            <pc:sldMk cId="2251385594" sldId="376"/>
            <ac:spMk id="6154" creationId="{59F3278B-B78B-8269-A311-56F7B262E7FC}"/>
          </ac:spMkLst>
        </pc:spChg>
        <pc:spChg chg="mod ord">
          <ac:chgData name="Alex Jordan" userId="30755697-3be4-4efa-ad5c-ca2e4102b45a" providerId="ADAL" clId="{FC76EA98-9B1A-4F2F-9A6E-876FE3C87E8A}" dt="2025-06-25T08:46:35.406" v="104354"/>
          <ac:spMkLst>
            <pc:docMk/>
            <pc:sldMk cId="2251385594" sldId="376"/>
            <ac:spMk id="6155" creationId="{B28A0A96-CA07-35E0-5780-4CF48263C419}"/>
          </ac:spMkLst>
        </pc:spChg>
        <pc:spChg chg="mod ord">
          <ac:chgData name="Alex Jordan" userId="30755697-3be4-4efa-ad5c-ca2e4102b45a" providerId="ADAL" clId="{FC76EA98-9B1A-4F2F-9A6E-876FE3C87E8A}" dt="2025-06-25T08:46:35.406" v="104356"/>
          <ac:spMkLst>
            <pc:docMk/>
            <pc:sldMk cId="2251385594" sldId="376"/>
            <ac:spMk id="6156" creationId="{5B5993C4-512F-8085-EAA2-52A75A52D049}"/>
          </ac:spMkLst>
        </pc:spChg>
        <pc:spChg chg="add mod ord">
          <ac:chgData name="Alex Jordan" userId="30755697-3be4-4efa-ad5c-ca2e4102b45a" providerId="ADAL" clId="{FC76EA98-9B1A-4F2F-9A6E-876FE3C87E8A}" dt="2025-06-25T08:46:35.406" v="104358"/>
          <ac:spMkLst>
            <pc:docMk/>
            <pc:sldMk cId="2251385594" sldId="376"/>
            <ac:spMk id="6157" creationId="{8F80D5D5-C5DD-C20C-6CF8-ACA2D0BD2553}"/>
          </ac:spMkLst>
        </pc:spChg>
        <pc:spChg chg="add mod">
          <ac:chgData name="Alex Jordan" userId="30755697-3be4-4efa-ad5c-ca2e4102b45a" providerId="ADAL" clId="{FC76EA98-9B1A-4F2F-9A6E-876FE3C87E8A}" dt="2025-06-25T08:46:35.406" v="104375"/>
          <ac:spMkLst>
            <pc:docMk/>
            <pc:sldMk cId="2251385594" sldId="376"/>
            <ac:spMk id="6166" creationId="{DC412A11-295B-AF46-039B-0E8B920BA7E5}"/>
          </ac:spMkLst>
        </pc:spChg>
        <pc:spChg chg="add mod">
          <ac:chgData name="Alex Jordan" userId="30755697-3be4-4efa-ad5c-ca2e4102b45a" providerId="ADAL" clId="{FC76EA98-9B1A-4F2F-9A6E-876FE3C87E8A}" dt="2025-06-25T08:46:35.406" v="104376"/>
          <ac:spMkLst>
            <pc:docMk/>
            <pc:sldMk cId="2251385594" sldId="376"/>
            <ac:spMk id="6167" creationId="{19A4342D-ED0E-E0AB-C66A-DE7E02120866}"/>
          </ac:spMkLst>
        </pc:spChg>
        <pc:spChg chg="mod">
          <ac:chgData name="Alex Jordan" userId="30755697-3be4-4efa-ad5c-ca2e4102b45a" providerId="ADAL" clId="{FC76EA98-9B1A-4F2F-9A6E-876FE3C87E8A}" dt="2025-06-25T08:46:35.406" v="104377"/>
          <ac:spMkLst>
            <pc:docMk/>
            <pc:sldMk cId="2251385594" sldId="376"/>
            <ac:spMk id="6168" creationId="{2576C3A6-10D4-5142-C8C7-13C50BAA968D}"/>
          </ac:spMkLst>
        </pc:spChg>
        <pc:spChg chg="add mod">
          <ac:chgData name="Alex Jordan" userId="30755697-3be4-4efa-ad5c-ca2e4102b45a" providerId="ADAL" clId="{FC76EA98-9B1A-4F2F-9A6E-876FE3C87E8A}" dt="2025-06-25T08:46:35.406" v="104378"/>
          <ac:spMkLst>
            <pc:docMk/>
            <pc:sldMk cId="2251385594" sldId="376"/>
            <ac:spMk id="6169" creationId="{3366814C-44A5-5C8E-5B16-346BF2291E9A}"/>
          </ac:spMkLst>
        </pc:spChg>
        <pc:spChg chg="add mod">
          <ac:chgData name="Alex Jordan" userId="30755697-3be4-4efa-ad5c-ca2e4102b45a" providerId="ADAL" clId="{FC76EA98-9B1A-4F2F-9A6E-876FE3C87E8A}" dt="2025-06-25T08:46:35.406" v="104379"/>
          <ac:spMkLst>
            <pc:docMk/>
            <pc:sldMk cId="2251385594" sldId="376"/>
            <ac:spMk id="6170" creationId="{7B1E0223-CE8E-E1A8-8182-A893F3B6E0E7}"/>
          </ac:spMkLst>
        </pc:spChg>
        <pc:spChg chg="add mod">
          <ac:chgData name="Alex Jordan" userId="30755697-3be4-4efa-ad5c-ca2e4102b45a" providerId="ADAL" clId="{FC76EA98-9B1A-4F2F-9A6E-876FE3C87E8A}" dt="2025-06-25T08:46:35.406" v="104380"/>
          <ac:spMkLst>
            <pc:docMk/>
            <pc:sldMk cId="2251385594" sldId="376"/>
            <ac:spMk id="6171" creationId="{30F909A8-817C-AC43-C9BF-BC5076387606}"/>
          </ac:spMkLst>
        </pc:spChg>
        <pc:spChg chg="mod">
          <ac:chgData name="Alex Jordan" userId="30755697-3be4-4efa-ad5c-ca2e4102b45a" providerId="ADAL" clId="{FC76EA98-9B1A-4F2F-9A6E-876FE3C87E8A}" dt="2025-06-25T08:46:35.417" v="104381"/>
          <ac:spMkLst>
            <pc:docMk/>
            <pc:sldMk cId="2251385594" sldId="376"/>
            <ac:spMk id="6172" creationId="{0687998F-3283-D757-6643-0F62C637A4AC}"/>
          </ac:spMkLst>
        </pc:spChg>
        <pc:spChg chg="mod">
          <ac:chgData name="Alex Jordan" userId="30755697-3be4-4efa-ad5c-ca2e4102b45a" providerId="ADAL" clId="{FC76EA98-9B1A-4F2F-9A6E-876FE3C87E8A}" dt="2025-06-25T08:46:35.417" v="104390"/>
          <ac:spMkLst>
            <pc:docMk/>
            <pc:sldMk cId="2251385594" sldId="376"/>
            <ac:spMk id="6177" creationId="{38F8F471-3172-CD4B-A074-62F5F28483BE}"/>
          </ac:spMkLst>
        </pc:spChg>
        <pc:spChg chg="add mod">
          <ac:chgData name="Alex Jordan" userId="30755697-3be4-4efa-ad5c-ca2e4102b45a" providerId="ADAL" clId="{FC76EA98-9B1A-4F2F-9A6E-876FE3C87E8A}" dt="2025-06-25T08:46:35.417" v="104391"/>
          <ac:spMkLst>
            <pc:docMk/>
            <pc:sldMk cId="2251385594" sldId="376"/>
            <ac:spMk id="6178" creationId="{84C9B2E0-F2DA-24FC-41E4-1362A7C79AA2}"/>
          </ac:spMkLst>
        </pc:spChg>
        <pc:spChg chg="mod">
          <ac:chgData name="Alex Jordan" userId="30755697-3be4-4efa-ad5c-ca2e4102b45a" providerId="ADAL" clId="{FC76EA98-9B1A-4F2F-9A6E-876FE3C87E8A}" dt="2025-06-25T08:46:35.417" v="104392"/>
          <ac:spMkLst>
            <pc:docMk/>
            <pc:sldMk cId="2251385594" sldId="376"/>
            <ac:spMk id="6179" creationId="{613EC813-2566-F72E-899B-BCDC616015F4}"/>
          </ac:spMkLst>
        </pc:spChg>
        <pc:spChg chg="mod">
          <ac:chgData name="Alex Jordan" userId="30755697-3be4-4efa-ad5c-ca2e4102b45a" providerId="ADAL" clId="{FC76EA98-9B1A-4F2F-9A6E-876FE3C87E8A}" dt="2025-06-25T08:46:35.417" v="104393"/>
          <ac:spMkLst>
            <pc:docMk/>
            <pc:sldMk cId="2251385594" sldId="376"/>
            <ac:spMk id="6180" creationId="{2E20B844-18B7-1B02-5D21-FB8E61CCF44A}"/>
          </ac:spMkLst>
        </pc:spChg>
        <pc:spChg chg="mod">
          <ac:chgData name="Alex Jordan" userId="30755697-3be4-4efa-ad5c-ca2e4102b45a" providerId="ADAL" clId="{FC76EA98-9B1A-4F2F-9A6E-876FE3C87E8A}" dt="2025-06-25T08:46:35.417" v="104394"/>
          <ac:spMkLst>
            <pc:docMk/>
            <pc:sldMk cId="2251385594" sldId="376"/>
            <ac:spMk id="6181" creationId="{CAAC9F49-96FA-4ECB-2D6C-EBDD9E8BF1E9}"/>
          </ac:spMkLst>
        </pc:spChg>
        <pc:spChg chg="add mod">
          <ac:chgData name="Alex Jordan" userId="30755697-3be4-4efa-ad5c-ca2e4102b45a" providerId="ADAL" clId="{FC76EA98-9B1A-4F2F-9A6E-876FE3C87E8A}" dt="2025-06-25T08:46:35.417" v="104395"/>
          <ac:spMkLst>
            <pc:docMk/>
            <pc:sldMk cId="2251385594" sldId="376"/>
            <ac:spMk id="6182" creationId="{D355A980-3945-8B22-FA2A-8BB3DFA42EAB}"/>
          </ac:spMkLst>
        </pc:spChg>
        <pc:grpChg chg="mod ord">
          <ac:chgData name="Alex Jordan" userId="30755697-3be4-4efa-ad5c-ca2e4102b45a" providerId="ADAL" clId="{FC76EA98-9B1A-4F2F-9A6E-876FE3C87E8A}" dt="2025-06-25T08:46:35.401" v="104338"/>
          <ac:grpSpMkLst>
            <pc:docMk/>
            <pc:sldMk cId="2251385594" sldId="376"/>
            <ac:grpSpMk id="55" creationId="{FBFC04FF-3C06-124E-CB8C-40D58CDCE950}"/>
          </ac:grpSpMkLst>
        </pc:grpChg>
        <pc:graphicFrameChg chg="mod">
          <ac:chgData name="Alex Jordan" userId="30755697-3be4-4efa-ad5c-ca2e4102b45a" providerId="ADAL" clId="{FC76EA98-9B1A-4F2F-9A6E-876FE3C87E8A}" dt="2025-06-25T08:46:35.417" v="104406"/>
          <ac:graphicFrameMkLst>
            <pc:docMk/>
            <pc:sldMk cId="2251385594" sldId="376"/>
            <ac:graphicFrameMk id="7" creationId="{17987F0D-BDCA-6C0F-B8CF-8EBF40A05E3B}"/>
          </ac:graphicFrameMkLst>
        </pc:graphicFrameChg>
        <pc:graphicFrameChg chg="add mod ord">
          <ac:chgData name="Alex Jordan" userId="30755697-3be4-4efa-ad5c-ca2e4102b45a" providerId="ADAL" clId="{FC76EA98-9B1A-4F2F-9A6E-876FE3C87E8A}" dt="2025-06-25T08:46:35.406" v="104374"/>
          <ac:graphicFrameMkLst>
            <pc:docMk/>
            <pc:sldMk cId="2251385594" sldId="376"/>
            <ac:graphicFrameMk id="17" creationId="{D5C7CD5C-EDE2-7C9B-48B7-201213CC41B2}"/>
          </ac:graphicFrameMkLst>
        </pc:graphicFrameChg>
        <pc:graphicFrameChg chg="mod ord">
          <ac:chgData name="Alex Jordan" userId="30755697-3be4-4efa-ad5c-ca2e4102b45a" providerId="ADAL" clId="{FC76EA98-9B1A-4F2F-9A6E-876FE3C87E8A}" dt="2025-06-25T08:46:35.406" v="104340"/>
          <ac:graphicFrameMkLst>
            <pc:docMk/>
            <pc:sldMk cId="2251385594" sldId="376"/>
            <ac:graphicFrameMk id="53" creationId="{B63BC5F4-F290-8891-7EBF-71B58E9E568A}"/>
          </ac:graphicFrameMkLst>
        </pc:graphicFrameChg>
        <pc:graphicFrameChg chg="mod ord modGraphic">
          <ac:chgData name="Alex Jordan" userId="30755697-3be4-4efa-ad5c-ca2e4102b45a" providerId="ADAL" clId="{FC76EA98-9B1A-4F2F-9A6E-876FE3C87E8A}" dt="2025-06-25T08:46:35.417" v="104399"/>
          <ac:graphicFrameMkLst>
            <pc:docMk/>
            <pc:sldMk cId="2251385594" sldId="376"/>
            <ac:graphicFrameMk id="6248" creationId="{3D5F3D12-7DDE-4304-6335-E0D3225DA174}"/>
          </ac:graphicFrameMkLst>
        </pc:graphicFrameChg>
        <pc:picChg chg="add mod">
          <ac:chgData name="Alex Jordan" userId="30755697-3be4-4efa-ad5c-ca2e4102b45a" providerId="ADAL" clId="{FC76EA98-9B1A-4F2F-9A6E-876FE3C87E8A}" dt="2025-06-25T08:46:35.417" v="104400"/>
          <ac:picMkLst>
            <pc:docMk/>
            <pc:sldMk cId="2251385594" sldId="376"/>
            <ac:picMk id="1026" creationId="{957F8067-5576-07BD-1573-2A0567925DE4}"/>
          </ac:picMkLst>
        </pc:picChg>
        <pc:picChg chg="add mod">
          <ac:chgData name="Alex Jordan" userId="30755697-3be4-4efa-ad5c-ca2e4102b45a" providerId="ADAL" clId="{FC76EA98-9B1A-4F2F-9A6E-876FE3C87E8A}" dt="2025-06-25T08:46:35.417" v="104401"/>
          <ac:picMkLst>
            <pc:docMk/>
            <pc:sldMk cId="2251385594" sldId="376"/>
            <ac:picMk id="1028" creationId="{762E6DDB-9745-B753-AD56-CBB1930F16A4}"/>
          </ac:picMkLst>
        </pc:picChg>
        <pc:picChg chg="add mod">
          <ac:chgData name="Alex Jordan" userId="30755697-3be4-4efa-ad5c-ca2e4102b45a" providerId="ADAL" clId="{FC76EA98-9B1A-4F2F-9A6E-876FE3C87E8A}" dt="2025-06-25T08:46:35.417" v="104402"/>
          <ac:picMkLst>
            <pc:docMk/>
            <pc:sldMk cId="2251385594" sldId="376"/>
            <ac:picMk id="1030" creationId="{9B0CFFC2-8EBE-3B5A-1AC9-F03740692DF1}"/>
          </ac:picMkLst>
        </pc:picChg>
        <pc:cxnChg chg="mod ord">
          <ac:chgData name="Alex Jordan" userId="30755697-3be4-4efa-ad5c-ca2e4102b45a" providerId="ADAL" clId="{FC76EA98-9B1A-4F2F-9A6E-876FE3C87E8A}" dt="2025-06-25T08:46:35.406" v="104360"/>
          <ac:cxnSpMkLst>
            <pc:docMk/>
            <pc:sldMk cId="2251385594" sldId="376"/>
            <ac:cxnSpMk id="6158" creationId="{07ECC94C-8C02-336D-8237-7B61BA9810A7}"/>
          </ac:cxnSpMkLst>
        </pc:cxnChg>
        <pc:cxnChg chg="mod ord">
          <ac:chgData name="Alex Jordan" userId="30755697-3be4-4efa-ad5c-ca2e4102b45a" providerId="ADAL" clId="{FC76EA98-9B1A-4F2F-9A6E-876FE3C87E8A}" dt="2025-06-25T08:46:35.406" v="104362"/>
          <ac:cxnSpMkLst>
            <pc:docMk/>
            <pc:sldMk cId="2251385594" sldId="376"/>
            <ac:cxnSpMk id="6159" creationId="{C3F3BCE0-751A-4322-50C8-3689A13E5A60}"/>
          </ac:cxnSpMkLst>
        </pc:cxnChg>
        <pc:cxnChg chg="mod ord">
          <ac:chgData name="Alex Jordan" userId="30755697-3be4-4efa-ad5c-ca2e4102b45a" providerId="ADAL" clId="{FC76EA98-9B1A-4F2F-9A6E-876FE3C87E8A}" dt="2025-06-25T08:46:35.406" v="104364"/>
          <ac:cxnSpMkLst>
            <pc:docMk/>
            <pc:sldMk cId="2251385594" sldId="376"/>
            <ac:cxnSpMk id="6160" creationId="{6553C049-F04B-F0A2-ACF1-07D6D9952374}"/>
          </ac:cxnSpMkLst>
        </pc:cxnChg>
        <pc:cxnChg chg="mod ord">
          <ac:chgData name="Alex Jordan" userId="30755697-3be4-4efa-ad5c-ca2e4102b45a" providerId="ADAL" clId="{FC76EA98-9B1A-4F2F-9A6E-876FE3C87E8A}" dt="2025-06-25T08:46:35.406" v="104366"/>
          <ac:cxnSpMkLst>
            <pc:docMk/>
            <pc:sldMk cId="2251385594" sldId="376"/>
            <ac:cxnSpMk id="6161" creationId="{B82F0CA8-07AC-6E3D-F77C-364E2B9EF3BA}"/>
          </ac:cxnSpMkLst>
        </pc:cxnChg>
        <pc:cxnChg chg="mod ord">
          <ac:chgData name="Alex Jordan" userId="30755697-3be4-4efa-ad5c-ca2e4102b45a" providerId="ADAL" clId="{FC76EA98-9B1A-4F2F-9A6E-876FE3C87E8A}" dt="2025-06-25T08:46:35.406" v="104368"/>
          <ac:cxnSpMkLst>
            <pc:docMk/>
            <pc:sldMk cId="2251385594" sldId="376"/>
            <ac:cxnSpMk id="6162" creationId="{E2521AAB-5710-6627-5A9D-C49082093578}"/>
          </ac:cxnSpMkLst>
        </pc:cxnChg>
        <pc:cxnChg chg="mod ord">
          <ac:chgData name="Alex Jordan" userId="30755697-3be4-4efa-ad5c-ca2e4102b45a" providerId="ADAL" clId="{FC76EA98-9B1A-4F2F-9A6E-876FE3C87E8A}" dt="2025-06-25T08:46:35.406" v="104370"/>
          <ac:cxnSpMkLst>
            <pc:docMk/>
            <pc:sldMk cId="2251385594" sldId="376"/>
            <ac:cxnSpMk id="6163" creationId="{16384E44-4F54-2013-C2BB-0D8BDDD2C77A}"/>
          </ac:cxnSpMkLst>
        </pc:cxnChg>
        <pc:cxnChg chg="mod ord">
          <ac:chgData name="Alex Jordan" userId="30755697-3be4-4efa-ad5c-ca2e4102b45a" providerId="ADAL" clId="{FC76EA98-9B1A-4F2F-9A6E-876FE3C87E8A}" dt="2025-06-25T08:46:35.406" v="104372"/>
          <ac:cxnSpMkLst>
            <pc:docMk/>
            <pc:sldMk cId="2251385594" sldId="376"/>
            <ac:cxnSpMk id="6164" creationId="{2F0A161F-9C1D-CC6B-F502-3520DCC0110B}"/>
          </ac:cxnSpMkLst>
        </pc:cxnChg>
        <pc:cxnChg chg="mod ord">
          <ac:chgData name="Alex Jordan" userId="30755697-3be4-4efa-ad5c-ca2e4102b45a" providerId="ADAL" clId="{FC76EA98-9B1A-4F2F-9A6E-876FE3C87E8A}" dt="2025-06-25T08:46:35.417" v="104383"/>
          <ac:cxnSpMkLst>
            <pc:docMk/>
            <pc:sldMk cId="2251385594" sldId="376"/>
            <ac:cxnSpMk id="6173" creationId="{71DC414E-0EFA-05CC-54A6-A7D2A9753B2D}"/>
          </ac:cxnSpMkLst>
        </pc:cxnChg>
        <pc:cxnChg chg="mod ord">
          <ac:chgData name="Alex Jordan" userId="30755697-3be4-4efa-ad5c-ca2e4102b45a" providerId="ADAL" clId="{FC76EA98-9B1A-4F2F-9A6E-876FE3C87E8A}" dt="2025-06-25T08:46:35.417" v="104385"/>
          <ac:cxnSpMkLst>
            <pc:docMk/>
            <pc:sldMk cId="2251385594" sldId="376"/>
            <ac:cxnSpMk id="6174" creationId="{67465331-1251-E800-AE9A-4D291B4D0C86}"/>
          </ac:cxnSpMkLst>
        </pc:cxnChg>
        <pc:cxnChg chg="mod ord">
          <ac:chgData name="Alex Jordan" userId="30755697-3be4-4efa-ad5c-ca2e4102b45a" providerId="ADAL" clId="{FC76EA98-9B1A-4F2F-9A6E-876FE3C87E8A}" dt="2025-06-25T08:46:35.417" v="104387"/>
          <ac:cxnSpMkLst>
            <pc:docMk/>
            <pc:sldMk cId="2251385594" sldId="376"/>
            <ac:cxnSpMk id="6175" creationId="{BB78537B-A0B8-7FFD-241F-89A1075E53FC}"/>
          </ac:cxnSpMkLst>
        </pc:cxnChg>
        <pc:cxnChg chg="mod ord">
          <ac:chgData name="Alex Jordan" userId="30755697-3be4-4efa-ad5c-ca2e4102b45a" providerId="ADAL" clId="{FC76EA98-9B1A-4F2F-9A6E-876FE3C87E8A}" dt="2025-06-25T08:46:35.417" v="104389"/>
          <ac:cxnSpMkLst>
            <pc:docMk/>
            <pc:sldMk cId="2251385594" sldId="376"/>
            <ac:cxnSpMk id="6176" creationId="{58107A4C-C7A0-D855-43EF-95C92867FB17}"/>
          </ac:cxnSpMkLst>
        </pc:cxnChg>
        <pc:cxnChg chg="mod ord">
          <ac:chgData name="Alex Jordan" userId="30755697-3be4-4efa-ad5c-ca2e4102b45a" providerId="ADAL" clId="{FC76EA98-9B1A-4F2F-9A6E-876FE3C87E8A}" dt="2025-06-25T08:46:35.417" v="104397"/>
          <ac:cxnSpMkLst>
            <pc:docMk/>
            <pc:sldMk cId="2251385594" sldId="376"/>
            <ac:cxnSpMk id="6243" creationId="{3105EBB9-49DC-3E52-23BE-BFF5F24A6F67}"/>
          </ac:cxnSpMkLst>
        </pc:cxnChg>
      </pc:sldChg>
      <pc:sldChg chg="addSp delSp modSp add mod modNotes">
        <pc:chgData name="Alex Jordan" userId="30755697-3be4-4efa-ad5c-ca2e4102b45a" providerId="ADAL" clId="{FC76EA98-9B1A-4F2F-9A6E-876FE3C87E8A}" dt="2025-06-27T11:05:27.600" v="104777"/>
        <pc:sldMkLst>
          <pc:docMk/>
          <pc:sldMk cId="3843700810" sldId="377"/>
        </pc:sldMkLst>
        <pc:spChg chg="mod ord">
          <ac:chgData name="Alex Jordan" userId="30755697-3be4-4efa-ad5c-ca2e4102b45a" providerId="ADAL" clId="{FC76EA98-9B1A-4F2F-9A6E-876FE3C87E8A}" dt="2025-06-25T08:46:35.276" v="104209"/>
          <ac:spMkLst>
            <pc:docMk/>
            <pc:sldMk cId="3843700810" sldId="377"/>
            <ac:spMk id="2" creationId="{655E4288-F762-04F8-1E8E-074A95F585BE}"/>
          </ac:spMkLst>
        </pc:spChg>
        <pc:spChg chg="add mod">
          <ac:chgData name="Alex Jordan" userId="30755697-3be4-4efa-ad5c-ca2e4102b45a" providerId="ADAL" clId="{FC76EA98-9B1A-4F2F-9A6E-876FE3C87E8A}" dt="2025-06-27T11:05:13.164" v="104765"/>
          <ac:spMkLst>
            <pc:docMk/>
            <pc:sldMk cId="3843700810" sldId="377"/>
            <ac:spMk id="3" creationId="{9930EEDE-17FF-B823-CF83-2542804BB5CA}"/>
          </ac:spMkLst>
        </pc:spChg>
        <pc:spChg chg="del mod ord">
          <ac:chgData name="Alex Jordan" userId="30755697-3be4-4efa-ad5c-ca2e4102b45a" providerId="ADAL" clId="{FC76EA98-9B1A-4F2F-9A6E-876FE3C87E8A}" dt="2025-06-27T11:04:36.551" v="104751" actId="478"/>
          <ac:spMkLst>
            <pc:docMk/>
            <pc:sldMk cId="3843700810" sldId="377"/>
            <ac:spMk id="4" creationId="{B298EBA8-5939-EA36-72FF-BEC55BF99C06}"/>
          </ac:spMkLst>
        </pc:spChg>
        <pc:spChg chg="del mod ord">
          <ac:chgData name="Alex Jordan" userId="30755697-3be4-4efa-ad5c-ca2e4102b45a" providerId="ADAL" clId="{FC76EA98-9B1A-4F2F-9A6E-876FE3C87E8A}" dt="2025-06-27T11:04:36.551" v="104751" actId="478"/>
          <ac:spMkLst>
            <pc:docMk/>
            <pc:sldMk cId="3843700810" sldId="377"/>
            <ac:spMk id="5" creationId="{2A51A3AF-2405-0ADB-ED26-A41B274A3723}"/>
          </ac:spMkLst>
        </pc:spChg>
        <pc:spChg chg="del mod ord">
          <ac:chgData name="Alex Jordan" userId="30755697-3be4-4efa-ad5c-ca2e4102b45a" providerId="ADAL" clId="{FC76EA98-9B1A-4F2F-9A6E-876FE3C87E8A}" dt="2025-06-27T11:04:36.551" v="104751" actId="478"/>
          <ac:spMkLst>
            <pc:docMk/>
            <pc:sldMk cId="3843700810" sldId="377"/>
            <ac:spMk id="6" creationId="{94131B15-0E5C-F7C2-A970-60EB841251CC}"/>
          </ac:spMkLst>
        </pc:spChg>
        <pc:spChg chg="del mod ord">
          <ac:chgData name="Alex Jordan" userId="30755697-3be4-4efa-ad5c-ca2e4102b45a" providerId="ADAL" clId="{FC76EA98-9B1A-4F2F-9A6E-876FE3C87E8A}" dt="2025-06-27T11:04:36.551" v="104751" actId="478"/>
          <ac:spMkLst>
            <pc:docMk/>
            <pc:sldMk cId="3843700810" sldId="377"/>
            <ac:spMk id="8" creationId="{FA2BA36A-FF56-72D6-485B-B596D1FA930F}"/>
          </ac:spMkLst>
        </pc:spChg>
        <pc:spChg chg="del mod ord">
          <ac:chgData name="Alex Jordan" userId="30755697-3be4-4efa-ad5c-ca2e4102b45a" providerId="ADAL" clId="{FC76EA98-9B1A-4F2F-9A6E-876FE3C87E8A}" dt="2025-06-27T11:04:36.551" v="104751" actId="478"/>
          <ac:spMkLst>
            <pc:docMk/>
            <pc:sldMk cId="3843700810" sldId="377"/>
            <ac:spMk id="9" creationId="{11F9BC91-4560-0CE1-43EA-02EBEF08BD9A}"/>
          </ac:spMkLst>
        </pc:spChg>
        <pc:spChg chg="add mod">
          <ac:chgData name="Alex Jordan" userId="30755697-3be4-4efa-ad5c-ca2e4102b45a" providerId="ADAL" clId="{FC76EA98-9B1A-4F2F-9A6E-876FE3C87E8A}" dt="2025-06-27T11:05:13.164" v="104765"/>
          <ac:spMkLst>
            <pc:docMk/>
            <pc:sldMk cId="3843700810" sldId="377"/>
            <ac:spMk id="10" creationId="{8B056F11-0D4A-8BEE-0ED0-7A98712F1C96}"/>
          </ac:spMkLst>
        </pc:spChg>
        <pc:spChg chg="add mod">
          <ac:chgData name="Alex Jordan" userId="30755697-3be4-4efa-ad5c-ca2e4102b45a" providerId="ADAL" clId="{FC76EA98-9B1A-4F2F-9A6E-876FE3C87E8A}" dt="2025-06-27T11:05:13.164" v="104765"/>
          <ac:spMkLst>
            <pc:docMk/>
            <pc:sldMk cId="3843700810" sldId="377"/>
            <ac:spMk id="11" creationId="{792AAB0D-36E9-180B-F571-6E6352327D11}"/>
          </ac:spMkLst>
        </pc:spChg>
        <pc:spChg chg="add mod">
          <ac:chgData name="Alex Jordan" userId="30755697-3be4-4efa-ad5c-ca2e4102b45a" providerId="ADAL" clId="{FC76EA98-9B1A-4F2F-9A6E-876FE3C87E8A}" dt="2025-06-27T11:05:27.600" v="104777"/>
          <ac:spMkLst>
            <pc:docMk/>
            <pc:sldMk cId="3843700810" sldId="377"/>
            <ac:spMk id="12" creationId="{358929FF-C97A-0409-ADC1-BD72F300299C}"/>
          </ac:spMkLst>
        </pc:spChg>
        <pc:spChg chg="add mod">
          <ac:chgData name="Alex Jordan" userId="30755697-3be4-4efa-ad5c-ca2e4102b45a" providerId="ADAL" clId="{FC76EA98-9B1A-4F2F-9A6E-876FE3C87E8A}" dt="2025-06-27T11:05:27.600" v="104777"/>
          <ac:spMkLst>
            <pc:docMk/>
            <pc:sldMk cId="3843700810" sldId="377"/>
            <ac:spMk id="13" creationId="{B5F7457C-EC34-E1A7-9311-391D46D523E7}"/>
          </ac:spMkLst>
        </pc:spChg>
        <pc:spChg chg="add mod">
          <ac:chgData name="Alex Jordan" userId="30755697-3be4-4efa-ad5c-ca2e4102b45a" providerId="ADAL" clId="{FC76EA98-9B1A-4F2F-9A6E-876FE3C87E8A}" dt="2025-06-27T11:05:27.600" v="104777"/>
          <ac:spMkLst>
            <pc:docMk/>
            <pc:sldMk cId="3843700810" sldId="377"/>
            <ac:spMk id="14" creationId="{27DCAFA4-B1E0-4094-A7D0-250D7A2994C9}"/>
          </ac:spMkLst>
        </pc:spChg>
        <pc:spChg chg="add mod">
          <ac:chgData name="Alex Jordan" userId="30755697-3be4-4efa-ad5c-ca2e4102b45a" providerId="ADAL" clId="{FC76EA98-9B1A-4F2F-9A6E-876FE3C87E8A}" dt="2025-06-27T11:05:27.600" v="104777"/>
          <ac:spMkLst>
            <pc:docMk/>
            <pc:sldMk cId="3843700810" sldId="377"/>
            <ac:spMk id="15" creationId="{A4A59523-34FB-8DCA-6E58-E48F55377E9C}"/>
          </ac:spMkLst>
        </pc:spChg>
        <pc:spChg chg="mod ord">
          <ac:chgData name="Alex Jordan" userId="30755697-3be4-4efa-ad5c-ca2e4102b45a" providerId="ADAL" clId="{FC76EA98-9B1A-4F2F-9A6E-876FE3C87E8A}" dt="2025-06-25T08:46:35.282" v="104221"/>
          <ac:spMkLst>
            <pc:docMk/>
            <pc:sldMk cId="3843700810" sldId="377"/>
            <ac:spMk id="38" creationId="{C37778E9-B385-6F2A-366C-08C74EA7B0CE}"/>
          </ac:spMkLst>
        </pc:spChg>
        <pc:spChg chg="mod ord">
          <ac:chgData name="Alex Jordan" userId="30755697-3be4-4efa-ad5c-ca2e4102b45a" providerId="ADAL" clId="{FC76EA98-9B1A-4F2F-9A6E-876FE3C87E8A}" dt="2025-06-25T08:46:35.286" v="104227"/>
          <ac:spMkLst>
            <pc:docMk/>
            <pc:sldMk cId="3843700810" sldId="377"/>
            <ac:spMk id="54" creationId="{11256D7A-18A1-08BF-CFB9-6A2C5F7E43FA}"/>
          </ac:spMkLst>
        </pc:spChg>
        <pc:spChg chg="mod">
          <ac:chgData name="Alex Jordan" userId="30755697-3be4-4efa-ad5c-ca2e4102b45a" providerId="ADAL" clId="{FC76EA98-9B1A-4F2F-9A6E-876FE3C87E8A}" dt="2025-06-25T08:46:30.180" v="99955" actId="947"/>
          <ac:spMkLst>
            <pc:docMk/>
            <pc:sldMk cId="3843700810" sldId="377"/>
            <ac:spMk id="56" creationId="{F016A2BF-C139-F4B7-861F-CB742F677EB5}"/>
          </ac:spMkLst>
        </pc:spChg>
        <pc:spChg chg="mod">
          <ac:chgData name="Alex Jordan" userId="30755697-3be4-4efa-ad5c-ca2e4102b45a" providerId="ADAL" clId="{FC76EA98-9B1A-4F2F-9A6E-876FE3C87E8A}" dt="2025-06-25T08:46:32.056" v="101958" actId="790"/>
          <ac:spMkLst>
            <pc:docMk/>
            <pc:sldMk cId="3843700810" sldId="377"/>
            <ac:spMk id="57" creationId="{8E1D5AD6-B8A0-DAC2-4837-486CEE8F136C}"/>
          </ac:spMkLst>
        </pc:spChg>
        <pc:spChg chg="mod">
          <ac:chgData name="Alex Jordan" userId="30755697-3be4-4efa-ad5c-ca2e4102b45a" providerId="ADAL" clId="{FC76EA98-9B1A-4F2F-9A6E-876FE3C87E8A}" dt="2025-06-25T08:46:32.056" v="101958" actId="790"/>
          <ac:spMkLst>
            <pc:docMk/>
            <pc:sldMk cId="3843700810" sldId="377"/>
            <ac:spMk id="60" creationId="{DE743370-CFF2-04C6-2BCB-229FA028726A}"/>
          </ac:spMkLst>
        </pc:spChg>
        <pc:spChg chg="mod ord">
          <ac:chgData name="Alex Jordan" userId="30755697-3be4-4efa-ad5c-ca2e4102b45a" providerId="ADAL" clId="{FC76EA98-9B1A-4F2F-9A6E-876FE3C87E8A}" dt="2025-06-25T08:46:35.286" v="104229"/>
          <ac:spMkLst>
            <pc:docMk/>
            <pc:sldMk cId="3843700810" sldId="377"/>
            <ac:spMk id="6149" creationId="{B57C3FBD-578F-27B8-84F5-DD5ADA0BAFE4}"/>
          </ac:spMkLst>
        </pc:spChg>
        <pc:spChg chg="mod ord">
          <ac:chgData name="Alex Jordan" userId="30755697-3be4-4efa-ad5c-ca2e4102b45a" providerId="ADAL" clId="{FC76EA98-9B1A-4F2F-9A6E-876FE3C87E8A}" dt="2025-06-25T08:46:35.286" v="104231"/>
          <ac:spMkLst>
            <pc:docMk/>
            <pc:sldMk cId="3843700810" sldId="377"/>
            <ac:spMk id="6151" creationId="{43AB8DED-EA6E-C84D-6F13-4E0744DAD0A1}"/>
          </ac:spMkLst>
        </pc:spChg>
        <pc:spChg chg="mod ord">
          <ac:chgData name="Alex Jordan" userId="30755697-3be4-4efa-ad5c-ca2e4102b45a" providerId="ADAL" clId="{FC76EA98-9B1A-4F2F-9A6E-876FE3C87E8A}" dt="2025-06-25T08:46:35.286" v="104233"/>
          <ac:spMkLst>
            <pc:docMk/>
            <pc:sldMk cId="3843700810" sldId="377"/>
            <ac:spMk id="6152" creationId="{D87476DC-A3B9-99C2-1DE1-BED0B28F0E48}"/>
          </ac:spMkLst>
        </pc:spChg>
        <pc:spChg chg="mod ord">
          <ac:chgData name="Alex Jordan" userId="30755697-3be4-4efa-ad5c-ca2e4102b45a" providerId="ADAL" clId="{FC76EA98-9B1A-4F2F-9A6E-876FE3C87E8A}" dt="2025-06-25T08:46:35.286" v="104235"/>
          <ac:spMkLst>
            <pc:docMk/>
            <pc:sldMk cId="3843700810" sldId="377"/>
            <ac:spMk id="6153" creationId="{FC4FD864-23B0-5BCC-021B-1B061B5504F1}"/>
          </ac:spMkLst>
        </pc:spChg>
        <pc:spChg chg="mod ord">
          <ac:chgData name="Alex Jordan" userId="30755697-3be4-4efa-ad5c-ca2e4102b45a" providerId="ADAL" clId="{FC76EA98-9B1A-4F2F-9A6E-876FE3C87E8A}" dt="2025-06-25T08:46:35.286" v="104237"/>
          <ac:spMkLst>
            <pc:docMk/>
            <pc:sldMk cId="3843700810" sldId="377"/>
            <ac:spMk id="6154" creationId="{E4421604-C475-5768-58AF-B6603BBB7B1B}"/>
          </ac:spMkLst>
        </pc:spChg>
        <pc:spChg chg="mod ord">
          <ac:chgData name="Alex Jordan" userId="30755697-3be4-4efa-ad5c-ca2e4102b45a" providerId="ADAL" clId="{FC76EA98-9B1A-4F2F-9A6E-876FE3C87E8A}" dt="2025-06-25T08:46:35.286" v="104239"/>
          <ac:spMkLst>
            <pc:docMk/>
            <pc:sldMk cId="3843700810" sldId="377"/>
            <ac:spMk id="6155" creationId="{B4F99ACB-9056-B233-6B78-581F2560F855}"/>
          </ac:spMkLst>
        </pc:spChg>
        <pc:spChg chg="mod ord">
          <ac:chgData name="Alex Jordan" userId="30755697-3be4-4efa-ad5c-ca2e4102b45a" providerId="ADAL" clId="{FC76EA98-9B1A-4F2F-9A6E-876FE3C87E8A}" dt="2025-06-25T08:46:35.286" v="104241"/>
          <ac:spMkLst>
            <pc:docMk/>
            <pc:sldMk cId="3843700810" sldId="377"/>
            <ac:spMk id="6156" creationId="{493A6331-E4BD-4F70-88EC-FC7175098D96}"/>
          </ac:spMkLst>
        </pc:spChg>
        <pc:spChg chg="mod ord">
          <ac:chgData name="Alex Jordan" userId="30755697-3be4-4efa-ad5c-ca2e4102b45a" providerId="ADAL" clId="{FC76EA98-9B1A-4F2F-9A6E-876FE3C87E8A}" dt="2025-06-25T08:46:35.286" v="104243"/>
          <ac:spMkLst>
            <pc:docMk/>
            <pc:sldMk cId="3843700810" sldId="377"/>
            <ac:spMk id="6157" creationId="{FE823C99-46F6-EEAA-DB45-B63AE2D54193}"/>
          </ac:spMkLst>
        </pc:spChg>
        <pc:spChg chg="mod ord">
          <ac:chgData name="Alex Jordan" userId="30755697-3be4-4efa-ad5c-ca2e4102b45a" providerId="ADAL" clId="{FC76EA98-9B1A-4F2F-9A6E-876FE3C87E8A}" dt="2025-06-25T08:46:35.286" v="104253"/>
          <ac:spMkLst>
            <pc:docMk/>
            <pc:sldMk cId="3843700810" sldId="377"/>
            <ac:spMk id="6177" creationId="{56B8527E-273A-49BF-6346-27D54CE107F8}"/>
          </ac:spMkLst>
        </pc:spChg>
        <pc:spChg chg="mod ord">
          <ac:chgData name="Alex Jordan" userId="30755697-3be4-4efa-ad5c-ca2e4102b45a" providerId="ADAL" clId="{FC76EA98-9B1A-4F2F-9A6E-876FE3C87E8A}" dt="2025-06-25T08:46:35.286" v="104254"/>
          <ac:spMkLst>
            <pc:docMk/>
            <pc:sldMk cId="3843700810" sldId="377"/>
            <ac:spMk id="6178" creationId="{2E5AEF39-C836-BC1D-896C-4F4F68B67D91}"/>
          </ac:spMkLst>
        </pc:spChg>
        <pc:spChg chg="mod ord">
          <ac:chgData name="Alex Jordan" userId="30755697-3be4-4efa-ad5c-ca2e4102b45a" providerId="ADAL" clId="{FC76EA98-9B1A-4F2F-9A6E-876FE3C87E8A}" dt="2025-06-25T08:46:35.286" v="104256"/>
          <ac:spMkLst>
            <pc:docMk/>
            <pc:sldMk cId="3843700810" sldId="377"/>
            <ac:spMk id="6179" creationId="{1E01FA23-D665-6EB6-23A4-20FAAC630FBF}"/>
          </ac:spMkLst>
        </pc:spChg>
        <pc:spChg chg="mod ord">
          <ac:chgData name="Alex Jordan" userId="30755697-3be4-4efa-ad5c-ca2e4102b45a" providerId="ADAL" clId="{FC76EA98-9B1A-4F2F-9A6E-876FE3C87E8A}" dt="2025-06-25T08:46:35.286" v="104257"/>
          <ac:spMkLst>
            <pc:docMk/>
            <pc:sldMk cId="3843700810" sldId="377"/>
            <ac:spMk id="6180" creationId="{7A282306-547B-6753-1A7A-00FC58FFD500}"/>
          </ac:spMkLst>
        </pc:spChg>
        <pc:spChg chg="mod ord">
          <ac:chgData name="Alex Jordan" userId="30755697-3be4-4efa-ad5c-ca2e4102b45a" providerId="ADAL" clId="{FC76EA98-9B1A-4F2F-9A6E-876FE3C87E8A}" dt="2025-06-25T08:46:35.286" v="104258"/>
          <ac:spMkLst>
            <pc:docMk/>
            <pc:sldMk cId="3843700810" sldId="377"/>
            <ac:spMk id="6181" creationId="{948DA82F-F9EA-E1BF-BB59-E792FADF6D00}"/>
          </ac:spMkLst>
        </pc:spChg>
        <pc:spChg chg="mod ord">
          <ac:chgData name="Alex Jordan" userId="30755697-3be4-4efa-ad5c-ca2e4102b45a" providerId="ADAL" clId="{FC76EA98-9B1A-4F2F-9A6E-876FE3C87E8A}" dt="2025-06-25T08:46:35.286" v="104259"/>
          <ac:spMkLst>
            <pc:docMk/>
            <pc:sldMk cId="3843700810" sldId="377"/>
            <ac:spMk id="6182" creationId="{2A71CC15-21B2-1E74-ABC4-0E7F42148157}"/>
          </ac:spMkLst>
        </pc:spChg>
        <pc:grpChg chg="mod ord">
          <ac:chgData name="Alex Jordan" userId="30755697-3be4-4efa-ad5c-ca2e4102b45a" providerId="ADAL" clId="{FC76EA98-9B1A-4F2F-9A6E-876FE3C87E8A}" dt="2025-06-25T08:46:35.282" v="104223"/>
          <ac:grpSpMkLst>
            <pc:docMk/>
            <pc:sldMk cId="3843700810" sldId="377"/>
            <ac:grpSpMk id="55" creationId="{1795006B-B97A-DD71-5D97-C728166434DF}"/>
          </ac:grpSpMkLst>
        </pc:grpChg>
        <pc:graphicFrameChg chg="mod">
          <ac:chgData name="Alex Jordan" userId="30755697-3be4-4efa-ad5c-ca2e4102b45a" providerId="ADAL" clId="{FC76EA98-9B1A-4F2F-9A6E-876FE3C87E8A}" dt="2025-06-25T08:46:35.297" v="104270"/>
          <ac:graphicFrameMkLst>
            <pc:docMk/>
            <pc:sldMk cId="3843700810" sldId="377"/>
            <ac:graphicFrameMk id="7" creationId="{B4B7697D-E6D8-C667-8D74-A0B6D4DA846A}"/>
          </ac:graphicFrameMkLst>
        </pc:graphicFrameChg>
        <pc:graphicFrameChg chg="add mod ord">
          <ac:chgData name="Alex Jordan" userId="30755697-3be4-4efa-ad5c-ca2e4102b45a" providerId="ADAL" clId="{FC76EA98-9B1A-4F2F-9A6E-876FE3C87E8A}" dt="2025-06-25T08:46:35.286" v="104245"/>
          <ac:graphicFrameMkLst>
            <pc:docMk/>
            <pc:sldMk cId="3843700810" sldId="377"/>
            <ac:graphicFrameMk id="17" creationId="{28EFCFC8-5A54-E1FF-45A9-0848D5940A82}"/>
          </ac:graphicFrameMkLst>
        </pc:graphicFrameChg>
        <pc:graphicFrameChg chg="mod ord">
          <ac:chgData name="Alex Jordan" userId="30755697-3be4-4efa-ad5c-ca2e4102b45a" providerId="ADAL" clId="{FC76EA98-9B1A-4F2F-9A6E-876FE3C87E8A}" dt="2025-06-25T08:46:35.286" v="104225"/>
          <ac:graphicFrameMkLst>
            <pc:docMk/>
            <pc:sldMk cId="3843700810" sldId="377"/>
            <ac:graphicFrameMk id="53" creationId="{8272B28A-AC10-ADC2-4228-971EC880C700}"/>
          </ac:graphicFrameMkLst>
        </pc:graphicFrameChg>
        <pc:graphicFrameChg chg="mod ord modGraphic">
          <ac:chgData name="Alex Jordan" userId="30755697-3be4-4efa-ad5c-ca2e4102b45a" providerId="ADAL" clId="{FC76EA98-9B1A-4F2F-9A6E-876FE3C87E8A}" dt="2025-06-25T08:46:35.286" v="104263"/>
          <ac:graphicFrameMkLst>
            <pc:docMk/>
            <pc:sldMk cId="3843700810" sldId="377"/>
            <ac:graphicFrameMk id="6248" creationId="{5B5DE490-1EF1-3D57-0815-F8F5D4CC49DA}"/>
          </ac:graphicFrameMkLst>
        </pc:graphicFrameChg>
        <pc:picChg chg="add mod">
          <ac:chgData name="Alex Jordan" userId="30755697-3be4-4efa-ad5c-ca2e4102b45a" providerId="ADAL" clId="{FC76EA98-9B1A-4F2F-9A6E-876FE3C87E8A}" dt="2025-06-25T08:46:35.286" v="104264"/>
          <ac:picMkLst>
            <pc:docMk/>
            <pc:sldMk cId="3843700810" sldId="377"/>
            <ac:picMk id="2054" creationId="{5CC3C435-56A0-F8EE-D7B0-5E93074D1A60}"/>
          </ac:picMkLst>
        </pc:picChg>
        <pc:picChg chg="add mod">
          <ac:chgData name="Alex Jordan" userId="30755697-3be4-4efa-ad5c-ca2e4102b45a" providerId="ADAL" clId="{FC76EA98-9B1A-4F2F-9A6E-876FE3C87E8A}" dt="2025-06-25T08:46:35.297" v="104265"/>
          <ac:picMkLst>
            <pc:docMk/>
            <pc:sldMk cId="3843700810" sldId="377"/>
            <ac:picMk id="6221" creationId="{E57E8DC9-B739-A011-BBE8-E3DCA4F34F0C}"/>
          </ac:picMkLst>
        </pc:picChg>
        <pc:picChg chg="add mod">
          <ac:chgData name="Alex Jordan" userId="30755697-3be4-4efa-ad5c-ca2e4102b45a" providerId="ADAL" clId="{FC76EA98-9B1A-4F2F-9A6E-876FE3C87E8A}" dt="2025-06-25T08:46:35.297" v="104266"/>
          <ac:picMkLst>
            <pc:docMk/>
            <pc:sldMk cId="3843700810" sldId="377"/>
            <ac:picMk id="6222" creationId="{8A541884-4202-5A49-6668-1B099F733501}"/>
          </ac:picMkLst>
        </pc:picChg>
        <pc:cxnChg chg="mod ord">
          <ac:chgData name="Alex Jordan" userId="30755697-3be4-4efa-ad5c-ca2e4102b45a" providerId="ADAL" clId="{FC76EA98-9B1A-4F2F-9A6E-876FE3C87E8A}" dt="2025-06-25T08:46:35.286" v="104247"/>
          <ac:cxnSpMkLst>
            <pc:docMk/>
            <pc:sldMk cId="3843700810" sldId="377"/>
            <ac:cxnSpMk id="6173" creationId="{A5DC1CDE-EB42-386E-26B1-476371098CA2}"/>
          </ac:cxnSpMkLst>
        </pc:cxnChg>
        <pc:cxnChg chg="add del mod ord">
          <ac:chgData name="Alex Jordan" userId="30755697-3be4-4efa-ad5c-ca2e4102b45a" providerId="ADAL" clId="{FC76EA98-9B1A-4F2F-9A6E-876FE3C87E8A}" dt="2025-06-25T08:46:35.286" v="104249"/>
          <ac:cxnSpMkLst>
            <pc:docMk/>
            <pc:sldMk cId="3843700810" sldId="377"/>
            <ac:cxnSpMk id="6175" creationId="{91D75324-9D90-044D-E602-AE9235B86851}"/>
          </ac:cxnSpMkLst>
        </pc:cxnChg>
        <pc:cxnChg chg="mod ord">
          <ac:chgData name="Alex Jordan" userId="30755697-3be4-4efa-ad5c-ca2e4102b45a" providerId="ADAL" clId="{FC76EA98-9B1A-4F2F-9A6E-876FE3C87E8A}" dt="2025-06-25T08:46:35.286" v="104251"/>
          <ac:cxnSpMkLst>
            <pc:docMk/>
            <pc:sldMk cId="3843700810" sldId="377"/>
            <ac:cxnSpMk id="6176" creationId="{8852EB32-D9E9-DDFA-C157-6129DDC27815}"/>
          </ac:cxnSpMkLst>
        </pc:cxnChg>
        <pc:cxnChg chg="mod ord">
          <ac:chgData name="Alex Jordan" userId="30755697-3be4-4efa-ad5c-ca2e4102b45a" providerId="ADAL" clId="{FC76EA98-9B1A-4F2F-9A6E-876FE3C87E8A}" dt="2025-06-25T08:46:35.286" v="104261"/>
          <ac:cxnSpMkLst>
            <pc:docMk/>
            <pc:sldMk cId="3843700810" sldId="377"/>
            <ac:cxnSpMk id="6243" creationId="{E4A0225B-C6C7-1A3E-A978-83E414B2A96B}"/>
          </ac:cxnSpMkLst>
        </pc:cxnChg>
      </pc:sldChg>
      <pc:sldChg chg="addSp delSp modSp add mod modNotes">
        <pc:chgData name="Alex Jordan" userId="30755697-3be4-4efa-ad5c-ca2e4102b45a" providerId="ADAL" clId="{FC76EA98-9B1A-4F2F-9A6E-876FE3C87E8A}" dt="2025-06-27T11:05:27.589" v="104773"/>
        <pc:sldMkLst>
          <pc:docMk/>
          <pc:sldMk cId="2685749853" sldId="378"/>
        </pc:sldMkLst>
        <pc:spChg chg="mod ord">
          <ac:chgData name="Alex Jordan" userId="30755697-3be4-4efa-ad5c-ca2e4102b45a" providerId="ADAL" clId="{FC76EA98-9B1A-4F2F-9A6E-876FE3C87E8A}" dt="2025-06-25T08:46:35.623" v="104585"/>
          <ac:spMkLst>
            <pc:docMk/>
            <pc:sldMk cId="2685749853" sldId="378"/>
            <ac:spMk id="2" creationId="{BACA3391-CF5E-952C-D891-49FF6BC06C70}"/>
          </ac:spMkLst>
        </pc:spChg>
        <pc:spChg chg="add mod">
          <ac:chgData name="Alex Jordan" userId="30755697-3be4-4efa-ad5c-ca2e4102b45a" providerId="ADAL" clId="{FC76EA98-9B1A-4F2F-9A6E-876FE3C87E8A}" dt="2025-06-27T11:05:13.158" v="104761"/>
          <ac:spMkLst>
            <pc:docMk/>
            <pc:sldMk cId="2685749853" sldId="378"/>
            <ac:spMk id="3" creationId="{A1C0C755-1C4D-75A4-16E8-5EDA04BACDE1}"/>
          </ac:spMkLst>
        </pc:spChg>
        <pc:spChg chg="del mod ord">
          <ac:chgData name="Alex Jordan" userId="30755697-3be4-4efa-ad5c-ca2e4102b45a" providerId="ADAL" clId="{FC76EA98-9B1A-4F2F-9A6E-876FE3C87E8A}" dt="2025-06-27T11:04:21.384" v="104702" actId="478"/>
          <ac:spMkLst>
            <pc:docMk/>
            <pc:sldMk cId="2685749853" sldId="378"/>
            <ac:spMk id="4" creationId="{CD9D2FF2-B45B-6E63-616B-9595B31555B6}"/>
          </ac:spMkLst>
        </pc:spChg>
        <pc:spChg chg="del mod ord">
          <ac:chgData name="Alex Jordan" userId="30755697-3be4-4efa-ad5c-ca2e4102b45a" providerId="ADAL" clId="{FC76EA98-9B1A-4F2F-9A6E-876FE3C87E8A}" dt="2025-06-27T11:04:21.384" v="104702" actId="478"/>
          <ac:spMkLst>
            <pc:docMk/>
            <pc:sldMk cId="2685749853" sldId="378"/>
            <ac:spMk id="5" creationId="{94DA23C7-9B60-BF0F-60E4-A1182EA36467}"/>
          </ac:spMkLst>
        </pc:spChg>
        <pc:spChg chg="del mod ord">
          <ac:chgData name="Alex Jordan" userId="30755697-3be4-4efa-ad5c-ca2e4102b45a" providerId="ADAL" clId="{FC76EA98-9B1A-4F2F-9A6E-876FE3C87E8A}" dt="2025-06-27T11:04:21.384" v="104702" actId="478"/>
          <ac:spMkLst>
            <pc:docMk/>
            <pc:sldMk cId="2685749853" sldId="378"/>
            <ac:spMk id="6" creationId="{EC766122-AE09-8D1B-FD84-90AEBFB25B24}"/>
          </ac:spMkLst>
        </pc:spChg>
        <pc:spChg chg="del mod ord">
          <ac:chgData name="Alex Jordan" userId="30755697-3be4-4efa-ad5c-ca2e4102b45a" providerId="ADAL" clId="{FC76EA98-9B1A-4F2F-9A6E-876FE3C87E8A}" dt="2025-06-27T11:04:21.384" v="104702" actId="478"/>
          <ac:spMkLst>
            <pc:docMk/>
            <pc:sldMk cId="2685749853" sldId="378"/>
            <ac:spMk id="8" creationId="{451E5D5C-BC07-823E-BDD0-F77F846C94BC}"/>
          </ac:spMkLst>
        </pc:spChg>
        <pc:spChg chg="del mod ord">
          <ac:chgData name="Alex Jordan" userId="30755697-3be4-4efa-ad5c-ca2e4102b45a" providerId="ADAL" clId="{FC76EA98-9B1A-4F2F-9A6E-876FE3C87E8A}" dt="2025-06-27T11:04:21.384" v="104702" actId="478"/>
          <ac:spMkLst>
            <pc:docMk/>
            <pc:sldMk cId="2685749853" sldId="378"/>
            <ac:spMk id="9" creationId="{EB55BF32-1CDD-90C7-A9B9-58B3D00FA7E5}"/>
          </ac:spMkLst>
        </pc:spChg>
        <pc:spChg chg="add mod">
          <ac:chgData name="Alex Jordan" userId="30755697-3be4-4efa-ad5c-ca2e4102b45a" providerId="ADAL" clId="{FC76EA98-9B1A-4F2F-9A6E-876FE3C87E8A}" dt="2025-06-27T11:05:13.158" v="104761"/>
          <ac:spMkLst>
            <pc:docMk/>
            <pc:sldMk cId="2685749853" sldId="378"/>
            <ac:spMk id="10" creationId="{B9A7EF80-CE5F-4E6B-C7C3-13C3E657645B}"/>
          </ac:spMkLst>
        </pc:spChg>
        <pc:spChg chg="add mod">
          <ac:chgData name="Alex Jordan" userId="30755697-3be4-4efa-ad5c-ca2e4102b45a" providerId="ADAL" clId="{FC76EA98-9B1A-4F2F-9A6E-876FE3C87E8A}" dt="2025-06-27T11:05:13.158" v="104761"/>
          <ac:spMkLst>
            <pc:docMk/>
            <pc:sldMk cId="2685749853" sldId="378"/>
            <ac:spMk id="11" creationId="{FF67FE36-457D-8B6C-6240-5B43AB7560F6}"/>
          </ac:spMkLst>
        </pc:spChg>
        <pc:spChg chg="add mod">
          <ac:chgData name="Alex Jordan" userId="30755697-3be4-4efa-ad5c-ca2e4102b45a" providerId="ADAL" clId="{FC76EA98-9B1A-4F2F-9A6E-876FE3C87E8A}" dt="2025-06-27T11:05:27.589" v="104773"/>
          <ac:spMkLst>
            <pc:docMk/>
            <pc:sldMk cId="2685749853" sldId="378"/>
            <ac:spMk id="12" creationId="{2E14B6E5-B3FA-526D-3AD0-DB55FEA495C8}"/>
          </ac:spMkLst>
        </pc:spChg>
        <pc:spChg chg="add mod">
          <ac:chgData name="Alex Jordan" userId="30755697-3be4-4efa-ad5c-ca2e4102b45a" providerId="ADAL" clId="{FC76EA98-9B1A-4F2F-9A6E-876FE3C87E8A}" dt="2025-06-27T11:05:27.589" v="104773"/>
          <ac:spMkLst>
            <pc:docMk/>
            <pc:sldMk cId="2685749853" sldId="378"/>
            <ac:spMk id="13" creationId="{D1C533D8-8277-7115-DBA2-E948BB8B2EBE}"/>
          </ac:spMkLst>
        </pc:spChg>
        <pc:spChg chg="mod">
          <ac:chgData name="Alex Jordan" userId="30755697-3be4-4efa-ad5c-ca2e4102b45a" providerId="ADAL" clId="{FC76EA98-9B1A-4F2F-9A6E-876FE3C87E8A}" dt="2025-06-25T08:46:30.911" v="100861" actId="947"/>
          <ac:spMkLst>
            <pc:docMk/>
            <pc:sldMk cId="2685749853" sldId="378"/>
            <ac:spMk id="15" creationId="{83D37637-64E4-FCF8-82FF-41C607F0DAFE}"/>
          </ac:spMkLst>
        </pc:spChg>
        <pc:spChg chg="mod">
          <ac:chgData name="Alex Jordan" userId="30755697-3be4-4efa-ad5c-ca2e4102b45a" providerId="ADAL" clId="{FC76EA98-9B1A-4F2F-9A6E-876FE3C87E8A}" dt="2025-06-25T08:46:30.911" v="100859" actId="947"/>
          <ac:spMkLst>
            <pc:docMk/>
            <pc:sldMk cId="2685749853" sldId="378"/>
            <ac:spMk id="16" creationId="{3B9F6DC8-6BDD-36B4-B80D-69D56A72A89D}"/>
          </ac:spMkLst>
        </pc:spChg>
        <pc:spChg chg="mod">
          <ac:chgData name="Alex Jordan" userId="30755697-3be4-4efa-ad5c-ca2e4102b45a" providerId="ADAL" clId="{FC76EA98-9B1A-4F2F-9A6E-876FE3C87E8A}" dt="2025-06-25T08:46:30.906" v="100857" actId="947"/>
          <ac:spMkLst>
            <pc:docMk/>
            <pc:sldMk cId="2685749853" sldId="378"/>
            <ac:spMk id="19" creationId="{3F4DCE1D-5817-ECFB-E52B-59D82B22EBA1}"/>
          </ac:spMkLst>
        </pc:spChg>
        <pc:spChg chg="add mod ord">
          <ac:chgData name="Alex Jordan" userId="30755697-3be4-4efa-ad5c-ca2e4102b45a" providerId="ADAL" clId="{FC76EA98-9B1A-4F2F-9A6E-876FE3C87E8A}" dt="2025-06-25T08:46:35.644" v="104662"/>
          <ac:spMkLst>
            <pc:docMk/>
            <pc:sldMk cId="2685749853" sldId="378"/>
            <ac:spMk id="29" creationId="{73A36074-B859-72CA-D29F-0C8E7490A91C}"/>
          </ac:spMkLst>
        </pc:spChg>
        <pc:spChg chg="add mod">
          <ac:chgData name="Alex Jordan" userId="30755697-3be4-4efa-ad5c-ca2e4102b45a" providerId="ADAL" clId="{FC76EA98-9B1A-4F2F-9A6E-876FE3C87E8A}" dt="2025-06-27T11:05:27.589" v="104773"/>
          <ac:spMkLst>
            <pc:docMk/>
            <pc:sldMk cId="2685749853" sldId="378"/>
            <ac:spMk id="30" creationId="{9E1DBAD2-F2ED-0ACC-DECD-E8F903B5C0E0}"/>
          </ac:spMkLst>
        </pc:spChg>
        <pc:spChg chg="add mod">
          <ac:chgData name="Alex Jordan" userId="30755697-3be4-4efa-ad5c-ca2e4102b45a" providerId="ADAL" clId="{FC76EA98-9B1A-4F2F-9A6E-876FE3C87E8A}" dt="2025-06-27T11:05:27.589" v="104773"/>
          <ac:spMkLst>
            <pc:docMk/>
            <pc:sldMk cId="2685749853" sldId="378"/>
            <ac:spMk id="31" creationId="{120738C1-F4AE-26FB-E46A-92ABC286D9ED}"/>
          </ac:spMkLst>
        </pc:spChg>
        <pc:spChg chg="mod ord">
          <ac:chgData name="Alex Jordan" userId="30755697-3be4-4efa-ad5c-ca2e4102b45a" providerId="ADAL" clId="{FC76EA98-9B1A-4F2F-9A6E-876FE3C87E8A}" dt="2025-06-25T08:46:35.623" v="104597"/>
          <ac:spMkLst>
            <pc:docMk/>
            <pc:sldMk cId="2685749853" sldId="378"/>
            <ac:spMk id="38" creationId="{B5E70DA1-451D-04A1-EB8F-3507C3C9E669}"/>
          </ac:spMkLst>
        </pc:spChg>
        <pc:spChg chg="add mod ord">
          <ac:chgData name="Alex Jordan" userId="30755697-3be4-4efa-ad5c-ca2e4102b45a" providerId="ADAL" clId="{FC76EA98-9B1A-4F2F-9A6E-876FE3C87E8A}" dt="2025-06-25T08:46:35.628" v="104603"/>
          <ac:spMkLst>
            <pc:docMk/>
            <pc:sldMk cId="2685749853" sldId="378"/>
            <ac:spMk id="4097" creationId="{385CF072-FD13-9A23-92E7-5B4E2B769995}"/>
          </ac:spMkLst>
        </pc:spChg>
        <pc:spChg chg="mod ord">
          <ac:chgData name="Alex Jordan" userId="30755697-3be4-4efa-ad5c-ca2e4102b45a" providerId="ADAL" clId="{FC76EA98-9B1A-4F2F-9A6E-876FE3C87E8A}" dt="2025-06-25T08:46:35.628" v="104605"/>
          <ac:spMkLst>
            <pc:docMk/>
            <pc:sldMk cId="2685749853" sldId="378"/>
            <ac:spMk id="4098" creationId="{F396E3DB-132D-C8E1-9913-A0978E9A5683}"/>
          </ac:spMkLst>
        </pc:spChg>
        <pc:spChg chg="mod ord">
          <ac:chgData name="Alex Jordan" userId="30755697-3be4-4efa-ad5c-ca2e4102b45a" providerId="ADAL" clId="{FC76EA98-9B1A-4F2F-9A6E-876FE3C87E8A}" dt="2025-06-25T08:46:35.628" v="104607"/>
          <ac:spMkLst>
            <pc:docMk/>
            <pc:sldMk cId="2685749853" sldId="378"/>
            <ac:spMk id="4099" creationId="{3E5DDD36-E083-DCC8-70C3-EA6E7C3CA4FC}"/>
          </ac:spMkLst>
        </pc:spChg>
        <pc:spChg chg="mod ord">
          <ac:chgData name="Alex Jordan" userId="30755697-3be4-4efa-ad5c-ca2e4102b45a" providerId="ADAL" clId="{FC76EA98-9B1A-4F2F-9A6E-876FE3C87E8A}" dt="2025-06-25T08:46:35.628" v="104609"/>
          <ac:spMkLst>
            <pc:docMk/>
            <pc:sldMk cId="2685749853" sldId="378"/>
            <ac:spMk id="4100" creationId="{D5C8C610-2484-B85B-A87C-DA1F9A706BC4}"/>
          </ac:spMkLst>
        </pc:spChg>
        <pc:spChg chg="add mod ord">
          <ac:chgData name="Alex Jordan" userId="30755697-3be4-4efa-ad5c-ca2e4102b45a" providerId="ADAL" clId="{FC76EA98-9B1A-4F2F-9A6E-876FE3C87E8A}" dt="2025-06-25T08:46:35.628" v="104611"/>
          <ac:spMkLst>
            <pc:docMk/>
            <pc:sldMk cId="2685749853" sldId="378"/>
            <ac:spMk id="4101" creationId="{F79FB2C4-D332-EA6B-74E9-E869020BE9F5}"/>
          </ac:spMkLst>
        </pc:spChg>
        <pc:spChg chg="add mod ord">
          <ac:chgData name="Alex Jordan" userId="30755697-3be4-4efa-ad5c-ca2e4102b45a" providerId="ADAL" clId="{FC76EA98-9B1A-4F2F-9A6E-876FE3C87E8A}" dt="2025-06-25T08:46:35.628" v="104613"/>
          <ac:spMkLst>
            <pc:docMk/>
            <pc:sldMk cId="2685749853" sldId="378"/>
            <ac:spMk id="4102" creationId="{2BDEC43D-6C8F-A9A7-74E5-77B314FFAA9A}"/>
          </ac:spMkLst>
        </pc:spChg>
        <pc:spChg chg="add mod ord">
          <ac:chgData name="Alex Jordan" userId="30755697-3be4-4efa-ad5c-ca2e4102b45a" providerId="ADAL" clId="{FC76EA98-9B1A-4F2F-9A6E-876FE3C87E8A}" dt="2025-06-25T08:46:35.628" v="104615"/>
          <ac:spMkLst>
            <pc:docMk/>
            <pc:sldMk cId="2685749853" sldId="378"/>
            <ac:spMk id="4103" creationId="{A06EB716-403D-7AC5-E67C-CF2A6C49EB17}"/>
          </ac:spMkLst>
        </pc:spChg>
        <pc:spChg chg="add mod ord">
          <ac:chgData name="Alex Jordan" userId="30755697-3be4-4efa-ad5c-ca2e4102b45a" providerId="ADAL" clId="{FC76EA98-9B1A-4F2F-9A6E-876FE3C87E8A}" dt="2025-06-25T08:46:35.628" v="104617"/>
          <ac:spMkLst>
            <pc:docMk/>
            <pc:sldMk cId="2685749853" sldId="378"/>
            <ac:spMk id="4104" creationId="{B82C6D4F-8F88-8FB7-5F43-6893D38482C5}"/>
          </ac:spMkLst>
        </pc:spChg>
        <pc:spChg chg="mod ord">
          <ac:chgData name="Alex Jordan" userId="30755697-3be4-4efa-ad5c-ca2e4102b45a" providerId="ADAL" clId="{FC76EA98-9B1A-4F2F-9A6E-876FE3C87E8A}" dt="2025-06-25T08:46:35.628" v="104619"/>
          <ac:spMkLst>
            <pc:docMk/>
            <pc:sldMk cId="2685749853" sldId="378"/>
            <ac:spMk id="4105" creationId="{34725699-9984-C865-F5DC-1845EAF87B81}"/>
          </ac:spMkLst>
        </pc:spChg>
        <pc:spChg chg="mod">
          <ac:chgData name="Alex Jordan" userId="30755697-3be4-4efa-ad5c-ca2e4102b45a" providerId="ADAL" clId="{FC76EA98-9B1A-4F2F-9A6E-876FE3C87E8A}" dt="2025-06-25T08:46:35.638" v="104636"/>
          <ac:spMkLst>
            <pc:docMk/>
            <pc:sldMk cId="2685749853" sldId="378"/>
            <ac:spMk id="4114" creationId="{B9D3423A-E6DC-B585-DDD7-0C584BB44786}"/>
          </ac:spMkLst>
        </pc:spChg>
        <pc:spChg chg="mod">
          <ac:chgData name="Alex Jordan" userId="30755697-3be4-4efa-ad5c-ca2e4102b45a" providerId="ADAL" clId="{FC76EA98-9B1A-4F2F-9A6E-876FE3C87E8A}" dt="2025-06-25T08:46:35.639" v="104637"/>
          <ac:spMkLst>
            <pc:docMk/>
            <pc:sldMk cId="2685749853" sldId="378"/>
            <ac:spMk id="4115" creationId="{8E9FD18D-33A5-FB89-04A6-6E3F5FF34BB4}"/>
          </ac:spMkLst>
        </pc:spChg>
        <pc:spChg chg="mod">
          <ac:chgData name="Alex Jordan" userId="30755697-3be4-4efa-ad5c-ca2e4102b45a" providerId="ADAL" clId="{FC76EA98-9B1A-4F2F-9A6E-876FE3C87E8A}" dt="2025-06-25T08:46:35.639" v="104638"/>
          <ac:spMkLst>
            <pc:docMk/>
            <pc:sldMk cId="2685749853" sldId="378"/>
            <ac:spMk id="4116" creationId="{5572BEFB-C92A-11AD-C1F9-E2CA260D2865}"/>
          </ac:spMkLst>
        </pc:spChg>
        <pc:spChg chg="add mod">
          <ac:chgData name="Alex Jordan" userId="30755697-3be4-4efa-ad5c-ca2e4102b45a" providerId="ADAL" clId="{FC76EA98-9B1A-4F2F-9A6E-876FE3C87E8A}" dt="2025-06-25T08:46:35.639" v="104639"/>
          <ac:spMkLst>
            <pc:docMk/>
            <pc:sldMk cId="2685749853" sldId="378"/>
            <ac:spMk id="4117" creationId="{B4DF0FE9-F6F4-F8C8-55AF-9BF5E2E85F00}"/>
          </ac:spMkLst>
        </pc:spChg>
        <pc:spChg chg="add mod">
          <ac:chgData name="Alex Jordan" userId="30755697-3be4-4efa-ad5c-ca2e4102b45a" providerId="ADAL" clId="{FC76EA98-9B1A-4F2F-9A6E-876FE3C87E8A}" dt="2025-06-25T08:46:35.639" v="104640"/>
          <ac:spMkLst>
            <pc:docMk/>
            <pc:sldMk cId="2685749853" sldId="378"/>
            <ac:spMk id="4118" creationId="{A7897BA5-90FA-5D6F-E5BA-239C20E8120F}"/>
          </ac:spMkLst>
        </pc:spChg>
        <pc:spChg chg="add mod">
          <ac:chgData name="Alex Jordan" userId="30755697-3be4-4efa-ad5c-ca2e4102b45a" providerId="ADAL" clId="{FC76EA98-9B1A-4F2F-9A6E-876FE3C87E8A}" dt="2025-06-25T08:46:35.639" v="104641"/>
          <ac:spMkLst>
            <pc:docMk/>
            <pc:sldMk cId="2685749853" sldId="378"/>
            <ac:spMk id="4119" creationId="{8FC2DCA4-D9C1-730B-05CD-1B8E42D65157}"/>
          </ac:spMkLst>
        </pc:spChg>
        <pc:spChg chg="mod">
          <ac:chgData name="Alex Jordan" userId="30755697-3be4-4efa-ad5c-ca2e4102b45a" providerId="ADAL" clId="{FC76EA98-9B1A-4F2F-9A6E-876FE3C87E8A}" dt="2025-06-25T08:46:35.639" v="104642"/>
          <ac:spMkLst>
            <pc:docMk/>
            <pc:sldMk cId="2685749853" sldId="378"/>
            <ac:spMk id="4120" creationId="{C0BCEE1B-CCBC-EE1C-8694-CA506FF4617E}"/>
          </ac:spMkLst>
        </pc:spChg>
        <pc:spChg chg="mod">
          <ac:chgData name="Alex Jordan" userId="30755697-3be4-4efa-ad5c-ca2e4102b45a" providerId="ADAL" clId="{FC76EA98-9B1A-4F2F-9A6E-876FE3C87E8A}" dt="2025-06-25T08:46:35.639" v="104651"/>
          <ac:spMkLst>
            <pc:docMk/>
            <pc:sldMk cId="2685749853" sldId="378"/>
            <ac:spMk id="4125" creationId="{B563564C-8681-9C13-9D6C-1F9103733617}"/>
          </ac:spMkLst>
        </pc:spChg>
        <pc:spChg chg="add mod">
          <ac:chgData name="Alex Jordan" userId="30755697-3be4-4efa-ad5c-ca2e4102b45a" providerId="ADAL" clId="{FC76EA98-9B1A-4F2F-9A6E-876FE3C87E8A}" dt="2025-06-25T08:46:35.644" v="104652"/>
          <ac:spMkLst>
            <pc:docMk/>
            <pc:sldMk cId="2685749853" sldId="378"/>
            <ac:spMk id="4126" creationId="{C25339CE-F6FA-73FF-71ED-D8A33E3B3498}"/>
          </ac:spMkLst>
        </pc:spChg>
        <pc:spChg chg="mod">
          <ac:chgData name="Alex Jordan" userId="30755697-3be4-4efa-ad5c-ca2e4102b45a" providerId="ADAL" clId="{FC76EA98-9B1A-4F2F-9A6E-876FE3C87E8A}" dt="2025-06-25T08:46:35.644" v="104653"/>
          <ac:spMkLst>
            <pc:docMk/>
            <pc:sldMk cId="2685749853" sldId="378"/>
            <ac:spMk id="4127" creationId="{08F342D6-EF90-90B2-5A65-AF49387F1235}"/>
          </ac:spMkLst>
        </pc:spChg>
        <pc:spChg chg="mod">
          <ac:chgData name="Alex Jordan" userId="30755697-3be4-4efa-ad5c-ca2e4102b45a" providerId="ADAL" clId="{FC76EA98-9B1A-4F2F-9A6E-876FE3C87E8A}" dt="2025-06-25T08:46:35.644" v="104654"/>
          <ac:spMkLst>
            <pc:docMk/>
            <pc:sldMk cId="2685749853" sldId="378"/>
            <ac:spMk id="4128" creationId="{44ED9058-2757-629C-2D33-A3FBAFDFF47C}"/>
          </ac:spMkLst>
        </pc:spChg>
        <pc:spChg chg="add mod">
          <ac:chgData name="Alex Jordan" userId="30755697-3be4-4efa-ad5c-ca2e4102b45a" providerId="ADAL" clId="{FC76EA98-9B1A-4F2F-9A6E-876FE3C87E8A}" dt="2025-06-25T08:46:35.644" v="104655"/>
          <ac:spMkLst>
            <pc:docMk/>
            <pc:sldMk cId="2685749853" sldId="378"/>
            <ac:spMk id="4129" creationId="{7D08306A-3389-2D7A-AE79-02D096AEEF04}"/>
          </ac:spMkLst>
        </pc:spChg>
        <pc:spChg chg="mod">
          <ac:chgData name="Alex Jordan" userId="30755697-3be4-4efa-ad5c-ca2e4102b45a" providerId="ADAL" clId="{FC76EA98-9B1A-4F2F-9A6E-876FE3C87E8A}" dt="2025-06-25T08:46:35.644" v="104656"/>
          <ac:spMkLst>
            <pc:docMk/>
            <pc:sldMk cId="2685749853" sldId="378"/>
            <ac:spMk id="4130" creationId="{505C3008-54D2-0142-E328-AB9909DC6F26}"/>
          </ac:spMkLst>
        </pc:spChg>
        <pc:grpChg chg="add mod ord">
          <ac:chgData name="Alex Jordan" userId="30755697-3be4-4efa-ad5c-ca2e4102b45a" providerId="ADAL" clId="{FC76EA98-9B1A-4F2F-9A6E-876FE3C87E8A}" dt="2025-06-25T08:46:35.628" v="104599"/>
          <ac:grpSpMkLst>
            <pc:docMk/>
            <pc:sldMk cId="2685749853" sldId="378"/>
            <ac:grpSpMk id="14" creationId="{08C7C68A-2071-DB75-28BD-D4E1AFBA378A}"/>
          </ac:grpSpMkLst>
        </pc:grpChg>
        <pc:grpChg chg="mod">
          <ac:chgData name="Alex Jordan" userId="30755697-3be4-4efa-ad5c-ca2e4102b45a" providerId="ADAL" clId="{FC76EA98-9B1A-4F2F-9A6E-876FE3C87E8A}" dt="2025-06-24T13:55:31.027" v="10500"/>
          <ac:grpSpMkLst>
            <pc:docMk/>
            <pc:sldMk cId="2685749853" sldId="378"/>
            <ac:grpSpMk id="17" creationId="{B68FECED-80C5-DCE6-D641-18D0EF6A4C9E}"/>
          </ac:grpSpMkLst>
        </pc:grpChg>
        <pc:graphicFrameChg chg="mod">
          <ac:chgData name="Alex Jordan" userId="30755697-3be4-4efa-ad5c-ca2e4102b45a" providerId="ADAL" clId="{FC76EA98-9B1A-4F2F-9A6E-876FE3C87E8A}" dt="2025-06-25T08:46:35.648" v="104666"/>
          <ac:graphicFrameMkLst>
            <pc:docMk/>
            <pc:sldMk cId="2685749853" sldId="378"/>
            <ac:graphicFrameMk id="7" creationId="{42D89667-A4ED-CC14-05BA-3EC7D43BB63F}"/>
          </ac:graphicFrameMkLst>
        </pc:graphicFrameChg>
        <pc:graphicFrameChg chg="add mod ord">
          <ac:chgData name="Alex Jordan" userId="30755697-3be4-4efa-ad5c-ca2e4102b45a" providerId="ADAL" clId="{FC76EA98-9B1A-4F2F-9A6E-876FE3C87E8A}" dt="2025-06-25T08:46:35.637" v="104635"/>
          <ac:graphicFrameMkLst>
            <pc:docMk/>
            <pc:sldMk cId="2685749853" sldId="378"/>
            <ac:graphicFrameMk id="33" creationId="{7F7BAD80-DD91-6621-02D7-12F1256E5044}"/>
          </ac:graphicFrameMkLst>
        </pc:graphicFrameChg>
        <pc:graphicFrameChg chg="mod ord">
          <ac:chgData name="Alex Jordan" userId="30755697-3be4-4efa-ad5c-ca2e4102b45a" providerId="ADAL" clId="{FC76EA98-9B1A-4F2F-9A6E-876FE3C87E8A}" dt="2025-06-25T08:46:35.628" v="104601"/>
          <ac:graphicFrameMkLst>
            <pc:docMk/>
            <pc:sldMk cId="2685749853" sldId="378"/>
            <ac:graphicFrameMk id="4096" creationId="{CE405BEA-19C2-041F-A55F-652C7BF6276F}"/>
          </ac:graphicFrameMkLst>
        </pc:graphicFrameChg>
        <pc:graphicFrameChg chg="mod ord modGraphic">
          <ac:chgData name="Alex Jordan" userId="30755697-3be4-4efa-ad5c-ca2e4102b45a" providerId="ADAL" clId="{FC76EA98-9B1A-4F2F-9A6E-876FE3C87E8A}" dt="2025-06-25T08:46:35.644" v="104660"/>
          <ac:graphicFrameMkLst>
            <pc:docMk/>
            <pc:sldMk cId="2685749853" sldId="378"/>
            <ac:graphicFrameMk id="4132" creationId="{AE2AC9FE-AE0D-527D-9AFD-2EA2A1890814}"/>
          </ac:graphicFrameMkLst>
        </pc:graphicFrameChg>
        <pc:cxnChg chg="mod">
          <ac:chgData name="Alex Jordan" userId="30755697-3be4-4efa-ad5c-ca2e4102b45a" providerId="ADAL" clId="{FC76EA98-9B1A-4F2F-9A6E-876FE3C87E8A}" dt="2025-06-24T13:55:31.027" v="10500"/>
          <ac:cxnSpMkLst>
            <pc:docMk/>
            <pc:sldMk cId="2685749853" sldId="378"/>
            <ac:cxnSpMk id="18" creationId="{E1108928-2206-2844-C156-75AEBE12ECBD}"/>
          </ac:cxnSpMkLst>
        </pc:cxnChg>
        <pc:cxnChg chg="mod">
          <ac:chgData name="Alex Jordan" userId="30755697-3be4-4efa-ad5c-ca2e4102b45a" providerId="ADAL" clId="{FC76EA98-9B1A-4F2F-9A6E-876FE3C87E8A}" dt="2025-06-24T13:55:31.027" v="10500"/>
          <ac:cxnSpMkLst>
            <pc:docMk/>
            <pc:sldMk cId="2685749853" sldId="378"/>
            <ac:cxnSpMk id="20" creationId="{BF2703B7-8BA8-F83D-39B8-AE21A355DADA}"/>
          </ac:cxnSpMkLst>
        </pc:cxnChg>
        <pc:cxnChg chg="mod">
          <ac:chgData name="Alex Jordan" userId="30755697-3be4-4efa-ad5c-ca2e4102b45a" providerId="ADAL" clId="{FC76EA98-9B1A-4F2F-9A6E-876FE3C87E8A}" dt="2025-06-24T13:55:31.027" v="10500"/>
          <ac:cxnSpMkLst>
            <pc:docMk/>
            <pc:sldMk cId="2685749853" sldId="378"/>
            <ac:cxnSpMk id="21" creationId="{F93CD4CE-6AC5-DD4C-CB78-143774A8E4DB}"/>
          </ac:cxnSpMkLst>
        </pc:cxnChg>
        <pc:cxnChg chg="mod">
          <ac:chgData name="Alex Jordan" userId="30755697-3be4-4efa-ad5c-ca2e4102b45a" providerId="ADAL" clId="{FC76EA98-9B1A-4F2F-9A6E-876FE3C87E8A}" dt="2025-06-24T13:55:31.027" v="10500"/>
          <ac:cxnSpMkLst>
            <pc:docMk/>
            <pc:sldMk cId="2685749853" sldId="378"/>
            <ac:cxnSpMk id="26" creationId="{3907D1C3-5FC7-0F97-D568-491E5F8854C6}"/>
          </ac:cxnSpMkLst>
        </pc:cxnChg>
        <pc:cxnChg chg="mod">
          <ac:chgData name="Alex Jordan" userId="30755697-3be4-4efa-ad5c-ca2e4102b45a" providerId="ADAL" clId="{FC76EA98-9B1A-4F2F-9A6E-876FE3C87E8A}" dt="2025-06-24T13:55:31.027" v="10500"/>
          <ac:cxnSpMkLst>
            <pc:docMk/>
            <pc:sldMk cId="2685749853" sldId="378"/>
            <ac:cxnSpMk id="28" creationId="{CEF8F2B9-30E8-9379-57C6-47CFD70C35B9}"/>
          </ac:cxnSpMkLst>
        </pc:cxnChg>
        <pc:cxnChg chg="mod ord">
          <ac:chgData name="Alex Jordan" userId="30755697-3be4-4efa-ad5c-ca2e4102b45a" providerId="ADAL" clId="{FC76EA98-9B1A-4F2F-9A6E-876FE3C87E8A}" dt="2025-06-25T08:46:35.628" v="104621"/>
          <ac:cxnSpMkLst>
            <pc:docMk/>
            <pc:sldMk cId="2685749853" sldId="378"/>
            <ac:cxnSpMk id="4106" creationId="{9B97AF85-CEC2-9C98-DA51-9E1344818D4B}"/>
          </ac:cxnSpMkLst>
        </pc:cxnChg>
        <pc:cxnChg chg="mod ord">
          <ac:chgData name="Alex Jordan" userId="30755697-3be4-4efa-ad5c-ca2e4102b45a" providerId="ADAL" clId="{FC76EA98-9B1A-4F2F-9A6E-876FE3C87E8A}" dt="2025-06-25T08:46:35.628" v="104623"/>
          <ac:cxnSpMkLst>
            <pc:docMk/>
            <pc:sldMk cId="2685749853" sldId="378"/>
            <ac:cxnSpMk id="4107" creationId="{76216ABE-76B2-369F-A821-38D0C7473688}"/>
          </ac:cxnSpMkLst>
        </pc:cxnChg>
        <pc:cxnChg chg="mod ord">
          <ac:chgData name="Alex Jordan" userId="30755697-3be4-4efa-ad5c-ca2e4102b45a" providerId="ADAL" clId="{FC76EA98-9B1A-4F2F-9A6E-876FE3C87E8A}" dt="2025-06-25T08:46:35.628" v="104625"/>
          <ac:cxnSpMkLst>
            <pc:docMk/>
            <pc:sldMk cId="2685749853" sldId="378"/>
            <ac:cxnSpMk id="4108" creationId="{CF0F0FA5-382B-D3EA-77F5-6F433A287F55}"/>
          </ac:cxnSpMkLst>
        </pc:cxnChg>
        <pc:cxnChg chg="mod ord">
          <ac:chgData name="Alex Jordan" userId="30755697-3be4-4efa-ad5c-ca2e4102b45a" providerId="ADAL" clId="{FC76EA98-9B1A-4F2F-9A6E-876FE3C87E8A}" dt="2025-06-25T08:46:35.628" v="104627"/>
          <ac:cxnSpMkLst>
            <pc:docMk/>
            <pc:sldMk cId="2685749853" sldId="378"/>
            <ac:cxnSpMk id="4109" creationId="{4EC45903-C74C-912C-59EE-708DCE1A7DA1}"/>
          </ac:cxnSpMkLst>
        </pc:cxnChg>
        <pc:cxnChg chg="mod ord">
          <ac:chgData name="Alex Jordan" userId="30755697-3be4-4efa-ad5c-ca2e4102b45a" providerId="ADAL" clId="{FC76EA98-9B1A-4F2F-9A6E-876FE3C87E8A}" dt="2025-06-25T08:46:35.628" v="104629"/>
          <ac:cxnSpMkLst>
            <pc:docMk/>
            <pc:sldMk cId="2685749853" sldId="378"/>
            <ac:cxnSpMk id="4110" creationId="{C7241F69-3CD9-2B21-6ECF-A7D3CA7D8529}"/>
          </ac:cxnSpMkLst>
        </pc:cxnChg>
        <pc:cxnChg chg="mod ord">
          <ac:chgData name="Alex Jordan" userId="30755697-3be4-4efa-ad5c-ca2e4102b45a" providerId="ADAL" clId="{FC76EA98-9B1A-4F2F-9A6E-876FE3C87E8A}" dt="2025-06-25T08:46:35.628" v="104631"/>
          <ac:cxnSpMkLst>
            <pc:docMk/>
            <pc:sldMk cId="2685749853" sldId="378"/>
            <ac:cxnSpMk id="4111" creationId="{17A076DB-3477-349B-961C-8DC6D94D3F34}"/>
          </ac:cxnSpMkLst>
        </pc:cxnChg>
        <pc:cxnChg chg="mod ord">
          <ac:chgData name="Alex Jordan" userId="30755697-3be4-4efa-ad5c-ca2e4102b45a" providerId="ADAL" clId="{FC76EA98-9B1A-4F2F-9A6E-876FE3C87E8A}" dt="2025-06-25T08:46:35.637" v="104633"/>
          <ac:cxnSpMkLst>
            <pc:docMk/>
            <pc:sldMk cId="2685749853" sldId="378"/>
            <ac:cxnSpMk id="4112" creationId="{00BD827C-0BA2-A229-145F-D5505AB514C8}"/>
          </ac:cxnSpMkLst>
        </pc:cxnChg>
        <pc:cxnChg chg="mod ord">
          <ac:chgData name="Alex Jordan" userId="30755697-3be4-4efa-ad5c-ca2e4102b45a" providerId="ADAL" clId="{FC76EA98-9B1A-4F2F-9A6E-876FE3C87E8A}" dt="2025-06-25T08:46:35.639" v="104644"/>
          <ac:cxnSpMkLst>
            <pc:docMk/>
            <pc:sldMk cId="2685749853" sldId="378"/>
            <ac:cxnSpMk id="4121" creationId="{314A9D77-0490-040D-6B4D-138F242AECE2}"/>
          </ac:cxnSpMkLst>
        </pc:cxnChg>
        <pc:cxnChg chg="mod ord">
          <ac:chgData name="Alex Jordan" userId="30755697-3be4-4efa-ad5c-ca2e4102b45a" providerId="ADAL" clId="{FC76EA98-9B1A-4F2F-9A6E-876FE3C87E8A}" dt="2025-06-25T08:46:35.639" v="104646"/>
          <ac:cxnSpMkLst>
            <pc:docMk/>
            <pc:sldMk cId="2685749853" sldId="378"/>
            <ac:cxnSpMk id="4122" creationId="{8BDF6E4B-DB29-508F-21DD-DF85AB025DFD}"/>
          </ac:cxnSpMkLst>
        </pc:cxnChg>
        <pc:cxnChg chg="mod ord">
          <ac:chgData name="Alex Jordan" userId="30755697-3be4-4efa-ad5c-ca2e4102b45a" providerId="ADAL" clId="{FC76EA98-9B1A-4F2F-9A6E-876FE3C87E8A}" dt="2025-06-25T08:46:35.639" v="104648"/>
          <ac:cxnSpMkLst>
            <pc:docMk/>
            <pc:sldMk cId="2685749853" sldId="378"/>
            <ac:cxnSpMk id="4123" creationId="{049B8857-18D0-1D9C-97DA-022F48C6803C}"/>
          </ac:cxnSpMkLst>
        </pc:cxnChg>
        <pc:cxnChg chg="mod ord">
          <ac:chgData name="Alex Jordan" userId="30755697-3be4-4efa-ad5c-ca2e4102b45a" providerId="ADAL" clId="{FC76EA98-9B1A-4F2F-9A6E-876FE3C87E8A}" dt="2025-06-25T08:46:35.639" v="104650"/>
          <ac:cxnSpMkLst>
            <pc:docMk/>
            <pc:sldMk cId="2685749853" sldId="378"/>
            <ac:cxnSpMk id="4124" creationId="{5CB7DEF0-A365-A848-DD9F-B5CACC7E6DB8}"/>
          </ac:cxnSpMkLst>
        </pc:cxnChg>
        <pc:cxnChg chg="mod ord">
          <ac:chgData name="Alex Jordan" userId="30755697-3be4-4efa-ad5c-ca2e4102b45a" providerId="ADAL" clId="{FC76EA98-9B1A-4F2F-9A6E-876FE3C87E8A}" dt="2025-06-25T08:46:35.644" v="104658"/>
          <ac:cxnSpMkLst>
            <pc:docMk/>
            <pc:sldMk cId="2685749853" sldId="378"/>
            <ac:cxnSpMk id="4131" creationId="{A24B61F7-026D-696B-C2C1-E832C832615B}"/>
          </ac:cxnSpMkLst>
        </pc:cxnChg>
      </pc:sldChg>
      <pc:sldChg chg="addSp delSp modSp add mod modNotes">
        <pc:chgData name="Alex Jordan" userId="30755697-3be4-4efa-ad5c-ca2e4102b45a" providerId="ADAL" clId="{FC76EA98-9B1A-4F2F-9A6E-876FE3C87E8A}" dt="2025-06-27T11:05:27.600" v="104774"/>
        <pc:sldMkLst>
          <pc:docMk/>
          <pc:sldMk cId="295417670" sldId="379"/>
        </pc:sldMkLst>
        <pc:spChg chg="mod ord">
          <ac:chgData name="Alex Jordan" userId="30755697-3be4-4efa-ad5c-ca2e4102b45a" providerId="ADAL" clId="{FC76EA98-9B1A-4F2F-9A6E-876FE3C87E8A}" dt="2025-06-27T11:04:24.424" v="104745" actId="1076"/>
          <ac:spMkLst>
            <pc:docMk/>
            <pc:sldMk cId="295417670" sldId="379"/>
            <ac:spMk id="2" creationId="{A86EF144-EDF9-C484-FC81-B43BDD4C4DA7}"/>
          </ac:spMkLst>
        </pc:spChg>
        <pc:spChg chg="add del mod modVis">
          <ac:chgData name="Alex Jordan" userId="30755697-3be4-4efa-ad5c-ca2e4102b45a" providerId="ADAL" clId="{FC76EA98-9B1A-4F2F-9A6E-876FE3C87E8A}" dt="2025-06-27T11:04:24.424" v="104743" actId="962"/>
          <ac:spMkLst>
            <pc:docMk/>
            <pc:sldMk cId="295417670" sldId="379"/>
            <ac:spMk id="3" creationId="{83C9E5B2-1249-ED9D-1424-2141FA3A76DB}"/>
          </ac:spMkLst>
        </pc:spChg>
        <pc:spChg chg="del mod ord">
          <ac:chgData name="Alex Jordan" userId="30755697-3be4-4efa-ad5c-ca2e4102b45a" providerId="ADAL" clId="{FC76EA98-9B1A-4F2F-9A6E-876FE3C87E8A}" dt="2025-06-27T11:04:26.991" v="104748" actId="478"/>
          <ac:spMkLst>
            <pc:docMk/>
            <pc:sldMk cId="295417670" sldId="379"/>
            <ac:spMk id="4" creationId="{FB7E4EE0-A5DA-5894-8383-158E146A3D20}"/>
          </ac:spMkLst>
        </pc:spChg>
        <pc:spChg chg="del mod ord">
          <ac:chgData name="Alex Jordan" userId="30755697-3be4-4efa-ad5c-ca2e4102b45a" providerId="ADAL" clId="{FC76EA98-9B1A-4F2F-9A6E-876FE3C87E8A}" dt="2025-06-27T11:04:26.991" v="104748" actId="478"/>
          <ac:spMkLst>
            <pc:docMk/>
            <pc:sldMk cId="295417670" sldId="379"/>
            <ac:spMk id="5" creationId="{BD834DC3-A37C-DB63-7444-A4C526BB786B}"/>
          </ac:spMkLst>
        </pc:spChg>
        <pc:spChg chg="del mod ord">
          <ac:chgData name="Alex Jordan" userId="30755697-3be4-4efa-ad5c-ca2e4102b45a" providerId="ADAL" clId="{FC76EA98-9B1A-4F2F-9A6E-876FE3C87E8A}" dt="2025-06-27T11:04:26.991" v="104748" actId="478"/>
          <ac:spMkLst>
            <pc:docMk/>
            <pc:sldMk cId="295417670" sldId="379"/>
            <ac:spMk id="6" creationId="{3C236AFF-8A9C-DB5A-64C7-D00B42DECE63}"/>
          </ac:spMkLst>
        </pc:spChg>
        <pc:spChg chg="del mod ord">
          <ac:chgData name="Alex Jordan" userId="30755697-3be4-4efa-ad5c-ca2e4102b45a" providerId="ADAL" clId="{FC76EA98-9B1A-4F2F-9A6E-876FE3C87E8A}" dt="2025-06-27T11:04:26.991" v="104748" actId="478"/>
          <ac:spMkLst>
            <pc:docMk/>
            <pc:sldMk cId="295417670" sldId="379"/>
            <ac:spMk id="8" creationId="{CAA3FF9A-E6F1-C47A-CAF2-6A7ADDC69152}"/>
          </ac:spMkLst>
        </pc:spChg>
        <pc:spChg chg="del mod ord">
          <ac:chgData name="Alex Jordan" userId="30755697-3be4-4efa-ad5c-ca2e4102b45a" providerId="ADAL" clId="{FC76EA98-9B1A-4F2F-9A6E-876FE3C87E8A}" dt="2025-06-27T11:04:26.991" v="104748" actId="478"/>
          <ac:spMkLst>
            <pc:docMk/>
            <pc:sldMk cId="295417670" sldId="379"/>
            <ac:spMk id="9" creationId="{1E8808D6-0CA1-F0E4-E03F-222CEC6E1BAC}"/>
          </ac:spMkLst>
        </pc:spChg>
        <pc:spChg chg="add mod">
          <ac:chgData name="Alex Jordan" userId="30755697-3be4-4efa-ad5c-ca2e4102b45a" providerId="ADAL" clId="{FC76EA98-9B1A-4F2F-9A6E-876FE3C87E8A}" dt="2025-06-27T11:05:13.159" v="104762"/>
          <ac:spMkLst>
            <pc:docMk/>
            <pc:sldMk cId="295417670" sldId="379"/>
            <ac:spMk id="10" creationId="{6BB5E571-EE2B-5963-EFB8-D129B53A6473}"/>
          </ac:spMkLst>
        </pc:spChg>
        <pc:spChg chg="add mod">
          <ac:chgData name="Alex Jordan" userId="30755697-3be4-4efa-ad5c-ca2e4102b45a" providerId="ADAL" clId="{FC76EA98-9B1A-4F2F-9A6E-876FE3C87E8A}" dt="2025-06-27T11:05:13.159" v="104762"/>
          <ac:spMkLst>
            <pc:docMk/>
            <pc:sldMk cId="295417670" sldId="379"/>
            <ac:spMk id="11" creationId="{8A76237F-C0D7-4E3C-251B-F6FD65ED6A4C}"/>
          </ac:spMkLst>
        </pc:spChg>
        <pc:spChg chg="add mod">
          <ac:chgData name="Alex Jordan" userId="30755697-3be4-4efa-ad5c-ca2e4102b45a" providerId="ADAL" clId="{FC76EA98-9B1A-4F2F-9A6E-876FE3C87E8A}" dt="2025-06-27T11:05:13.159" v="104762"/>
          <ac:spMkLst>
            <pc:docMk/>
            <pc:sldMk cId="295417670" sldId="379"/>
            <ac:spMk id="12" creationId="{92B709BD-3107-CF4E-898B-3D6EDCB30EF0}"/>
          </ac:spMkLst>
        </pc:spChg>
        <pc:spChg chg="add mod">
          <ac:chgData name="Alex Jordan" userId="30755697-3be4-4efa-ad5c-ca2e4102b45a" providerId="ADAL" clId="{FC76EA98-9B1A-4F2F-9A6E-876FE3C87E8A}" dt="2025-06-27T11:05:27.600" v="104774"/>
          <ac:spMkLst>
            <pc:docMk/>
            <pc:sldMk cId="295417670" sldId="379"/>
            <ac:spMk id="13" creationId="{874B1C40-1189-228B-2B7F-A905847F0C54}"/>
          </ac:spMkLst>
        </pc:spChg>
        <pc:spChg chg="mod">
          <ac:chgData name="Alex Jordan" userId="30755697-3be4-4efa-ad5c-ca2e4102b45a" providerId="ADAL" clId="{FC76EA98-9B1A-4F2F-9A6E-876FE3C87E8A}" dt="2025-06-25T08:46:30.083" v="99841" actId="947"/>
          <ac:spMkLst>
            <pc:docMk/>
            <pc:sldMk cId="295417670" sldId="379"/>
            <ac:spMk id="15" creationId="{E64F6F21-1E68-4DA3-9F02-B1D5B7042729}"/>
          </ac:spMkLst>
        </pc:spChg>
        <pc:spChg chg="mod">
          <ac:chgData name="Alex Jordan" userId="30755697-3be4-4efa-ad5c-ca2e4102b45a" providerId="ADAL" clId="{FC76EA98-9B1A-4F2F-9A6E-876FE3C87E8A}" dt="2025-06-25T08:46:32.056" v="101958" actId="790"/>
          <ac:spMkLst>
            <pc:docMk/>
            <pc:sldMk cId="295417670" sldId="379"/>
            <ac:spMk id="16" creationId="{F64C35D9-A4D3-F2C0-75CA-BF26893866C3}"/>
          </ac:spMkLst>
        </pc:spChg>
        <pc:spChg chg="mod">
          <ac:chgData name="Alex Jordan" userId="30755697-3be4-4efa-ad5c-ca2e4102b45a" providerId="ADAL" clId="{FC76EA98-9B1A-4F2F-9A6E-876FE3C87E8A}" dt="2025-06-25T08:46:32.056" v="101958" actId="790"/>
          <ac:spMkLst>
            <pc:docMk/>
            <pc:sldMk cId="295417670" sldId="379"/>
            <ac:spMk id="19" creationId="{0F6002D5-B1BF-2AC6-174A-9F01FE1A9BA8}"/>
          </ac:spMkLst>
        </pc:spChg>
        <pc:spChg chg="add mod">
          <ac:chgData name="Alex Jordan" userId="30755697-3be4-4efa-ad5c-ca2e4102b45a" providerId="ADAL" clId="{FC76EA98-9B1A-4F2F-9A6E-876FE3C87E8A}" dt="2025-06-27T11:05:27.600" v="104774"/>
          <ac:spMkLst>
            <pc:docMk/>
            <pc:sldMk cId="295417670" sldId="379"/>
            <ac:spMk id="29" creationId="{0E5AFE53-3CA7-FC66-18A2-90DE732A1150}"/>
          </ac:spMkLst>
        </pc:spChg>
        <pc:spChg chg="add mod">
          <ac:chgData name="Alex Jordan" userId="30755697-3be4-4efa-ad5c-ca2e4102b45a" providerId="ADAL" clId="{FC76EA98-9B1A-4F2F-9A6E-876FE3C87E8A}" dt="2025-06-27T11:05:27.600" v="104774"/>
          <ac:spMkLst>
            <pc:docMk/>
            <pc:sldMk cId="295417670" sldId="379"/>
            <ac:spMk id="30" creationId="{368FBF42-B52C-5750-5F15-1612AC3DC2BF}"/>
          </ac:spMkLst>
        </pc:spChg>
        <pc:spChg chg="add mod">
          <ac:chgData name="Alex Jordan" userId="30755697-3be4-4efa-ad5c-ca2e4102b45a" providerId="ADAL" clId="{FC76EA98-9B1A-4F2F-9A6E-876FE3C87E8A}" dt="2025-06-27T11:05:27.600" v="104774"/>
          <ac:spMkLst>
            <pc:docMk/>
            <pc:sldMk cId="295417670" sldId="379"/>
            <ac:spMk id="32" creationId="{8FBCB2F4-185F-CB3E-18F4-58EE48260D60}"/>
          </ac:spMkLst>
        </pc:spChg>
        <pc:spChg chg="mod ord">
          <ac:chgData name="Alex Jordan" userId="30755697-3be4-4efa-ad5c-ca2e4102b45a" providerId="ADAL" clId="{FC76EA98-9B1A-4F2F-9A6E-876FE3C87E8A}" dt="2025-06-25T08:46:35.133" v="104094"/>
          <ac:spMkLst>
            <pc:docMk/>
            <pc:sldMk cId="295417670" sldId="379"/>
            <ac:spMk id="38" creationId="{F986D4E0-1274-351C-C2C9-BA31F77095EC}"/>
          </ac:spMkLst>
        </pc:spChg>
        <pc:spChg chg="mod ord">
          <ac:chgData name="Alex Jordan" userId="30755697-3be4-4efa-ad5c-ca2e4102b45a" providerId="ADAL" clId="{FC76EA98-9B1A-4F2F-9A6E-876FE3C87E8A}" dt="2025-06-25T08:46:35.135" v="104100"/>
          <ac:spMkLst>
            <pc:docMk/>
            <pc:sldMk cId="295417670" sldId="379"/>
            <ac:spMk id="4097" creationId="{F88A2997-22D1-2CA9-F8DD-45DF1F3020B4}"/>
          </ac:spMkLst>
        </pc:spChg>
        <pc:spChg chg="mod ord">
          <ac:chgData name="Alex Jordan" userId="30755697-3be4-4efa-ad5c-ca2e4102b45a" providerId="ADAL" clId="{FC76EA98-9B1A-4F2F-9A6E-876FE3C87E8A}" dt="2025-06-25T08:46:35.136" v="104102"/>
          <ac:spMkLst>
            <pc:docMk/>
            <pc:sldMk cId="295417670" sldId="379"/>
            <ac:spMk id="4098" creationId="{3E07E133-4076-A8CF-3108-2992C72F5873}"/>
          </ac:spMkLst>
        </pc:spChg>
        <pc:spChg chg="mod ord">
          <ac:chgData name="Alex Jordan" userId="30755697-3be4-4efa-ad5c-ca2e4102b45a" providerId="ADAL" clId="{FC76EA98-9B1A-4F2F-9A6E-876FE3C87E8A}" dt="2025-06-25T08:46:35.137" v="104104"/>
          <ac:spMkLst>
            <pc:docMk/>
            <pc:sldMk cId="295417670" sldId="379"/>
            <ac:spMk id="4099" creationId="{CBFF1762-1755-7974-5836-7FB4BDC89353}"/>
          </ac:spMkLst>
        </pc:spChg>
        <pc:spChg chg="mod ord">
          <ac:chgData name="Alex Jordan" userId="30755697-3be4-4efa-ad5c-ca2e4102b45a" providerId="ADAL" clId="{FC76EA98-9B1A-4F2F-9A6E-876FE3C87E8A}" dt="2025-06-25T08:46:35.137" v="104106"/>
          <ac:spMkLst>
            <pc:docMk/>
            <pc:sldMk cId="295417670" sldId="379"/>
            <ac:spMk id="4100" creationId="{36E52CCD-28CB-E313-18A1-FABBBDF7B74A}"/>
          </ac:spMkLst>
        </pc:spChg>
        <pc:spChg chg="mod ord">
          <ac:chgData name="Alex Jordan" userId="30755697-3be4-4efa-ad5c-ca2e4102b45a" providerId="ADAL" clId="{FC76EA98-9B1A-4F2F-9A6E-876FE3C87E8A}" dt="2025-06-25T08:46:35.138" v="104108"/>
          <ac:spMkLst>
            <pc:docMk/>
            <pc:sldMk cId="295417670" sldId="379"/>
            <ac:spMk id="4101" creationId="{11519FD5-95AF-96B5-80E5-4DB0FCEC4746}"/>
          </ac:spMkLst>
        </pc:spChg>
        <pc:spChg chg="mod ord">
          <ac:chgData name="Alex Jordan" userId="30755697-3be4-4efa-ad5c-ca2e4102b45a" providerId="ADAL" clId="{FC76EA98-9B1A-4F2F-9A6E-876FE3C87E8A}" dt="2025-06-25T08:46:35.138" v="104110"/>
          <ac:spMkLst>
            <pc:docMk/>
            <pc:sldMk cId="295417670" sldId="379"/>
            <ac:spMk id="4102" creationId="{A4AFE519-B709-41D2-32E6-BD38BDABE378}"/>
          </ac:spMkLst>
        </pc:spChg>
        <pc:spChg chg="mod ord">
          <ac:chgData name="Alex Jordan" userId="30755697-3be4-4efa-ad5c-ca2e4102b45a" providerId="ADAL" clId="{FC76EA98-9B1A-4F2F-9A6E-876FE3C87E8A}" dt="2025-06-25T08:46:35.141" v="104112"/>
          <ac:spMkLst>
            <pc:docMk/>
            <pc:sldMk cId="295417670" sldId="379"/>
            <ac:spMk id="4103" creationId="{D2FCA9BA-1A51-35A5-D51B-F3ECA1750E47}"/>
          </ac:spMkLst>
        </pc:spChg>
        <pc:spChg chg="mod ord">
          <ac:chgData name="Alex Jordan" userId="30755697-3be4-4efa-ad5c-ca2e4102b45a" providerId="ADAL" clId="{FC76EA98-9B1A-4F2F-9A6E-876FE3C87E8A}" dt="2025-06-25T08:46:35.141" v="104114"/>
          <ac:spMkLst>
            <pc:docMk/>
            <pc:sldMk cId="295417670" sldId="379"/>
            <ac:spMk id="4104" creationId="{D67E5C07-4C5E-4733-4830-FE8ACCA0A0B9}"/>
          </ac:spMkLst>
        </pc:spChg>
        <pc:spChg chg="mod ord">
          <ac:chgData name="Alex Jordan" userId="30755697-3be4-4efa-ad5c-ca2e4102b45a" providerId="ADAL" clId="{FC76EA98-9B1A-4F2F-9A6E-876FE3C87E8A}" dt="2025-06-25T08:46:35.144" v="104116"/>
          <ac:spMkLst>
            <pc:docMk/>
            <pc:sldMk cId="295417670" sldId="379"/>
            <ac:spMk id="4105" creationId="{55CEC700-AD7B-77F3-9DE3-425B3E17A8D4}"/>
          </ac:spMkLst>
        </pc:spChg>
        <pc:spChg chg="mod ord">
          <ac:chgData name="Alex Jordan" userId="30755697-3be4-4efa-ad5c-ca2e4102b45a" providerId="ADAL" clId="{FC76EA98-9B1A-4F2F-9A6E-876FE3C87E8A}" dt="2025-06-25T08:46:35.149" v="104129"/>
          <ac:spMkLst>
            <pc:docMk/>
            <pc:sldMk cId="295417670" sldId="379"/>
            <ac:spMk id="4125" creationId="{C1A2F839-109A-D06C-0AA5-4DB6FCCBE624}"/>
          </ac:spMkLst>
        </pc:spChg>
        <pc:spChg chg="mod">
          <ac:chgData name="Alex Jordan" userId="30755697-3be4-4efa-ad5c-ca2e4102b45a" providerId="ADAL" clId="{FC76EA98-9B1A-4F2F-9A6E-876FE3C87E8A}" dt="2025-06-25T08:46:35.151" v="104130"/>
          <ac:spMkLst>
            <pc:docMk/>
            <pc:sldMk cId="295417670" sldId="379"/>
            <ac:spMk id="4126" creationId="{5693DCF4-A2FA-3BCE-87D5-75F0AC657589}"/>
          </ac:spMkLst>
        </pc:spChg>
        <pc:spChg chg="mod ord">
          <ac:chgData name="Alex Jordan" userId="30755697-3be4-4efa-ad5c-ca2e4102b45a" providerId="ADAL" clId="{FC76EA98-9B1A-4F2F-9A6E-876FE3C87E8A}" dt="2025-06-25T08:46:35.151" v="104131"/>
          <ac:spMkLst>
            <pc:docMk/>
            <pc:sldMk cId="295417670" sldId="379"/>
            <ac:spMk id="4127" creationId="{760929FD-2E6E-3143-80DE-4B66BB041E51}"/>
          </ac:spMkLst>
        </pc:spChg>
        <pc:spChg chg="mod ord">
          <ac:chgData name="Alex Jordan" userId="30755697-3be4-4efa-ad5c-ca2e4102b45a" providerId="ADAL" clId="{FC76EA98-9B1A-4F2F-9A6E-876FE3C87E8A}" dt="2025-06-25T08:46:35.151" v="104132"/>
          <ac:spMkLst>
            <pc:docMk/>
            <pc:sldMk cId="295417670" sldId="379"/>
            <ac:spMk id="4128" creationId="{3A4528D9-A8A3-D5A8-16E1-D102FEE888FF}"/>
          </ac:spMkLst>
        </pc:spChg>
        <pc:spChg chg="mod ord">
          <ac:chgData name="Alex Jordan" userId="30755697-3be4-4efa-ad5c-ca2e4102b45a" providerId="ADAL" clId="{FC76EA98-9B1A-4F2F-9A6E-876FE3C87E8A}" dt="2025-06-25T08:46:35.151" v="104134"/>
          <ac:spMkLst>
            <pc:docMk/>
            <pc:sldMk cId="295417670" sldId="379"/>
            <ac:spMk id="4129" creationId="{C4D4CDDC-7A05-9AB3-46A8-CA082655C80F}"/>
          </ac:spMkLst>
        </pc:spChg>
        <pc:spChg chg="mod ord">
          <ac:chgData name="Alex Jordan" userId="30755697-3be4-4efa-ad5c-ca2e4102b45a" providerId="ADAL" clId="{FC76EA98-9B1A-4F2F-9A6E-876FE3C87E8A}" dt="2025-06-25T08:46:35.153" v="104135"/>
          <ac:spMkLst>
            <pc:docMk/>
            <pc:sldMk cId="295417670" sldId="379"/>
            <ac:spMk id="4130" creationId="{5563B9DB-BCA2-D91C-3DD8-D7C8CEEBB569}"/>
          </ac:spMkLst>
        </pc:spChg>
        <pc:spChg chg="add mod ord">
          <ac:chgData name="Alex Jordan" userId="30755697-3be4-4efa-ad5c-ca2e4102b45a" providerId="ADAL" clId="{FC76EA98-9B1A-4F2F-9A6E-876FE3C87E8A}" dt="2025-06-25T08:46:35.155" v="104137"/>
          <ac:spMkLst>
            <pc:docMk/>
            <pc:sldMk cId="295417670" sldId="379"/>
            <ac:spMk id="4151" creationId="{61B0DBE6-7508-7AEE-F947-C61EB73ED456}"/>
          </ac:spMkLst>
        </pc:spChg>
        <pc:spChg chg="add mod ord">
          <ac:chgData name="Alex Jordan" userId="30755697-3be4-4efa-ad5c-ca2e4102b45a" providerId="ADAL" clId="{FC76EA98-9B1A-4F2F-9A6E-876FE3C87E8A}" dt="2025-06-25T08:46:35.154" v="104136"/>
          <ac:spMkLst>
            <pc:docMk/>
            <pc:sldMk cId="295417670" sldId="379"/>
            <ac:spMk id="4153" creationId="{3AB59637-5012-26B7-7485-6DA85E8D3405}"/>
          </ac:spMkLst>
        </pc:spChg>
        <pc:grpChg chg="mod ord">
          <ac:chgData name="Alex Jordan" userId="30755697-3be4-4efa-ad5c-ca2e4102b45a" providerId="ADAL" clId="{FC76EA98-9B1A-4F2F-9A6E-876FE3C87E8A}" dt="2025-06-25T08:46:35.134" v="104096"/>
          <ac:grpSpMkLst>
            <pc:docMk/>
            <pc:sldMk cId="295417670" sldId="379"/>
            <ac:grpSpMk id="14" creationId="{14B6836B-2526-E204-B937-A92960EC7221}"/>
          </ac:grpSpMkLst>
        </pc:grpChg>
        <pc:graphicFrameChg chg="mod">
          <ac:chgData name="Alex Jordan" userId="30755697-3be4-4efa-ad5c-ca2e4102b45a" providerId="ADAL" clId="{FC76EA98-9B1A-4F2F-9A6E-876FE3C87E8A}" dt="2025-06-27T11:04:24.445" v="104747"/>
          <ac:graphicFrameMkLst>
            <pc:docMk/>
            <pc:sldMk cId="295417670" sldId="379"/>
            <ac:graphicFrameMk id="7" creationId="{CC17D9F4-E568-D222-73FF-6B27FD311AF7}"/>
          </ac:graphicFrameMkLst>
        </pc:graphicFrameChg>
        <pc:graphicFrameChg chg="add mod ord">
          <ac:chgData name="Alex Jordan" userId="30755697-3be4-4efa-ad5c-ca2e4102b45a" providerId="ADAL" clId="{FC76EA98-9B1A-4F2F-9A6E-876FE3C87E8A}" dt="2025-06-25T08:46:35.145" v="104118"/>
          <ac:graphicFrameMkLst>
            <pc:docMk/>
            <pc:sldMk cId="295417670" sldId="379"/>
            <ac:graphicFrameMk id="31" creationId="{A5DFBD17-E70D-4829-451E-2C1F041B34C5}"/>
          </ac:graphicFrameMkLst>
        </pc:graphicFrameChg>
        <pc:graphicFrameChg chg="mod ord">
          <ac:chgData name="Alex Jordan" userId="30755697-3be4-4efa-ad5c-ca2e4102b45a" providerId="ADAL" clId="{FC76EA98-9B1A-4F2F-9A6E-876FE3C87E8A}" dt="2025-06-25T08:46:35.134" v="104098"/>
          <ac:graphicFrameMkLst>
            <pc:docMk/>
            <pc:sldMk cId="295417670" sldId="379"/>
            <ac:graphicFrameMk id="4096" creationId="{EC44E39B-1882-B46D-BD92-2F59A841D8A1}"/>
          </ac:graphicFrameMkLst>
        </pc:graphicFrameChg>
        <pc:graphicFrameChg chg="mod ord modGraphic">
          <ac:chgData name="Alex Jordan" userId="30755697-3be4-4efa-ad5c-ca2e4102b45a" providerId="ADAL" clId="{FC76EA98-9B1A-4F2F-9A6E-876FE3C87E8A}" dt="2025-06-25T08:46:35.157" v="104141"/>
          <ac:graphicFrameMkLst>
            <pc:docMk/>
            <pc:sldMk cId="295417670" sldId="379"/>
            <ac:graphicFrameMk id="4132" creationId="{2770D915-2500-CFB6-28AF-DA68D9B03BFC}"/>
          </ac:graphicFrameMkLst>
        </pc:graphicFrameChg>
        <pc:picChg chg="add del mod">
          <ac:chgData name="Alex Jordan" userId="30755697-3be4-4efa-ad5c-ca2e4102b45a" providerId="ADAL" clId="{FC76EA98-9B1A-4F2F-9A6E-876FE3C87E8A}" dt="2025-06-25T08:46:35.158" v="104142"/>
          <ac:picMkLst>
            <pc:docMk/>
            <pc:sldMk cId="295417670" sldId="379"/>
            <ac:picMk id="45" creationId="{49BA07AF-40E4-AA2C-490E-A9E93B945420}"/>
          </ac:picMkLst>
        </pc:picChg>
        <pc:picChg chg="add mod">
          <ac:chgData name="Alex Jordan" userId="30755697-3be4-4efa-ad5c-ca2e4102b45a" providerId="ADAL" clId="{FC76EA98-9B1A-4F2F-9A6E-876FE3C87E8A}" dt="2025-06-25T08:46:35.158" v="104143"/>
          <ac:picMkLst>
            <pc:docMk/>
            <pc:sldMk cId="295417670" sldId="379"/>
            <ac:picMk id="46" creationId="{310336EC-948F-8215-37D9-AEAE39A0F618}"/>
          </ac:picMkLst>
        </pc:picChg>
        <pc:picChg chg="add mod">
          <ac:chgData name="Alex Jordan" userId="30755697-3be4-4efa-ad5c-ca2e4102b45a" providerId="ADAL" clId="{FC76EA98-9B1A-4F2F-9A6E-876FE3C87E8A}" dt="2025-06-25T08:46:35.158" v="104144"/>
          <ac:picMkLst>
            <pc:docMk/>
            <pc:sldMk cId="295417670" sldId="379"/>
            <ac:picMk id="53" creationId="{C278C1D7-5489-3313-0D7F-34EA00EED289}"/>
          </ac:picMkLst>
        </pc:picChg>
        <pc:picChg chg="add mod">
          <ac:chgData name="Alex Jordan" userId="30755697-3be4-4efa-ad5c-ca2e4102b45a" providerId="ADAL" clId="{FC76EA98-9B1A-4F2F-9A6E-876FE3C87E8A}" dt="2025-06-25T08:46:35.159" v="104145"/>
          <ac:picMkLst>
            <pc:docMk/>
            <pc:sldMk cId="295417670" sldId="379"/>
            <ac:picMk id="1026" creationId="{ECA55480-5ED2-6B26-3ADC-BF6FF1CB30FD}"/>
          </ac:picMkLst>
        </pc:picChg>
        <pc:cxnChg chg="mod ord">
          <ac:chgData name="Alex Jordan" userId="30755697-3be4-4efa-ad5c-ca2e4102b45a" providerId="ADAL" clId="{FC76EA98-9B1A-4F2F-9A6E-876FE3C87E8A}" dt="2025-06-25T08:46:35.145" v="104120"/>
          <ac:cxnSpMkLst>
            <pc:docMk/>
            <pc:sldMk cId="295417670" sldId="379"/>
            <ac:cxnSpMk id="4121" creationId="{23C0F503-F142-3082-C9ED-F16AB1FA13A3}"/>
          </ac:cxnSpMkLst>
        </pc:cxnChg>
        <pc:cxnChg chg="mod ord">
          <ac:chgData name="Alex Jordan" userId="30755697-3be4-4efa-ad5c-ca2e4102b45a" providerId="ADAL" clId="{FC76EA98-9B1A-4F2F-9A6E-876FE3C87E8A}" dt="2025-06-25T08:46:35.148" v="104122"/>
          <ac:cxnSpMkLst>
            <pc:docMk/>
            <pc:sldMk cId="295417670" sldId="379"/>
            <ac:cxnSpMk id="4122" creationId="{1A1EB6EF-3182-53AC-DF8C-FCF7E8CF9971}"/>
          </ac:cxnSpMkLst>
        </pc:cxnChg>
        <pc:cxnChg chg="mod ord">
          <ac:chgData name="Alex Jordan" userId="30755697-3be4-4efa-ad5c-ca2e4102b45a" providerId="ADAL" clId="{FC76EA98-9B1A-4F2F-9A6E-876FE3C87E8A}" dt="2025-06-25T08:46:35.149" v="104124"/>
          <ac:cxnSpMkLst>
            <pc:docMk/>
            <pc:sldMk cId="295417670" sldId="379"/>
            <ac:cxnSpMk id="4123" creationId="{73C49C3F-ABEA-8F47-3DC7-E09E315FECCE}"/>
          </ac:cxnSpMkLst>
        </pc:cxnChg>
        <pc:cxnChg chg="mod ord">
          <ac:chgData name="Alex Jordan" userId="30755697-3be4-4efa-ad5c-ca2e4102b45a" providerId="ADAL" clId="{FC76EA98-9B1A-4F2F-9A6E-876FE3C87E8A}" dt="2025-06-25T08:46:35.149" v="104126"/>
          <ac:cxnSpMkLst>
            <pc:docMk/>
            <pc:sldMk cId="295417670" sldId="379"/>
            <ac:cxnSpMk id="4124" creationId="{CE89E80B-A1B2-56BF-6208-E17732A0E34E}"/>
          </ac:cxnSpMkLst>
        </pc:cxnChg>
        <pc:cxnChg chg="mod ord">
          <ac:chgData name="Alex Jordan" userId="30755697-3be4-4efa-ad5c-ca2e4102b45a" providerId="ADAL" clId="{FC76EA98-9B1A-4F2F-9A6E-876FE3C87E8A}" dt="2025-06-25T08:46:35.156" v="104139"/>
          <ac:cxnSpMkLst>
            <pc:docMk/>
            <pc:sldMk cId="295417670" sldId="379"/>
            <ac:cxnSpMk id="4131" creationId="{955F99E1-8CD4-726B-CD63-EECAFAA52831}"/>
          </ac:cxnSpMkLst>
        </pc:cxnChg>
        <pc:cxnChg chg="add mod ord">
          <ac:chgData name="Alex Jordan" userId="30755697-3be4-4efa-ad5c-ca2e4102b45a" providerId="ADAL" clId="{FC76EA98-9B1A-4F2F-9A6E-876FE3C87E8A}" dt="2025-06-25T08:46:35.149" v="104128"/>
          <ac:cxnSpMkLst>
            <pc:docMk/>
            <pc:sldMk cId="295417670" sldId="379"/>
            <ac:cxnSpMk id="4164" creationId="{ACB7DB80-0B1A-0A81-FB7B-54A396AE2537}"/>
          </ac:cxnSpMkLst>
        </pc:cxnChg>
      </pc:sldChg>
      <pc:sldChg chg="addSp delSp modSp add mod modNotes">
        <pc:chgData name="Alex Jordan" userId="30755697-3be4-4efa-ad5c-ca2e4102b45a" providerId="ADAL" clId="{FC76EA98-9B1A-4F2F-9A6E-876FE3C87E8A}" dt="2025-06-27T11:05:27.605" v="104778"/>
        <pc:sldMkLst>
          <pc:docMk/>
          <pc:sldMk cId="3951740796" sldId="380"/>
        </pc:sldMkLst>
        <pc:spChg chg="mod ord">
          <ac:chgData name="Alex Jordan" userId="30755697-3be4-4efa-ad5c-ca2e4102b45a" providerId="ADAL" clId="{FC76EA98-9B1A-4F2F-9A6E-876FE3C87E8A}" dt="2025-06-25T08:46:34.198" v="103252"/>
          <ac:spMkLst>
            <pc:docMk/>
            <pc:sldMk cId="3951740796" sldId="380"/>
            <ac:spMk id="2" creationId="{D69FD9B4-D3A8-EC96-876C-04194184304D}"/>
          </ac:spMkLst>
        </pc:spChg>
        <pc:spChg chg="add mod">
          <ac:chgData name="Alex Jordan" userId="30755697-3be4-4efa-ad5c-ca2e4102b45a" providerId="ADAL" clId="{FC76EA98-9B1A-4F2F-9A6E-876FE3C87E8A}" dt="2025-06-27T11:05:13.165" v="104766"/>
          <ac:spMkLst>
            <pc:docMk/>
            <pc:sldMk cId="3951740796" sldId="380"/>
            <ac:spMk id="3" creationId="{89208158-E172-727E-6D82-EDE5B9585EC1}"/>
          </ac:spMkLst>
        </pc:spChg>
        <pc:spChg chg="del mod ord">
          <ac:chgData name="Alex Jordan" userId="30755697-3be4-4efa-ad5c-ca2e4102b45a" providerId="ADAL" clId="{FC76EA98-9B1A-4F2F-9A6E-876FE3C87E8A}" dt="2025-06-27T11:04:40.260" v="104752" actId="478"/>
          <ac:spMkLst>
            <pc:docMk/>
            <pc:sldMk cId="3951740796" sldId="380"/>
            <ac:spMk id="4" creationId="{9AA0F2E7-8E0B-F52A-F884-5A987F0B3C42}"/>
          </ac:spMkLst>
        </pc:spChg>
        <pc:spChg chg="del mod ord">
          <ac:chgData name="Alex Jordan" userId="30755697-3be4-4efa-ad5c-ca2e4102b45a" providerId="ADAL" clId="{FC76EA98-9B1A-4F2F-9A6E-876FE3C87E8A}" dt="2025-06-27T11:04:40.260" v="104752" actId="478"/>
          <ac:spMkLst>
            <pc:docMk/>
            <pc:sldMk cId="3951740796" sldId="380"/>
            <ac:spMk id="5" creationId="{D6AB4877-BE50-C55B-819C-9B48D56982A8}"/>
          </ac:spMkLst>
        </pc:spChg>
        <pc:spChg chg="del mod ord">
          <ac:chgData name="Alex Jordan" userId="30755697-3be4-4efa-ad5c-ca2e4102b45a" providerId="ADAL" clId="{FC76EA98-9B1A-4F2F-9A6E-876FE3C87E8A}" dt="2025-06-27T11:04:40.260" v="104752" actId="478"/>
          <ac:spMkLst>
            <pc:docMk/>
            <pc:sldMk cId="3951740796" sldId="380"/>
            <ac:spMk id="6" creationId="{957464AC-9295-0752-3526-C060720D5004}"/>
          </ac:spMkLst>
        </pc:spChg>
        <pc:spChg chg="del mod ord">
          <ac:chgData name="Alex Jordan" userId="30755697-3be4-4efa-ad5c-ca2e4102b45a" providerId="ADAL" clId="{FC76EA98-9B1A-4F2F-9A6E-876FE3C87E8A}" dt="2025-06-27T11:04:40.260" v="104752" actId="478"/>
          <ac:spMkLst>
            <pc:docMk/>
            <pc:sldMk cId="3951740796" sldId="380"/>
            <ac:spMk id="8" creationId="{A92B36FF-33EE-8090-419D-F481B2BD2D0F}"/>
          </ac:spMkLst>
        </pc:spChg>
        <pc:spChg chg="del mod ord">
          <ac:chgData name="Alex Jordan" userId="30755697-3be4-4efa-ad5c-ca2e4102b45a" providerId="ADAL" clId="{FC76EA98-9B1A-4F2F-9A6E-876FE3C87E8A}" dt="2025-06-27T11:04:40.260" v="104752" actId="478"/>
          <ac:spMkLst>
            <pc:docMk/>
            <pc:sldMk cId="3951740796" sldId="380"/>
            <ac:spMk id="9" creationId="{226DEBCA-F05D-2159-BC2A-252E632742D0}"/>
          </ac:spMkLst>
        </pc:spChg>
        <pc:spChg chg="add mod">
          <ac:chgData name="Alex Jordan" userId="30755697-3be4-4efa-ad5c-ca2e4102b45a" providerId="ADAL" clId="{FC76EA98-9B1A-4F2F-9A6E-876FE3C87E8A}" dt="2025-06-27T11:05:13.165" v="104766"/>
          <ac:spMkLst>
            <pc:docMk/>
            <pc:sldMk cId="3951740796" sldId="380"/>
            <ac:spMk id="11" creationId="{1B40BBF4-A552-7B47-437E-C61B892E7F32}"/>
          </ac:spMkLst>
        </pc:spChg>
        <pc:spChg chg="add mod">
          <ac:chgData name="Alex Jordan" userId="30755697-3be4-4efa-ad5c-ca2e4102b45a" providerId="ADAL" clId="{FC76EA98-9B1A-4F2F-9A6E-876FE3C87E8A}" dt="2025-06-27T11:05:13.165" v="104766"/>
          <ac:spMkLst>
            <pc:docMk/>
            <pc:sldMk cId="3951740796" sldId="380"/>
            <ac:spMk id="12" creationId="{A396294A-25AA-92B6-E50F-9B1A88C80E51}"/>
          </ac:spMkLst>
        </pc:spChg>
        <pc:spChg chg="add mod">
          <ac:chgData name="Alex Jordan" userId="30755697-3be4-4efa-ad5c-ca2e4102b45a" providerId="ADAL" clId="{FC76EA98-9B1A-4F2F-9A6E-876FE3C87E8A}" dt="2025-06-27T11:05:27.605" v="104778"/>
          <ac:spMkLst>
            <pc:docMk/>
            <pc:sldMk cId="3951740796" sldId="380"/>
            <ac:spMk id="13" creationId="{B94D5206-1E30-95EE-3A60-BB9567F2E49A}"/>
          </ac:spMkLst>
        </pc:spChg>
        <pc:spChg chg="add mod">
          <ac:chgData name="Alex Jordan" userId="30755697-3be4-4efa-ad5c-ca2e4102b45a" providerId="ADAL" clId="{FC76EA98-9B1A-4F2F-9A6E-876FE3C87E8A}" dt="2025-06-27T11:05:27.605" v="104778"/>
          <ac:spMkLst>
            <pc:docMk/>
            <pc:sldMk cId="3951740796" sldId="380"/>
            <ac:spMk id="15" creationId="{FA56001C-BBAC-CB8B-473C-6014BF339137}"/>
          </ac:spMkLst>
        </pc:spChg>
        <pc:spChg chg="add mod">
          <ac:chgData name="Alex Jordan" userId="30755697-3be4-4efa-ad5c-ca2e4102b45a" providerId="ADAL" clId="{FC76EA98-9B1A-4F2F-9A6E-876FE3C87E8A}" dt="2025-06-27T11:05:27.605" v="104778"/>
          <ac:spMkLst>
            <pc:docMk/>
            <pc:sldMk cId="3951740796" sldId="380"/>
            <ac:spMk id="16" creationId="{BB19BFCE-E1EE-8205-2EBE-74DE721876EF}"/>
          </ac:spMkLst>
        </pc:spChg>
        <pc:spChg chg="add mod">
          <ac:chgData name="Alex Jordan" userId="30755697-3be4-4efa-ad5c-ca2e4102b45a" providerId="ADAL" clId="{FC76EA98-9B1A-4F2F-9A6E-876FE3C87E8A}" dt="2025-06-27T11:05:27.605" v="104778"/>
          <ac:spMkLst>
            <pc:docMk/>
            <pc:sldMk cId="3951740796" sldId="380"/>
            <ac:spMk id="17" creationId="{47A6FAB6-7AC6-DAC4-7961-1BEFDCBCE297}"/>
          </ac:spMkLst>
        </pc:spChg>
        <pc:spChg chg="mod ord">
          <ac:chgData name="Alex Jordan" userId="30755697-3be4-4efa-ad5c-ca2e4102b45a" providerId="ADAL" clId="{FC76EA98-9B1A-4F2F-9A6E-876FE3C87E8A}" dt="2025-06-25T08:46:34.202" v="103264"/>
          <ac:spMkLst>
            <pc:docMk/>
            <pc:sldMk cId="3951740796" sldId="380"/>
            <ac:spMk id="38" creationId="{7F485162-5542-8D24-D21C-4401AF6FF2AF}"/>
          </ac:spMkLst>
        </pc:spChg>
        <pc:spChg chg="mod ord">
          <ac:chgData name="Alex Jordan" userId="30755697-3be4-4efa-ad5c-ca2e4102b45a" providerId="ADAL" clId="{FC76EA98-9B1A-4F2F-9A6E-876FE3C87E8A}" dt="2025-06-25T08:46:34.204" v="103270"/>
          <ac:spMkLst>
            <pc:docMk/>
            <pc:sldMk cId="3951740796" sldId="380"/>
            <ac:spMk id="54" creationId="{AE756E3C-F9A7-D8A6-289D-E4BB764C0914}"/>
          </ac:spMkLst>
        </pc:spChg>
        <pc:spChg chg="mod">
          <ac:chgData name="Alex Jordan" userId="30755697-3be4-4efa-ad5c-ca2e4102b45a" providerId="ADAL" clId="{FC76EA98-9B1A-4F2F-9A6E-876FE3C87E8A}" dt="2025-06-25T08:46:30.142" v="99907" actId="947"/>
          <ac:spMkLst>
            <pc:docMk/>
            <pc:sldMk cId="3951740796" sldId="380"/>
            <ac:spMk id="56" creationId="{F46213E3-10B7-D543-E903-F10F25593690}"/>
          </ac:spMkLst>
        </pc:spChg>
        <pc:spChg chg="mod">
          <ac:chgData name="Alex Jordan" userId="30755697-3be4-4efa-ad5c-ca2e4102b45a" providerId="ADAL" clId="{FC76EA98-9B1A-4F2F-9A6E-876FE3C87E8A}" dt="2025-06-25T08:46:32.056" v="101958" actId="790"/>
          <ac:spMkLst>
            <pc:docMk/>
            <pc:sldMk cId="3951740796" sldId="380"/>
            <ac:spMk id="57" creationId="{A65BD907-A612-46B0-6E22-E4C42052D7F1}"/>
          </ac:spMkLst>
        </pc:spChg>
        <pc:spChg chg="mod">
          <ac:chgData name="Alex Jordan" userId="30755697-3be4-4efa-ad5c-ca2e4102b45a" providerId="ADAL" clId="{FC76EA98-9B1A-4F2F-9A6E-876FE3C87E8A}" dt="2025-06-25T08:46:32.056" v="101958" actId="790"/>
          <ac:spMkLst>
            <pc:docMk/>
            <pc:sldMk cId="3951740796" sldId="380"/>
            <ac:spMk id="60" creationId="{0CC3069B-9B73-2AAC-6F52-1D6C232B2902}"/>
          </ac:spMkLst>
        </pc:spChg>
        <pc:spChg chg="add mod ord">
          <ac:chgData name="Alex Jordan" userId="30755697-3be4-4efa-ad5c-ca2e4102b45a" providerId="ADAL" clId="{FC76EA98-9B1A-4F2F-9A6E-876FE3C87E8A}" dt="2025-06-25T08:46:34.208" v="103304"/>
          <ac:spMkLst>
            <pc:docMk/>
            <pc:sldMk cId="3951740796" sldId="380"/>
            <ac:spMk id="2091" creationId="{A428E5B4-EE2E-E342-40A9-0BF7938D507F}"/>
          </ac:spMkLst>
        </pc:spChg>
        <pc:spChg chg="add mod ord">
          <ac:chgData name="Alex Jordan" userId="30755697-3be4-4efa-ad5c-ca2e4102b45a" providerId="ADAL" clId="{FC76EA98-9B1A-4F2F-9A6E-876FE3C87E8A}" dt="2025-06-25T08:46:34.208" v="103306"/>
          <ac:spMkLst>
            <pc:docMk/>
            <pc:sldMk cId="3951740796" sldId="380"/>
            <ac:spMk id="2092" creationId="{301696A4-9528-2221-F844-45930B5E29AE}"/>
          </ac:spMkLst>
        </pc:spChg>
        <pc:spChg chg="mod ord">
          <ac:chgData name="Alex Jordan" userId="30755697-3be4-4efa-ad5c-ca2e4102b45a" providerId="ADAL" clId="{FC76EA98-9B1A-4F2F-9A6E-876FE3C87E8A}" dt="2025-06-25T08:46:34.204" v="103272"/>
          <ac:spMkLst>
            <pc:docMk/>
            <pc:sldMk cId="3951740796" sldId="380"/>
            <ac:spMk id="6149" creationId="{AE78FDE9-4BB1-61E8-1CD3-F98FCD264595}"/>
          </ac:spMkLst>
        </pc:spChg>
        <pc:spChg chg="mod ord">
          <ac:chgData name="Alex Jordan" userId="30755697-3be4-4efa-ad5c-ca2e4102b45a" providerId="ADAL" clId="{FC76EA98-9B1A-4F2F-9A6E-876FE3C87E8A}" dt="2025-06-25T08:46:34.204" v="103274"/>
          <ac:spMkLst>
            <pc:docMk/>
            <pc:sldMk cId="3951740796" sldId="380"/>
            <ac:spMk id="6151" creationId="{266739D9-70DC-D46B-E3D7-D2453D5D051F}"/>
          </ac:spMkLst>
        </pc:spChg>
        <pc:spChg chg="mod ord">
          <ac:chgData name="Alex Jordan" userId="30755697-3be4-4efa-ad5c-ca2e4102b45a" providerId="ADAL" clId="{FC76EA98-9B1A-4F2F-9A6E-876FE3C87E8A}" dt="2025-06-25T08:46:34.204" v="103276"/>
          <ac:spMkLst>
            <pc:docMk/>
            <pc:sldMk cId="3951740796" sldId="380"/>
            <ac:spMk id="6152" creationId="{FA548FAF-D46B-AE3C-FAC8-6FAEBEBC25B1}"/>
          </ac:spMkLst>
        </pc:spChg>
        <pc:spChg chg="mod ord">
          <ac:chgData name="Alex Jordan" userId="30755697-3be4-4efa-ad5c-ca2e4102b45a" providerId="ADAL" clId="{FC76EA98-9B1A-4F2F-9A6E-876FE3C87E8A}" dt="2025-06-25T08:46:34.206" v="103278"/>
          <ac:spMkLst>
            <pc:docMk/>
            <pc:sldMk cId="3951740796" sldId="380"/>
            <ac:spMk id="6153" creationId="{E3E37AC2-56BE-7B7A-34C5-CDB486359806}"/>
          </ac:spMkLst>
        </pc:spChg>
        <pc:spChg chg="mod ord">
          <ac:chgData name="Alex Jordan" userId="30755697-3be4-4efa-ad5c-ca2e4102b45a" providerId="ADAL" clId="{FC76EA98-9B1A-4F2F-9A6E-876FE3C87E8A}" dt="2025-06-25T08:46:34.206" v="103280"/>
          <ac:spMkLst>
            <pc:docMk/>
            <pc:sldMk cId="3951740796" sldId="380"/>
            <ac:spMk id="6154" creationId="{41971439-5CF9-650F-45C9-CC49DAF7C548}"/>
          </ac:spMkLst>
        </pc:spChg>
        <pc:spChg chg="mod ord">
          <ac:chgData name="Alex Jordan" userId="30755697-3be4-4efa-ad5c-ca2e4102b45a" providerId="ADAL" clId="{FC76EA98-9B1A-4F2F-9A6E-876FE3C87E8A}" dt="2025-06-25T08:46:34.206" v="103282"/>
          <ac:spMkLst>
            <pc:docMk/>
            <pc:sldMk cId="3951740796" sldId="380"/>
            <ac:spMk id="6155" creationId="{97FB4382-10A4-35C0-BFA3-F79F6F207E2C}"/>
          </ac:spMkLst>
        </pc:spChg>
        <pc:spChg chg="mod ord">
          <ac:chgData name="Alex Jordan" userId="30755697-3be4-4efa-ad5c-ca2e4102b45a" providerId="ADAL" clId="{FC76EA98-9B1A-4F2F-9A6E-876FE3C87E8A}" dt="2025-06-25T08:46:34.208" v="103284"/>
          <ac:spMkLst>
            <pc:docMk/>
            <pc:sldMk cId="3951740796" sldId="380"/>
            <ac:spMk id="6156" creationId="{5E0A94DB-137A-5ED8-F0A6-B512839A99D5}"/>
          </ac:spMkLst>
        </pc:spChg>
        <pc:spChg chg="mod ord">
          <ac:chgData name="Alex Jordan" userId="30755697-3be4-4efa-ad5c-ca2e4102b45a" providerId="ADAL" clId="{FC76EA98-9B1A-4F2F-9A6E-876FE3C87E8A}" dt="2025-06-25T08:46:34.208" v="103286"/>
          <ac:spMkLst>
            <pc:docMk/>
            <pc:sldMk cId="3951740796" sldId="380"/>
            <ac:spMk id="6157" creationId="{2953F41C-9E26-3736-9DCD-644F1EE01C7C}"/>
          </ac:spMkLst>
        </pc:spChg>
        <pc:spChg chg="mod ord">
          <ac:chgData name="Alex Jordan" userId="30755697-3be4-4efa-ad5c-ca2e4102b45a" providerId="ADAL" clId="{FC76EA98-9B1A-4F2F-9A6E-876FE3C87E8A}" dt="2025-06-25T08:46:34.208" v="103295"/>
          <ac:spMkLst>
            <pc:docMk/>
            <pc:sldMk cId="3951740796" sldId="380"/>
            <ac:spMk id="6177" creationId="{3A2516EF-60AB-D120-195C-C30E8F256AE1}"/>
          </ac:spMkLst>
        </pc:spChg>
        <pc:spChg chg="mod ord">
          <ac:chgData name="Alex Jordan" userId="30755697-3be4-4efa-ad5c-ca2e4102b45a" providerId="ADAL" clId="{FC76EA98-9B1A-4F2F-9A6E-876FE3C87E8A}" dt="2025-06-25T08:46:34.208" v="103297"/>
          <ac:spMkLst>
            <pc:docMk/>
            <pc:sldMk cId="3951740796" sldId="380"/>
            <ac:spMk id="6179" creationId="{83E7F543-2E2B-1326-9876-E653F9459869}"/>
          </ac:spMkLst>
        </pc:spChg>
        <pc:spChg chg="mod ord">
          <ac:chgData name="Alex Jordan" userId="30755697-3be4-4efa-ad5c-ca2e4102b45a" providerId="ADAL" clId="{FC76EA98-9B1A-4F2F-9A6E-876FE3C87E8A}" dt="2025-06-25T08:46:34.208" v="103298"/>
          <ac:spMkLst>
            <pc:docMk/>
            <pc:sldMk cId="3951740796" sldId="380"/>
            <ac:spMk id="6181" creationId="{2A653E88-60F0-DE26-A6FB-9EC3F118CAA3}"/>
          </ac:spMkLst>
        </pc:spChg>
        <pc:grpChg chg="mod ord">
          <ac:chgData name="Alex Jordan" userId="30755697-3be4-4efa-ad5c-ca2e4102b45a" providerId="ADAL" clId="{FC76EA98-9B1A-4F2F-9A6E-876FE3C87E8A}" dt="2025-06-25T08:46:34.202" v="103266"/>
          <ac:grpSpMkLst>
            <pc:docMk/>
            <pc:sldMk cId="3951740796" sldId="380"/>
            <ac:grpSpMk id="55" creationId="{6384EF84-B5F3-2F4C-4F8B-6C06A6141EFA}"/>
          </ac:grpSpMkLst>
        </pc:grpChg>
        <pc:graphicFrameChg chg="mod">
          <ac:chgData name="Alex Jordan" userId="30755697-3be4-4efa-ad5c-ca2e4102b45a" providerId="ADAL" clId="{FC76EA98-9B1A-4F2F-9A6E-876FE3C87E8A}" dt="2025-06-25T08:46:34.847" v="103892"/>
          <ac:graphicFrameMkLst>
            <pc:docMk/>
            <pc:sldMk cId="3951740796" sldId="380"/>
            <ac:graphicFrameMk id="7" creationId="{D4BA95E2-2B59-B25D-8375-6D0730B7DA75}"/>
          </ac:graphicFrameMkLst>
        </pc:graphicFrameChg>
        <pc:graphicFrameChg chg="add mod ord">
          <ac:chgData name="Alex Jordan" userId="30755697-3be4-4efa-ad5c-ca2e4102b45a" providerId="ADAL" clId="{FC76EA98-9B1A-4F2F-9A6E-876FE3C87E8A}" dt="2025-06-25T08:46:34.208" v="103288"/>
          <ac:graphicFrameMkLst>
            <pc:docMk/>
            <pc:sldMk cId="3951740796" sldId="380"/>
            <ac:graphicFrameMk id="14" creationId="{9EC1472F-FC90-F291-4316-675AC1D61CB5}"/>
          </ac:graphicFrameMkLst>
        </pc:graphicFrameChg>
        <pc:graphicFrameChg chg="mod ord">
          <ac:chgData name="Alex Jordan" userId="30755697-3be4-4efa-ad5c-ca2e4102b45a" providerId="ADAL" clId="{FC76EA98-9B1A-4F2F-9A6E-876FE3C87E8A}" dt="2025-06-25T08:46:34.202" v="103268"/>
          <ac:graphicFrameMkLst>
            <pc:docMk/>
            <pc:sldMk cId="3951740796" sldId="380"/>
            <ac:graphicFrameMk id="53" creationId="{E0BCD7D2-F70B-93AA-E2C1-5B3445D7CB34}"/>
          </ac:graphicFrameMkLst>
        </pc:graphicFrameChg>
        <pc:picChg chg="add mod ord modCrop">
          <ac:chgData name="Alex Jordan" userId="30755697-3be4-4efa-ad5c-ca2e4102b45a" providerId="ADAL" clId="{FC76EA98-9B1A-4F2F-9A6E-876FE3C87E8A}" dt="2025-06-25T08:46:34.208" v="103302"/>
          <ac:picMkLst>
            <pc:docMk/>
            <pc:sldMk cId="3951740796" sldId="380"/>
            <ac:picMk id="10" creationId="{C65AA52D-57E7-474F-F97E-A79962938351}"/>
          </ac:picMkLst>
        </pc:picChg>
        <pc:picChg chg="add mod">
          <ac:chgData name="Alex Jordan" userId="30755697-3be4-4efa-ad5c-ca2e4102b45a" providerId="ADAL" clId="{FC76EA98-9B1A-4F2F-9A6E-876FE3C87E8A}" dt="2025-06-25T08:46:34.208" v="103307"/>
          <ac:picMkLst>
            <pc:docMk/>
            <pc:sldMk cId="3951740796" sldId="380"/>
            <ac:picMk id="3076" creationId="{862214B9-B2C0-5119-9E73-9D3F9179F469}"/>
          </ac:picMkLst>
        </pc:picChg>
        <pc:picChg chg="add mod">
          <ac:chgData name="Alex Jordan" userId="30755697-3be4-4efa-ad5c-ca2e4102b45a" providerId="ADAL" clId="{FC76EA98-9B1A-4F2F-9A6E-876FE3C87E8A}" dt="2025-06-25T08:46:34.219" v="103308"/>
          <ac:picMkLst>
            <pc:docMk/>
            <pc:sldMk cId="3951740796" sldId="380"/>
            <ac:picMk id="3078" creationId="{15ABD733-FB63-CB88-0F93-C96B0F84607D}"/>
          </ac:picMkLst>
        </pc:picChg>
        <pc:picChg chg="add mod">
          <ac:chgData name="Alex Jordan" userId="30755697-3be4-4efa-ad5c-ca2e4102b45a" providerId="ADAL" clId="{FC76EA98-9B1A-4F2F-9A6E-876FE3C87E8A}" dt="2025-06-25T08:46:34.219" v="103309"/>
          <ac:picMkLst>
            <pc:docMk/>
            <pc:sldMk cId="3951740796" sldId="380"/>
            <ac:picMk id="3080" creationId="{03381D33-458C-99DA-0AD9-2C279463D254}"/>
          </ac:picMkLst>
        </pc:picChg>
        <pc:cxnChg chg="mod ord">
          <ac:chgData name="Alex Jordan" userId="30755697-3be4-4efa-ad5c-ca2e4102b45a" providerId="ADAL" clId="{FC76EA98-9B1A-4F2F-9A6E-876FE3C87E8A}" dt="2025-06-25T08:46:34.208" v="103290"/>
          <ac:cxnSpMkLst>
            <pc:docMk/>
            <pc:sldMk cId="3951740796" sldId="380"/>
            <ac:cxnSpMk id="6173" creationId="{4D8C1727-DC69-C7BC-33A9-61B6CFF493FF}"/>
          </ac:cxnSpMkLst>
        </pc:cxnChg>
        <pc:cxnChg chg="mod ord">
          <ac:chgData name="Alex Jordan" userId="30755697-3be4-4efa-ad5c-ca2e4102b45a" providerId="ADAL" clId="{FC76EA98-9B1A-4F2F-9A6E-876FE3C87E8A}" dt="2025-06-25T08:46:34.208" v="103292"/>
          <ac:cxnSpMkLst>
            <pc:docMk/>
            <pc:sldMk cId="3951740796" sldId="380"/>
            <ac:cxnSpMk id="6175" creationId="{3095F6B5-1868-C9BB-5FEB-B50E4B36DAF8}"/>
          </ac:cxnSpMkLst>
        </pc:cxnChg>
        <pc:cxnChg chg="mod ord">
          <ac:chgData name="Alex Jordan" userId="30755697-3be4-4efa-ad5c-ca2e4102b45a" providerId="ADAL" clId="{FC76EA98-9B1A-4F2F-9A6E-876FE3C87E8A}" dt="2025-06-25T08:46:34.208" v="103294"/>
          <ac:cxnSpMkLst>
            <pc:docMk/>
            <pc:sldMk cId="3951740796" sldId="380"/>
            <ac:cxnSpMk id="6176" creationId="{7D35D4F2-2CD2-079E-D4EB-21ECA6EFD6B2}"/>
          </ac:cxnSpMkLst>
        </pc:cxnChg>
        <pc:cxnChg chg="mod ord">
          <ac:chgData name="Alex Jordan" userId="30755697-3be4-4efa-ad5c-ca2e4102b45a" providerId="ADAL" clId="{FC76EA98-9B1A-4F2F-9A6E-876FE3C87E8A}" dt="2025-06-25T08:46:34.208" v="103300"/>
          <ac:cxnSpMkLst>
            <pc:docMk/>
            <pc:sldMk cId="3951740796" sldId="380"/>
            <ac:cxnSpMk id="6243" creationId="{723B3D9E-5D7B-EDF8-4C43-6F9E7C1A5FEF}"/>
          </ac:cxnSpMkLst>
        </pc:cxnChg>
      </pc:sldChg>
      <pc:sldChg chg="addSp delSp modSp add mod modNotes">
        <pc:chgData name="Alex Jordan" userId="30755697-3be4-4efa-ad5c-ca2e4102b45a" providerId="ADAL" clId="{FC76EA98-9B1A-4F2F-9A6E-876FE3C87E8A}" dt="2025-06-27T11:05:27.611" v="104783"/>
        <pc:sldMkLst>
          <pc:docMk/>
          <pc:sldMk cId="1385526101" sldId="381"/>
        </pc:sldMkLst>
        <pc:spChg chg="mod ord">
          <ac:chgData name="Alex Jordan" userId="30755697-3be4-4efa-ad5c-ca2e4102b45a" providerId="ADAL" clId="{FC76EA98-9B1A-4F2F-9A6E-876FE3C87E8A}" dt="2025-06-25T08:46:35.512" v="104468"/>
          <ac:spMkLst>
            <pc:docMk/>
            <pc:sldMk cId="1385526101" sldId="381"/>
            <ac:spMk id="2" creationId="{54E1A047-E585-35B6-DF27-0F163E326B4A}"/>
          </ac:spMkLst>
        </pc:spChg>
        <pc:spChg chg="del mod ord">
          <ac:chgData name="Alex Jordan" userId="30755697-3be4-4efa-ad5c-ca2e4102b45a" providerId="ADAL" clId="{FC76EA98-9B1A-4F2F-9A6E-876FE3C87E8A}" dt="2025-06-27T11:04:59.611" v="104757" actId="478"/>
          <ac:spMkLst>
            <pc:docMk/>
            <pc:sldMk cId="1385526101" sldId="381"/>
            <ac:spMk id="4" creationId="{458E578A-8A14-CF8F-5955-B6A8E983A334}"/>
          </ac:spMkLst>
        </pc:spChg>
        <pc:spChg chg="del mod ord">
          <ac:chgData name="Alex Jordan" userId="30755697-3be4-4efa-ad5c-ca2e4102b45a" providerId="ADAL" clId="{FC76EA98-9B1A-4F2F-9A6E-876FE3C87E8A}" dt="2025-06-27T11:04:59.611" v="104757" actId="478"/>
          <ac:spMkLst>
            <pc:docMk/>
            <pc:sldMk cId="1385526101" sldId="381"/>
            <ac:spMk id="5" creationId="{7ACE4FF3-F347-17E9-8980-FCD68BEDD108}"/>
          </ac:spMkLst>
        </pc:spChg>
        <pc:spChg chg="del mod ord">
          <ac:chgData name="Alex Jordan" userId="30755697-3be4-4efa-ad5c-ca2e4102b45a" providerId="ADAL" clId="{FC76EA98-9B1A-4F2F-9A6E-876FE3C87E8A}" dt="2025-06-27T11:04:59.611" v="104757" actId="478"/>
          <ac:spMkLst>
            <pc:docMk/>
            <pc:sldMk cId="1385526101" sldId="381"/>
            <ac:spMk id="6" creationId="{B2B8B37B-9C99-4A71-F244-5A4A130BFF7B}"/>
          </ac:spMkLst>
        </pc:spChg>
        <pc:spChg chg="del mod ord">
          <ac:chgData name="Alex Jordan" userId="30755697-3be4-4efa-ad5c-ca2e4102b45a" providerId="ADAL" clId="{FC76EA98-9B1A-4F2F-9A6E-876FE3C87E8A}" dt="2025-06-27T11:04:59.611" v="104757" actId="478"/>
          <ac:spMkLst>
            <pc:docMk/>
            <pc:sldMk cId="1385526101" sldId="381"/>
            <ac:spMk id="8" creationId="{4A96017D-5A35-6197-9CF2-CDE9D2E12AC5}"/>
          </ac:spMkLst>
        </pc:spChg>
        <pc:spChg chg="del mod ord">
          <ac:chgData name="Alex Jordan" userId="30755697-3be4-4efa-ad5c-ca2e4102b45a" providerId="ADAL" clId="{FC76EA98-9B1A-4F2F-9A6E-876FE3C87E8A}" dt="2025-06-27T11:04:59.611" v="104757" actId="478"/>
          <ac:spMkLst>
            <pc:docMk/>
            <pc:sldMk cId="1385526101" sldId="381"/>
            <ac:spMk id="9" creationId="{4750E9EE-D130-F82E-B35F-3D384769FC7C}"/>
          </ac:spMkLst>
        </pc:spChg>
        <pc:spChg chg="mod">
          <ac:chgData name="Alex Jordan" userId="30755697-3be4-4efa-ad5c-ca2e4102b45a" providerId="ADAL" clId="{FC76EA98-9B1A-4F2F-9A6E-876FE3C87E8A}" dt="2025-06-25T08:46:32.056" v="101958" actId="790"/>
          <ac:spMkLst>
            <pc:docMk/>
            <pc:sldMk cId="1385526101" sldId="381"/>
            <ac:spMk id="10" creationId="{5AFFA575-4B07-BEC1-E47E-6ACF4971B4CB}"/>
          </ac:spMkLst>
        </pc:spChg>
        <pc:spChg chg="mod">
          <ac:chgData name="Alex Jordan" userId="30755697-3be4-4efa-ad5c-ca2e4102b45a" providerId="ADAL" clId="{FC76EA98-9B1A-4F2F-9A6E-876FE3C87E8A}" dt="2025-06-25T08:46:30.535" v="100405" actId="947"/>
          <ac:spMkLst>
            <pc:docMk/>
            <pc:sldMk cId="1385526101" sldId="381"/>
            <ac:spMk id="11" creationId="{52BB1AD8-279E-8E47-8DBC-329FB0EC6283}"/>
          </ac:spMkLst>
        </pc:spChg>
        <pc:spChg chg="mod">
          <ac:chgData name="Alex Jordan" userId="30755697-3be4-4efa-ad5c-ca2e4102b45a" providerId="ADAL" clId="{FC76EA98-9B1A-4F2F-9A6E-876FE3C87E8A}" dt="2025-06-25T08:46:30.529" v="100403" actId="947"/>
          <ac:spMkLst>
            <pc:docMk/>
            <pc:sldMk cId="1385526101" sldId="381"/>
            <ac:spMk id="14" creationId="{BA8D352F-AE09-EF06-DB59-EEC6FF7BED7A}"/>
          </ac:spMkLst>
        </pc:spChg>
        <pc:spChg chg="add mod ord">
          <ac:chgData name="Alex Jordan" userId="30755697-3be4-4efa-ad5c-ca2e4102b45a" providerId="ADAL" clId="{FC76EA98-9B1A-4F2F-9A6E-876FE3C87E8A}" dt="2025-06-25T08:46:35.520" v="104484"/>
          <ac:spMkLst>
            <pc:docMk/>
            <pc:sldMk cId="1385526101" sldId="381"/>
            <ac:spMk id="25" creationId="{78B45E6B-AFCB-DDBF-B966-EA2FE57F7B9C}"/>
          </ac:spMkLst>
        </pc:spChg>
        <pc:spChg chg="add mod ord">
          <ac:chgData name="Alex Jordan" userId="30755697-3be4-4efa-ad5c-ca2e4102b45a" providerId="ADAL" clId="{FC76EA98-9B1A-4F2F-9A6E-876FE3C87E8A}" dt="2025-06-25T08:46:35.520" v="104486"/>
          <ac:spMkLst>
            <pc:docMk/>
            <pc:sldMk cId="1385526101" sldId="381"/>
            <ac:spMk id="26" creationId="{83435B65-0078-4DE8-C962-25F1097F4B5C}"/>
          </ac:spMkLst>
        </pc:spChg>
        <pc:spChg chg="mod ord">
          <ac:chgData name="Alex Jordan" userId="30755697-3be4-4efa-ad5c-ca2e4102b45a" providerId="ADAL" clId="{FC76EA98-9B1A-4F2F-9A6E-876FE3C87E8A}" dt="2025-06-25T08:46:35.520" v="104488"/>
          <ac:spMkLst>
            <pc:docMk/>
            <pc:sldMk cId="1385526101" sldId="381"/>
            <ac:spMk id="27" creationId="{628FCECA-EC1B-59AC-2A55-E699CCCD6FAE}"/>
          </ac:spMkLst>
        </pc:spChg>
        <pc:spChg chg="mod ord">
          <ac:chgData name="Alex Jordan" userId="30755697-3be4-4efa-ad5c-ca2e4102b45a" providerId="ADAL" clId="{FC76EA98-9B1A-4F2F-9A6E-876FE3C87E8A}" dt="2025-06-25T08:46:35.520" v="104490"/>
          <ac:spMkLst>
            <pc:docMk/>
            <pc:sldMk cId="1385526101" sldId="381"/>
            <ac:spMk id="28" creationId="{DFFDC6CB-24D2-036D-989C-B9EC7981DE6B}"/>
          </ac:spMkLst>
        </pc:spChg>
        <pc:spChg chg="add mod ord">
          <ac:chgData name="Alex Jordan" userId="30755697-3be4-4efa-ad5c-ca2e4102b45a" providerId="ADAL" clId="{FC76EA98-9B1A-4F2F-9A6E-876FE3C87E8A}" dt="2025-06-25T08:46:35.520" v="104492"/>
          <ac:spMkLst>
            <pc:docMk/>
            <pc:sldMk cId="1385526101" sldId="381"/>
            <ac:spMk id="29" creationId="{7D49E2F1-2534-87C9-3EED-C7F99D85C458}"/>
          </ac:spMkLst>
        </pc:spChg>
        <pc:spChg chg="add mod">
          <ac:chgData name="Alex Jordan" userId="30755697-3be4-4efa-ad5c-ca2e4102b45a" providerId="ADAL" clId="{FC76EA98-9B1A-4F2F-9A6E-876FE3C87E8A}" dt="2025-06-27T11:05:13.170" v="104771"/>
          <ac:spMkLst>
            <pc:docMk/>
            <pc:sldMk cId="1385526101" sldId="381"/>
            <ac:spMk id="30" creationId="{DA4E97F8-BB80-4F8F-5420-5604DF6B9B9A}"/>
          </ac:spMkLst>
        </pc:spChg>
        <pc:spChg chg="add mod ord">
          <ac:chgData name="Alex Jordan" userId="30755697-3be4-4efa-ad5c-ca2e4102b45a" providerId="ADAL" clId="{FC76EA98-9B1A-4F2F-9A6E-876FE3C87E8A}" dt="2025-06-25T08:46:35.520" v="104494"/>
          <ac:spMkLst>
            <pc:docMk/>
            <pc:sldMk cId="1385526101" sldId="381"/>
            <ac:spMk id="31" creationId="{22C64ACE-9770-E0CA-A8F3-7C30F628BB75}"/>
          </ac:spMkLst>
        </pc:spChg>
        <pc:spChg chg="mod ord">
          <ac:chgData name="Alex Jordan" userId="30755697-3be4-4efa-ad5c-ca2e4102b45a" providerId="ADAL" clId="{FC76EA98-9B1A-4F2F-9A6E-876FE3C87E8A}" dt="2025-06-25T08:46:35.520" v="104496"/>
          <ac:spMkLst>
            <pc:docMk/>
            <pc:sldMk cId="1385526101" sldId="381"/>
            <ac:spMk id="32" creationId="{F8A1D358-13B3-8C8A-1479-0DD9E1751B42}"/>
          </ac:spMkLst>
        </pc:spChg>
        <pc:spChg chg="add mod">
          <ac:chgData name="Alex Jordan" userId="30755697-3be4-4efa-ad5c-ca2e4102b45a" providerId="ADAL" clId="{FC76EA98-9B1A-4F2F-9A6E-876FE3C87E8A}" dt="2025-06-27T11:05:13.170" v="104771"/>
          <ac:spMkLst>
            <pc:docMk/>
            <pc:sldMk cId="1385526101" sldId="381"/>
            <ac:spMk id="33" creationId="{596E83AA-8F11-0B4F-201B-BE0D5843C2CC}"/>
          </ac:spMkLst>
        </pc:spChg>
        <pc:spChg chg="add mod">
          <ac:chgData name="Alex Jordan" userId="30755697-3be4-4efa-ad5c-ca2e4102b45a" providerId="ADAL" clId="{FC76EA98-9B1A-4F2F-9A6E-876FE3C87E8A}" dt="2025-06-27T11:05:13.170" v="104771"/>
          <ac:spMkLst>
            <pc:docMk/>
            <pc:sldMk cId="1385526101" sldId="381"/>
            <ac:spMk id="35" creationId="{44C8AF77-BEB4-88AA-743B-4534EEE5F95B}"/>
          </ac:spMkLst>
        </pc:spChg>
        <pc:spChg chg="add mod">
          <ac:chgData name="Alex Jordan" userId="30755697-3be4-4efa-ad5c-ca2e4102b45a" providerId="ADAL" clId="{FC76EA98-9B1A-4F2F-9A6E-876FE3C87E8A}" dt="2025-06-27T11:05:27.611" v="104783"/>
          <ac:spMkLst>
            <pc:docMk/>
            <pc:sldMk cId="1385526101" sldId="381"/>
            <ac:spMk id="36" creationId="{80FC7613-7843-D266-11EA-64087134BE97}"/>
          </ac:spMkLst>
        </pc:spChg>
        <pc:spChg chg="add mod ord">
          <ac:chgData name="Alex Jordan" userId="30755697-3be4-4efa-ad5c-ca2e4102b45a" providerId="ADAL" clId="{FC76EA98-9B1A-4F2F-9A6E-876FE3C87E8A}" dt="2025-06-25T08:46:35.528" v="104505"/>
          <ac:spMkLst>
            <pc:docMk/>
            <pc:sldMk cId="1385526101" sldId="381"/>
            <ac:spMk id="37" creationId="{DCFF78B7-4C52-CC82-F2BB-EB7D4F599538}"/>
          </ac:spMkLst>
        </pc:spChg>
        <pc:spChg chg="mod ord">
          <ac:chgData name="Alex Jordan" userId="30755697-3be4-4efa-ad5c-ca2e4102b45a" providerId="ADAL" clId="{FC76EA98-9B1A-4F2F-9A6E-876FE3C87E8A}" dt="2025-06-25T08:46:35.520" v="104480"/>
          <ac:spMkLst>
            <pc:docMk/>
            <pc:sldMk cId="1385526101" sldId="381"/>
            <ac:spMk id="38" creationId="{8F0BA91F-2738-15DD-7319-0E1AD3F9661F}"/>
          </ac:spMkLst>
        </pc:spChg>
        <pc:spChg chg="add mod ord">
          <ac:chgData name="Alex Jordan" userId="30755697-3be4-4efa-ad5c-ca2e4102b45a" providerId="ADAL" clId="{FC76EA98-9B1A-4F2F-9A6E-876FE3C87E8A}" dt="2025-06-25T08:46:35.528" v="104506"/>
          <ac:spMkLst>
            <pc:docMk/>
            <pc:sldMk cId="1385526101" sldId="381"/>
            <ac:spMk id="39" creationId="{3B557A58-F24F-3FDB-1E49-F5947681B6AC}"/>
          </ac:spMkLst>
        </pc:spChg>
        <pc:spChg chg="add mod ord">
          <ac:chgData name="Alex Jordan" userId="30755697-3be4-4efa-ad5c-ca2e4102b45a" providerId="ADAL" clId="{FC76EA98-9B1A-4F2F-9A6E-876FE3C87E8A}" dt="2025-06-25T08:46:35.528" v="104507"/>
          <ac:spMkLst>
            <pc:docMk/>
            <pc:sldMk cId="1385526101" sldId="381"/>
            <ac:spMk id="40" creationId="{57BF84B0-3578-A8E3-00F3-FF5022EEF858}"/>
          </ac:spMkLst>
        </pc:spChg>
        <pc:spChg chg="add mod ord">
          <ac:chgData name="Alex Jordan" userId="30755697-3be4-4efa-ad5c-ca2e4102b45a" providerId="ADAL" clId="{FC76EA98-9B1A-4F2F-9A6E-876FE3C87E8A}" dt="2025-06-25T08:46:35.530" v="104508"/>
          <ac:spMkLst>
            <pc:docMk/>
            <pc:sldMk cId="1385526101" sldId="381"/>
            <ac:spMk id="41" creationId="{DFA1C4BA-4EEE-5C2B-E386-CED3687B2486}"/>
          </ac:spMkLst>
        </pc:spChg>
        <pc:spChg chg="add mod">
          <ac:chgData name="Alex Jordan" userId="30755697-3be4-4efa-ad5c-ca2e4102b45a" providerId="ADAL" clId="{FC76EA98-9B1A-4F2F-9A6E-876FE3C87E8A}" dt="2025-06-27T11:05:27.611" v="104783"/>
          <ac:spMkLst>
            <pc:docMk/>
            <pc:sldMk cId="1385526101" sldId="381"/>
            <ac:spMk id="42" creationId="{2310C9E2-1D90-C3E3-8BBF-BE70142FFBFE}"/>
          </ac:spMkLst>
        </pc:spChg>
        <pc:spChg chg="add mod">
          <ac:chgData name="Alex Jordan" userId="30755697-3be4-4efa-ad5c-ca2e4102b45a" providerId="ADAL" clId="{FC76EA98-9B1A-4F2F-9A6E-876FE3C87E8A}" dt="2025-06-27T11:05:27.611" v="104783"/>
          <ac:spMkLst>
            <pc:docMk/>
            <pc:sldMk cId="1385526101" sldId="381"/>
            <ac:spMk id="43" creationId="{400CE80F-BCD2-FB26-11E7-D4A83BBCA62D}"/>
          </ac:spMkLst>
        </pc:spChg>
        <pc:spChg chg="add mod">
          <ac:chgData name="Alex Jordan" userId="30755697-3be4-4efa-ad5c-ca2e4102b45a" providerId="ADAL" clId="{FC76EA98-9B1A-4F2F-9A6E-876FE3C87E8A}" dt="2025-06-27T11:05:27.611" v="104783"/>
          <ac:spMkLst>
            <pc:docMk/>
            <pc:sldMk cId="1385526101" sldId="381"/>
            <ac:spMk id="45" creationId="{2C42040D-77DB-DF9E-E7F1-ABE48E0EB24D}"/>
          </ac:spMkLst>
        </pc:spChg>
        <pc:spChg chg="add mod ord">
          <ac:chgData name="Alex Jordan" userId="30755697-3be4-4efa-ad5c-ca2e4102b45a" providerId="ADAL" clId="{FC76EA98-9B1A-4F2F-9A6E-876FE3C87E8A}" dt="2025-06-25T08:46:35.530" v="104514"/>
          <ac:spMkLst>
            <pc:docMk/>
            <pc:sldMk cId="1385526101" sldId="381"/>
            <ac:spMk id="51" creationId="{E477CA0A-45B3-F491-B2EC-EEA556D9C67C}"/>
          </ac:spMkLst>
        </pc:spChg>
        <pc:spChg chg="add mod ord">
          <ac:chgData name="Alex Jordan" userId="30755697-3be4-4efa-ad5c-ca2e4102b45a" providerId="ADAL" clId="{FC76EA98-9B1A-4F2F-9A6E-876FE3C87E8A}" dt="2025-06-25T08:46:35.530" v="104517"/>
          <ac:spMkLst>
            <pc:docMk/>
            <pc:sldMk cId="1385526101" sldId="381"/>
            <ac:spMk id="2049" creationId="{4A9CA102-3FF2-B1EF-D426-D6C74FBDD3F7}"/>
          </ac:spMkLst>
        </pc:spChg>
        <pc:spChg chg="add mod ord">
          <ac:chgData name="Alex Jordan" userId="30755697-3be4-4efa-ad5c-ca2e4102b45a" providerId="ADAL" clId="{FC76EA98-9B1A-4F2F-9A6E-876FE3C87E8A}" dt="2025-06-25T08:46:35.530" v="104519"/>
          <ac:spMkLst>
            <pc:docMk/>
            <pc:sldMk cId="1385526101" sldId="381"/>
            <ac:spMk id="2051" creationId="{87716BF6-3920-3E64-BCBB-078B913F7945}"/>
          </ac:spMkLst>
        </pc:spChg>
        <pc:spChg chg="add mod ord">
          <ac:chgData name="Alex Jordan" userId="30755697-3be4-4efa-ad5c-ca2e4102b45a" providerId="ADAL" clId="{FC76EA98-9B1A-4F2F-9A6E-876FE3C87E8A}" dt="2025-06-25T08:46:35.530" v="104521"/>
          <ac:spMkLst>
            <pc:docMk/>
            <pc:sldMk cId="1385526101" sldId="381"/>
            <ac:spMk id="2052" creationId="{1D41F83F-9388-6621-F809-E4ECC036073D}"/>
          </ac:spMkLst>
        </pc:spChg>
        <pc:spChg chg="add mod ord">
          <ac:chgData name="Alex Jordan" userId="30755697-3be4-4efa-ad5c-ca2e4102b45a" providerId="ADAL" clId="{FC76EA98-9B1A-4F2F-9A6E-876FE3C87E8A}" dt="2025-06-25T08:46:35.530" v="104523"/>
          <ac:spMkLst>
            <pc:docMk/>
            <pc:sldMk cId="1385526101" sldId="381"/>
            <ac:spMk id="2090" creationId="{E6BDB9CB-48F9-5DBB-5045-A2AB0ABBFA84}"/>
          </ac:spMkLst>
        </pc:spChg>
        <pc:spChg chg="add mod ord">
          <ac:chgData name="Alex Jordan" userId="30755697-3be4-4efa-ad5c-ca2e4102b45a" providerId="ADAL" clId="{FC76EA98-9B1A-4F2F-9A6E-876FE3C87E8A}" dt="2025-06-25T08:46:35.530" v="104510"/>
          <ac:spMkLst>
            <pc:docMk/>
            <pc:sldMk cId="1385526101" sldId="381"/>
            <ac:spMk id="2151" creationId="{BFF91C30-9B2D-DF01-6669-223DD036B91C}"/>
          </ac:spMkLst>
        </pc:spChg>
        <pc:spChg chg="add mod ord">
          <ac:chgData name="Alex Jordan" userId="30755697-3be4-4efa-ad5c-ca2e4102b45a" providerId="ADAL" clId="{FC76EA98-9B1A-4F2F-9A6E-876FE3C87E8A}" dt="2025-06-25T08:46:35.530" v="104509"/>
          <ac:spMkLst>
            <pc:docMk/>
            <pc:sldMk cId="1385526101" sldId="381"/>
            <ac:spMk id="2153" creationId="{3AB59637-5012-26B7-7485-6DA85E8D3405}"/>
          </ac:spMkLst>
        </pc:spChg>
        <pc:spChg chg="add mod ord">
          <ac:chgData name="Alex Jordan" userId="30755697-3be4-4efa-ad5c-ca2e4102b45a" providerId="ADAL" clId="{FC76EA98-9B1A-4F2F-9A6E-876FE3C87E8A}" dt="2025-06-25T08:46:35.530" v="104525"/>
          <ac:spMkLst>
            <pc:docMk/>
            <pc:sldMk cId="1385526101" sldId="381"/>
            <ac:spMk id="2200" creationId="{42B3FFE6-59E2-B678-EFF7-115E417D7106}"/>
          </ac:spMkLst>
        </pc:spChg>
        <pc:spChg chg="add mod ord">
          <ac:chgData name="Alex Jordan" userId="30755697-3be4-4efa-ad5c-ca2e4102b45a" providerId="ADAL" clId="{FC76EA98-9B1A-4F2F-9A6E-876FE3C87E8A}" dt="2025-06-25T08:46:35.530" v="104527"/>
          <ac:spMkLst>
            <pc:docMk/>
            <pc:sldMk cId="1385526101" sldId="381"/>
            <ac:spMk id="2207" creationId="{BAA3CBA7-F1FC-E367-742C-7F9A916CD0C9}"/>
          </ac:spMkLst>
        </pc:spChg>
        <pc:grpChg chg="mod ord">
          <ac:chgData name="Alex Jordan" userId="30755697-3be4-4efa-ad5c-ca2e4102b45a" providerId="ADAL" clId="{FC76EA98-9B1A-4F2F-9A6E-876FE3C87E8A}" dt="2025-06-25T08:46:35.512" v="104466"/>
          <ac:grpSpMkLst>
            <pc:docMk/>
            <pc:sldMk cId="1385526101" sldId="381"/>
            <ac:grpSpMk id="3" creationId="{757BE003-9E4D-FAEB-B73B-D9B8D276B3E0}"/>
          </ac:grpSpMkLst>
        </pc:grpChg>
        <pc:graphicFrameChg chg="mod">
          <ac:chgData name="Alex Jordan" userId="30755697-3be4-4efa-ad5c-ca2e4102b45a" providerId="ADAL" clId="{FC76EA98-9B1A-4F2F-9A6E-876FE3C87E8A}" dt="2025-06-25T08:46:35.530" v="104531"/>
          <ac:graphicFrameMkLst>
            <pc:docMk/>
            <pc:sldMk cId="1385526101" sldId="381"/>
            <ac:graphicFrameMk id="7" creationId="{74889E06-13CE-60F4-BC2E-2ADA96D2D12F}"/>
          </ac:graphicFrameMkLst>
        </pc:graphicFrameChg>
        <pc:graphicFrameChg chg="mod ord">
          <ac:chgData name="Alex Jordan" userId="30755697-3be4-4efa-ad5c-ca2e4102b45a" providerId="ADAL" clId="{FC76EA98-9B1A-4F2F-9A6E-876FE3C87E8A}" dt="2025-06-25T08:46:35.520" v="104482"/>
          <ac:graphicFrameMkLst>
            <pc:docMk/>
            <pc:sldMk cId="1385526101" sldId="381"/>
            <ac:graphicFrameMk id="24" creationId="{A776ABCF-56EF-6EB6-FCA8-0533B8945F83}"/>
          </ac:graphicFrameMkLst>
        </pc:graphicFrameChg>
        <pc:graphicFrameChg chg="add mod ord">
          <ac:chgData name="Alex Jordan" userId="30755697-3be4-4efa-ad5c-ca2e4102b45a" providerId="ADAL" clId="{FC76EA98-9B1A-4F2F-9A6E-876FE3C87E8A}" dt="2025-06-25T08:46:35.520" v="104498"/>
          <ac:graphicFrameMkLst>
            <pc:docMk/>
            <pc:sldMk cId="1385526101" sldId="381"/>
            <ac:graphicFrameMk id="46" creationId="{2C98AEEF-8F85-2F04-E625-1EACAE15A9E5}"/>
          </ac:graphicFrameMkLst>
        </pc:graphicFrameChg>
        <pc:picChg chg="add mod">
          <ac:chgData name="Alex Jordan" userId="30755697-3be4-4efa-ad5c-ca2e4102b45a" providerId="ADAL" clId="{FC76EA98-9B1A-4F2F-9A6E-876FE3C87E8A}" dt="2025-06-25T08:46:35.530" v="104515"/>
          <ac:picMkLst>
            <pc:docMk/>
            <pc:sldMk cId="1385526101" sldId="381"/>
            <ac:picMk id="2050" creationId="{3232C5F9-A61C-050F-6417-F045056646E6}"/>
          </ac:picMkLst>
        </pc:picChg>
        <pc:cxnChg chg="mod ord">
          <ac:chgData name="Alex Jordan" userId="30755697-3be4-4efa-ad5c-ca2e4102b45a" providerId="ADAL" clId="{FC76EA98-9B1A-4F2F-9A6E-876FE3C87E8A}" dt="2025-06-25T08:46:35.520" v="104500"/>
          <ac:cxnSpMkLst>
            <pc:docMk/>
            <pc:sldMk cId="1385526101" sldId="381"/>
            <ac:cxnSpMk id="34" creationId="{5E1B6221-7D6A-64D5-F62B-4C885C965BA8}"/>
          </ac:cxnSpMkLst>
        </pc:cxnChg>
        <pc:cxnChg chg="mod ord">
          <ac:chgData name="Alex Jordan" userId="30755697-3be4-4efa-ad5c-ca2e4102b45a" providerId="ADAL" clId="{FC76EA98-9B1A-4F2F-9A6E-876FE3C87E8A}" dt="2025-06-25T08:46:35.530" v="104512"/>
          <ac:cxnSpMkLst>
            <pc:docMk/>
            <pc:sldMk cId="1385526101" sldId="381"/>
            <ac:cxnSpMk id="44" creationId="{6EAB6F0C-B0D5-70BC-A39D-7DF761A912D0}"/>
          </ac:cxnSpMkLst>
        </pc:cxnChg>
        <pc:cxnChg chg="add mod ord">
          <ac:chgData name="Alex Jordan" userId="30755697-3be4-4efa-ad5c-ca2e4102b45a" providerId="ADAL" clId="{FC76EA98-9B1A-4F2F-9A6E-876FE3C87E8A}" dt="2025-06-25T08:46:35.528" v="104502"/>
          <ac:cxnSpMkLst>
            <pc:docMk/>
            <pc:sldMk cId="1385526101" sldId="381"/>
            <ac:cxnSpMk id="2182" creationId="{DE819689-024E-3CD5-2236-508AB935B226}"/>
          </ac:cxnSpMkLst>
        </pc:cxnChg>
        <pc:cxnChg chg="add mod ord">
          <ac:chgData name="Alex Jordan" userId="30755697-3be4-4efa-ad5c-ca2e4102b45a" providerId="ADAL" clId="{FC76EA98-9B1A-4F2F-9A6E-876FE3C87E8A}" dt="2025-06-25T08:46:35.528" v="104504"/>
          <ac:cxnSpMkLst>
            <pc:docMk/>
            <pc:sldMk cId="1385526101" sldId="381"/>
            <ac:cxnSpMk id="2191" creationId="{ACF3F8FE-061E-22C1-9F86-93FD98B5782E}"/>
          </ac:cxnSpMkLst>
        </pc:cxnChg>
      </pc:sldChg>
      <pc:sldChg chg="add del ord">
        <pc:chgData name="Alex Jordan" userId="30755697-3be4-4efa-ad5c-ca2e4102b45a" providerId="ADAL" clId="{FC76EA98-9B1A-4F2F-9A6E-876FE3C87E8A}" dt="2025-06-24T15:19:29.238" v="55312" actId="47"/>
        <pc:sldMkLst>
          <pc:docMk/>
          <pc:sldMk cId="1918913301" sldId="381"/>
        </pc:sldMkLst>
      </pc:sldChg>
      <pc:sldChg chg="addSp delSp modSp add mod modNotes">
        <pc:chgData name="Alex Jordan" userId="30755697-3be4-4efa-ad5c-ca2e4102b45a" providerId="ADAL" clId="{FC76EA98-9B1A-4F2F-9A6E-876FE3C87E8A}" dt="2025-06-27T11:05:27.609" v="104781"/>
        <pc:sldMkLst>
          <pc:docMk/>
          <pc:sldMk cId="1645728106" sldId="382"/>
        </pc:sldMkLst>
        <pc:spChg chg="mod">
          <ac:chgData name="Alex Jordan" userId="30755697-3be4-4efa-ad5c-ca2e4102b45a" providerId="ADAL" clId="{FC76EA98-9B1A-4F2F-9A6E-876FE3C87E8A}" dt="2025-06-25T08:46:32.984" v="102189" actId="948"/>
          <ac:spMkLst>
            <pc:docMk/>
            <pc:sldMk cId="1645728106" sldId="382"/>
            <ac:spMk id="2" creationId="{C7E8D827-C875-05FD-B98D-E47DF661C111}"/>
          </ac:spMkLst>
        </pc:spChg>
        <pc:spChg chg="add mod">
          <ac:chgData name="Alex Jordan" userId="30755697-3be4-4efa-ad5c-ca2e4102b45a" providerId="ADAL" clId="{FC76EA98-9B1A-4F2F-9A6E-876FE3C87E8A}" dt="2025-06-27T11:05:13.167" v="104769"/>
          <ac:spMkLst>
            <pc:docMk/>
            <pc:sldMk cId="1645728106" sldId="382"/>
            <ac:spMk id="3" creationId="{77D4F03D-A29C-7EBF-D058-000164EAC26E}"/>
          </ac:spMkLst>
        </pc:spChg>
        <pc:spChg chg="del mod">
          <ac:chgData name="Alex Jordan" userId="30755697-3be4-4efa-ad5c-ca2e4102b45a" providerId="ADAL" clId="{FC76EA98-9B1A-4F2F-9A6E-876FE3C87E8A}" dt="2025-06-27T11:04:48.479" v="104755" actId="478"/>
          <ac:spMkLst>
            <pc:docMk/>
            <pc:sldMk cId="1645728106" sldId="382"/>
            <ac:spMk id="4" creationId="{7DA5327B-FF32-CCD3-3547-BDF05ABF9421}"/>
          </ac:spMkLst>
        </pc:spChg>
        <pc:spChg chg="del mod">
          <ac:chgData name="Alex Jordan" userId="30755697-3be4-4efa-ad5c-ca2e4102b45a" providerId="ADAL" clId="{FC76EA98-9B1A-4F2F-9A6E-876FE3C87E8A}" dt="2025-06-27T11:04:48.479" v="104755" actId="478"/>
          <ac:spMkLst>
            <pc:docMk/>
            <pc:sldMk cId="1645728106" sldId="382"/>
            <ac:spMk id="5" creationId="{3F66478A-BA97-F673-05D7-5122859DC58E}"/>
          </ac:spMkLst>
        </pc:spChg>
        <pc:spChg chg="del mod">
          <ac:chgData name="Alex Jordan" userId="30755697-3be4-4efa-ad5c-ca2e4102b45a" providerId="ADAL" clId="{FC76EA98-9B1A-4F2F-9A6E-876FE3C87E8A}" dt="2025-06-27T11:04:48.479" v="104755" actId="478"/>
          <ac:spMkLst>
            <pc:docMk/>
            <pc:sldMk cId="1645728106" sldId="382"/>
            <ac:spMk id="6" creationId="{DEA912EA-F14D-0E53-0C11-17AC3C08AD4C}"/>
          </ac:spMkLst>
        </pc:spChg>
        <pc:spChg chg="del mod">
          <ac:chgData name="Alex Jordan" userId="30755697-3be4-4efa-ad5c-ca2e4102b45a" providerId="ADAL" clId="{FC76EA98-9B1A-4F2F-9A6E-876FE3C87E8A}" dt="2025-06-27T11:04:48.479" v="104755" actId="478"/>
          <ac:spMkLst>
            <pc:docMk/>
            <pc:sldMk cId="1645728106" sldId="382"/>
            <ac:spMk id="8" creationId="{35267DC6-0E6A-7105-ACE3-8A8775F27900}"/>
          </ac:spMkLst>
        </pc:spChg>
        <pc:spChg chg="del mod">
          <ac:chgData name="Alex Jordan" userId="30755697-3be4-4efa-ad5c-ca2e4102b45a" providerId="ADAL" clId="{FC76EA98-9B1A-4F2F-9A6E-876FE3C87E8A}" dt="2025-06-27T11:04:48.479" v="104755" actId="478"/>
          <ac:spMkLst>
            <pc:docMk/>
            <pc:sldMk cId="1645728106" sldId="382"/>
            <ac:spMk id="9" creationId="{AC7FCF86-0D0E-B287-CF70-6578D4B25904}"/>
          </ac:spMkLst>
        </pc:spChg>
        <pc:spChg chg="add mod">
          <ac:chgData name="Alex Jordan" userId="30755697-3be4-4efa-ad5c-ca2e4102b45a" providerId="ADAL" clId="{FC76EA98-9B1A-4F2F-9A6E-876FE3C87E8A}" dt="2025-06-27T11:05:13.167" v="104769"/>
          <ac:spMkLst>
            <pc:docMk/>
            <pc:sldMk cId="1645728106" sldId="382"/>
            <ac:spMk id="10" creationId="{44BB52E3-688C-93DE-AF80-D94AB4BDFFB1}"/>
          </ac:spMkLst>
        </pc:spChg>
        <pc:spChg chg="add mod">
          <ac:chgData name="Alex Jordan" userId="30755697-3be4-4efa-ad5c-ca2e4102b45a" providerId="ADAL" clId="{FC76EA98-9B1A-4F2F-9A6E-876FE3C87E8A}" dt="2025-06-27T11:05:13.167" v="104769"/>
          <ac:spMkLst>
            <pc:docMk/>
            <pc:sldMk cId="1645728106" sldId="382"/>
            <ac:spMk id="11" creationId="{AD97B32D-F108-DF05-A8AF-36908D20E56F}"/>
          </ac:spMkLst>
        </pc:spChg>
        <pc:spChg chg="add mod">
          <ac:chgData name="Alex Jordan" userId="30755697-3be4-4efa-ad5c-ca2e4102b45a" providerId="ADAL" clId="{FC76EA98-9B1A-4F2F-9A6E-876FE3C87E8A}" dt="2025-06-27T11:05:27.609" v="104781"/>
          <ac:spMkLst>
            <pc:docMk/>
            <pc:sldMk cId="1645728106" sldId="382"/>
            <ac:spMk id="12" creationId="{0C09A959-D843-9107-04ED-F8CBDB7CEA65}"/>
          </ac:spMkLst>
        </pc:spChg>
        <pc:spChg chg="add mod">
          <ac:chgData name="Alex Jordan" userId="30755697-3be4-4efa-ad5c-ca2e4102b45a" providerId="ADAL" clId="{FC76EA98-9B1A-4F2F-9A6E-876FE3C87E8A}" dt="2025-06-27T11:05:27.609" v="104781"/>
          <ac:spMkLst>
            <pc:docMk/>
            <pc:sldMk cId="1645728106" sldId="382"/>
            <ac:spMk id="13" creationId="{36F69933-DA18-5F89-D403-E821B1E80F89}"/>
          </ac:spMkLst>
        </pc:spChg>
        <pc:spChg chg="add mod">
          <ac:chgData name="Alex Jordan" userId="30755697-3be4-4efa-ad5c-ca2e4102b45a" providerId="ADAL" clId="{FC76EA98-9B1A-4F2F-9A6E-876FE3C87E8A}" dt="2025-06-27T11:05:27.609" v="104781"/>
          <ac:spMkLst>
            <pc:docMk/>
            <pc:sldMk cId="1645728106" sldId="382"/>
            <ac:spMk id="14" creationId="{5A617CBC-5FA9-C4F1-9EDF-F126717D846F}"/>
          </ac:spMkLst>
        </pc:spChg>
        <pc:spChg chg="add mod">
          <ac:chgData name="Alex Jordan" userId="30755697-3be4-4efa-ad5c-ca2e4102b45a" providerId="ADAL" clId="{FC76EA98-9B1A-4F2F-9A6E-876FE3C87E8A}" dt="2025-06-27T11:05:27.609" v="104781"/>
          <ac:spMkLst>
            <pc:docMk/>
            <pc:sldMk cId="1645728106" sldId="382"/>
            <ac:spMk id="15" creationId="{EFCB0B98-848C-0CE0-4E9B-846997CB9BB7}"/>
          </ac:spMkLst>
        </pc:spChg>
        <pc:spChg chg="mod">
          <ac:chgData name="Alex Jordan" userId="30755697-3be4-4efa-ad5c-ca2e4102b45a" providerId="ADAL" clId="{FC76EA98-9B1A-4F2F-9A6E-876FE3C87E8A}" dt="2025-06-25T08:46:30.403" v="100221" actId="947"/>
          <ac:spMkLst>
            <pc:docMk/>
            <pc:sldMk cId="1645728106" sldId="382"/>
            <ac:spMk id="33" creationId="{ECED0B6C-9606-2C2C-9F93-57463C13BFD2}"/>
          </ac:spMkLst>
        </pc:spChg>
        <pc:spChg chg="mod">
          <ac:chgData name="Alex Jordan" userId="30755697-3be4-4efa-ad5c-ca2e4102b45a" providerId="ADAL" clId="{FC76EA98-9B1A-4F2F-9A6E-876FE3C87E8A}" dt="2025-06-25T08:46:30.403" v="100219" actId="947"/>
          <ac:spMkLst>
            <pc:docMk/>
            <pc:sldMk cId="1645728106" sldId="382"/>
            <ac:spMk id="34" creationId="{72427D9A-F1B6-5B34-F3AB-F3FF3E81C557}"/>
          </ac:spMkLst>
        </pc:spChg>
        <pc:spChg chg="mod">
          <ac:chgData name="Alex Jordan" userId="30755697-3be4-4efa-ad5c-ca2e4102b45a" providerId="ADAL" clId="{FC76EA98-9B1A-4F2F-9A6E-876FE3C87E8A}" dt="2025-06-25T08:46:30.401" v="100217" actId="947"/>
          <ac:spMkLst>
            <pc:docMk/>
            <pc:sldMk cId="1645728106" sldId="382"/>
            <ac:spMk id="37" creationId="{11A652E4-52B0-D286-E321-8BE14E45965F}"/>
          </ac:spMkLst>
        </pc:spChg>
        <pc:spChg chg="mod">
          <ac:chgData name="Alex Jordan" userId="30755697-3be4-4efa-ad5c-ca2e4102b45a" providerId="ADAL" clId="{FC76EA98-9B1A-4F2F-9A6E-876FE3C87E8A}" dt="2025-06-25T08:46:32.056" v="101958" actId="790"/>
          <ac:spMkLst>
            <pc:docMk/>
            <pc:sldMk cId="1645728106" sldId="382"/>
            <ac:spMk id="38" creationId="{F5EFE11A-61AA-8FF1-D896-474A8A31E87E}"/>
          </ac:spMkLst>
        </pc:spChg>
        <pc:spChg chg="add mod">
          <ac:chgData name="Alex Jordan" userId="30755697-3be4-4efa-ad5c-ca2e4102b45a" providerId="ADAL" clId="{FC76EA98-9B1A-4F2F-9A6E-876FE3C87E8A}" dt="2025-06-25T08:46:30.420" v="100237" actId="947"/>
          <ac:spMkLst>
            <pc:docMk/>
            <pc:sldMk cId="1645728106" sldId="382"/>
            <ac:spMk id="55" creationId="{D6EAD6C4-BA84-F758-15A2-5FEC30FC4D07}"/>
          </ac:spMkLst>
        </pc:spChg>
        <pc:spChg chg="mod">
          <ac:chgData name="Alex Jordan" userId="30755697-3be4-4efa-ad5c-ca2e4102b45a" providerId="ADAL" clId="{FC76EA98-9B1A-4F2F-9A6E-876FE3C87E8A}" dt="2025-06-25T08:46:30.425" v="100243" actId="947"/>
          <ac:spMkLst>
            <pc:docMk/>
            <pc:sldMk cId="1645728106" sldId="382"/>
            <ac:spMk id="57" creationId="{C1CDDE74-3936-A760-E7A8-8FC7B4A2E039}"/>
          </ac:spMkLst>
        </pc:spChg>
        <pc:spChg chg="mod">
          <ac:chgData name="Alex Jordan" userId="30755697-3be4-4efa-ad5c-ca2e4102b45a" providerId="ADAL" clId="{FC76EA98-9B1A-4F2F-9A6E-876FE3C87E8A}" dt="2025-06-25T08:46:30.425" v="100249" actId="947"/>
          <ac:spMkLst>
            <pc:docMk/>
            <pc:sldMk cId="1645728106" sldId="382"/>
            <ac:spMk id="59" creationId="{BCD272AD-66D5-E23F-8975-85010BD947ED}"/>
          </ac:spMkLst>
        </pc:spChg>
        <pc:spChg chg="mod">
          <ac:chgData name="Alex Jordan" userId="30755697-3be4-4efa-ad5c-ca2e4102b45a" providerId="ADAL" clId="{FC76EA98-9B1A-4F2F-9A6E-876FE3C87E8A}" dt="2025-06-25T08:46:30.435" v="100255" actId="947"/>
          <ac:spMkLst>
            <pc:docMk/>
            <pc:sldMk cId="1645728106" sldId="382"/>
            <ac:spMk id="61" creationId="{C994E3BD-4891-5D96-D0A1-5495BCA9E7E0}"/>
          </ac:spMkLst>
        </pc:spChg>
        <pc:spChg chg="mod">
          <ac:chgData name="Alex Jordan" userId="30755697-3be4-4efa-ad5c-ca2e4102b45a" providerId="ADAL" clId="{FC76EA98-9B1A-4F2F-9A6E-876FE3C87E8A}" dt="2025-06-25T08:46:30.435" v="100261" actId="947"/>
          <ac:spMkLst>
            <pc:docMk/>
            <pc:sldMk cId="1645728106" sldId="382"/>
            <ac:spMk id="63" creationId="{4196178E-C1DE-7389-BAFE-B79561A81F26}"/>
          </ac:spMkLst>
        </pc:spChg>
        <pc:spChg chg="mod">
          <ac:chgData name="Alex Jordan" userId="30755697-3be4-4efa-ad5c-ca2e4102b45a" providerId="ADAL" clId="{FC76EA98-9B1A-4F2F-9A6E-876FE3C87E8A}" dt="2025-06-25T08:46:30.440" v="100263" actId="947"/>
          <ac:spMkLst>
            <pc:docMk/>
            <pc:sldMk cId="1645728106" sldId="382"/>
            <ac:spMk id="64" creationId="{91C62946-817E-6D76-8BAA-EC9244057EC7}"/>
          </ac:spMkLst>
        </pc:spChg>
        <pc:spChg chg="add mod">
          <ac:chgData name="Alex Jordan" userId="30755697-3be4-4efa-ad5c-ca2e4102b45a" providerId="ADAL" clId="{FC76EA98-9B1A-4F2F-9A6E-876FE3C87E8A}" dt="2025-06-25T08:46:32.056" v="101958" actId="790"/>
          <ac:spMkLst>
            <pc:docMk/>
            <pc:sldMk cId="1645728106" sldId="382"/>
            <ac:spMk id="65" creationId="{EDC26851-8196-9F46-3926-0BA4A5908976}"/>
          </ac:spMkLst>
        </pc:spChg>
        <pc:spChg chg="add mod">
          <ac:chgData name="Alex Jordan" userId="30755697-3be4-4efa-ad5c-ca2e4102b45a" providerId="ADAL" clId="{FC76EA98-9B1A-4F2F-9A6E-876FE3C87E8A}" dt="2025-06-25T08:46:30.444" v="100267" actId="947"/>
          <ac:spMkLst>
            <pc:docMk/>
            <pc:sldMk cId="1645728106" sldId="382"/>
            <ac:spMk id="66" creationId="{2CC3322F-9EDB-098C-3C90-E6D1CF896266}"/>
          </ac:spMkLst>
        </pc:spChg>
        <pc:spChg chg="add mod">
          <ac:chgData name="Alex Jordan" userId="30755697-3be4-4efa-ad5c-ca2e4102b45a" providerId="ADAL" clId="{FC76EA98-9B1A-4F2F-9A6E-876FE3C87E8A}" dt="2025-06-25T08:46:30.446" v="100269" actId="947"/>
          <ac:spMkLst>
            <pc:docMk/>
            <pc:sldMk cId="1645728106" sldId="382"/>
            <ac:spMk id="67" creationId="{91DFF2A3-EFED-8D3C-62C5-CD6656854DA7}"/>
          </ac:spMkLst>
        </pc:spChg>
        <pc:spChg chg="add mod">
          <ac:chgData name="Alex Jordan" userId="30755697-3be4-4efa-ad5c-ca2e4102b45a" providerId="ADAL" clId="{FC76EA98-9B1A-4F2F-9A6E-876FE3C87E8A}" dt="2025-06-25T08:46:30.446" v="100271" actId="947"/>
          <ac:spMkLst>
            <pc:docMk/>
            <pc:sldMk cId="1645728106" sldId="382"/>
            <ac:spMk id="68" creationId="{E693A437-7DA3-A9E4-4DC9-0037CAF8B808}"/>
          </ac:spMkLst>
        </pc:spChg>
        <pc:spChg chg="mod">
          <ac:chgData name="Alex Jordan" userId="30755697-3be4-4efa-ad5c-ca2e4102b45a" providerId="ADAL" clId="{FC76EA98-9B1A-4F2F-9A6E-876FE3C87E8A}" dt="2025-06-25T08:46:32.056" v="101958" actId="790"/>
          <ac:spMkLst>
            <pc:docMk/>
            <pc:sldMk cId="1645728106" sldId="382"/>
            <ac:spMk id="69" creationId="{62EC15B5-FED3-BE2B-EAA0-A35349683618}"/>
          </ac:spMkLst>
        </pc:spChg>
        <pc:spChg chg="mod">
          <ac:chgData name="Alex Jordan" userId="30755697-3be4-4efa-ad5c-ca2e4102b45a" providerId="ADAL" clId="{FC76EA98-9B1A-4F2F-9A6E-876FE3C87E8A}" dt="2025-06-25T08:46:30.446" v="100275" actId="947"/>
          <ac:spMkLst>
            <pc:docMk/>
            <pc:sldMk cId="1645728106" sldId="382"/>
            <ac:spMk id="70" creationId="{459E3620-AAD4-8B32-5350-FD46A2C0D9A0}"/>
          </ac:spMkLst>
        </pc:spChg>
        <pc:spChg chg="mod">
          <ac:chgData name="Alex Jordan" userId="30755697-3be4-4efa-ad5c-ca2e4102b45a" providerId="ADAL" clId="{FC76EA98-9B1A-4F2F-9A6E-876FE3C87E8A}" dt="2025-06-25T08:46:32.056" v="101958" actId="790"/>
          <ac:spMkLst>
            <pc:docMk/>
            <pc:sldMk cId="1645728106" sldId="382"/>
            <ac:spMk id="71" creationId="{1ABE446C-8B18-FD65-7640-3556FE3C988F}"/>
          </ac:spMkLst>
        </pc:spChg>
        <pc:spChg chg="add mod">
          <ac:chgData name="Alex Jordan" userId="30755697-3be4-4efa-ad5c-ca2e4102b45a" providerId="ADAL" clId="{FC76EA98-9B1A-4F2F-9A6E-876FE3C87E8A}" dt="2025-06-25T08:46:32.056" v="101958" actId="790"/>
          <ac:spMkLst>
            <pc:docMk/>
            <pc:sldMk cId="1645728106" sldId="382"/>
            <ac:spMk id="72" creationId="{3AAE4649-E18C-14CF-0384-83EBDA0F5007}"/>
          </ac:spMkLst>
        </pc:spChg>
        <pc:spChg chg="mod">
          <ac:chgData name="Alex Jordan" userId="30755697-3be4-4efa-ad5c-ca2e4102b45a" providerId="ADAL" clId="{FC76EA98-9B1A-4F2F-9A6E-876FE3C87E8A}" dt="2025-06-25T08:46:32.056" v="101958" actId="790"/>
          <ac:spMkLst>
            <pc:docMk/>
            <pc:sldMk cId="1645728106" sldId="382"/>
            <ac:spMk id="73" creationId="{334E2725-3D2B-87CD-6466-F3B0AD4833E9}"/>
          </ac:spMkLst>
        </pc:spChg>
        <pc:spChg chg="add mod">
          <ac:chgData name="Alex Jordan" userId="30755697-3be4-4efa-ad5c-ca2e4102b45a" providerId="ADAL" clId="{FC76EA98-9B1A-4F2F-9A6E-876FE3C87E8A}" dt="2025-06-25T08:46:32.056" v="101958" actId="790"/>
          <ac:spMkLst>
            <pc:docMk/>
            <pc:sldMk cId="1645728106" sldId="382"/>
            <ac:spMk id="74" creationId="{3293475A-F6B5-4CFA-DF65-F3BC1B155C91}"/>
          </ac:spMkLst>
        </pc:spChg>
        <pc:spChg chg="mod">
          <ac:chgData name="Alex Jordan" userId="30755697-3be4-4efa-ad5c-ca2e4102b45a" providerId="ADAL" clId="{FC76EA98-9B1A-4F2F-9A6E-876FE3C87E8A}" dt="2025-06-25T08:46:30.458" v="100285" actId="947"/>
          <ac:spMkLst>
            <pc:docMk/>
            <pc:sldMk cId="1645728106" sldId="382"/>
            <ac:spMk id="75" creationId="{36625B66-5F99-FE23-A2C1-2ACA09680F13}"/>
          </ac:spMkLst>
        </pc:spChg>
        <pc:spChg chg="add mod">
          <ac:chgData name="Alex Jordan" userId="30755697-3be4-4efa-ad5c-ca2e4102b45a" providerId="ADAL" clId="{FC76EA98-9B1A-4F2F-9A6E-876FE3C87E8A}" dt="2025-06-25T08:46:30.435" v="100259" actId="947"/>
          <ac:spMkLst>
            <pc:docMk/>
            <pc:sldMk cId="1645728106" sldId="382"/>
            <ac:spMk id="76" creationId="{FC656E58-87DD-B3F1-7E74-161985A36C3D}"/>
          </ac:spMkLst>
        </pc:spChg>
        <pc:spChg chg="mod">
          <ac:chgData name="Alex Jordan" userId="30755697-3be4-4efa-ad5c-ca2e4102b45a" providerId="ADAL" clId="{FC76EA98-9B1A-4F2F-9A6E-876FE3C87E8A}" dt="2025-06-25T08:46:30.435" v="100257" actId="947"/>
          <ac:spMkLst>
            <pc:docMk/>
            <pc:sldMk cId="1645728106" sldId="382"/>
            <ac:spMk id="77" creationId="{B3CF0C13-360D-6DA6-E08D-92434C5C5948}"/>
          </ac:spMkLst>
        </pc:spChg>
        <pc:spChg chg="mod">
          <ac:chgData name="Alex Jordan" userId="30755697-3be4-4efa-ad5c-ca2e4102b45a" providerId="ADAL" clId="{FC76EA98-9B1A-4F2F-9A6E-876FE3C87E8A}" dt="2025-06-25T08:46:32.056" v="101958" actId="790"/>
          <ac:spMkLst>
            <pc:docMk/>
            <pc:sldMk cId="1645728106" sldId="382"/>
            <ac:spMk id="78" creationId="{59060676-992E-CBA3-5415-0D6074D71574}"/>
          </ac:spMkLst>
        </pc:spChg>
        <pc:spChg chg="add mod">
          <ac:chgData name="Alex Jordan" userId="30755697-3be4-4efa-ad5c-ca2e4102b45a" providerId="ADAL" clId="{FC76EA98-9B1A-4F2F-9A6E-876FE3C87E8A}" dt="2025-06-25T08:46:30.425" v="100251" actId="947"/>
          <ac:spMkLst>
            <pc:docMk/>
            <pc:sldMk cId="1645728106" sldId="382"/>
            <ac:spMk id="79" creationId="{000C69DD-6D25-E6BE-A9B2-DC1FE86E8C54}"/>
          </ac:spMkLst>
        </pc:spChg>
        <pc:spChg chg="mod">
          <ac:chgData name="Alex Jordan" userId="30755697-3be4-4efa-ad5c-ca2e4102b45a" providerId="ADAL" clId="{FC76EA98-9B1A-4F2F-9A6E-876FE3C87E8A}" dt="2025-06-25T08:46:30.425" v="100247" actId="947"/>
          <ac:spMkLst>
            <pc:docMk/>
            <pc:sldMk cId="1645728106" sldId="382"/>
            <ac:spMk id="80" creationId="{BF29ECCA-73B9-E122-8667-2E0E81298367}"/>
          </ac:spMkLst>
        </pc:spChg>
        <pc:spChg chg="add mod">
          <ac:chgData name="Alex Jordan" userId="30755697-3be4-4efa-ad5c-ca2e4102b45a" providerId="ADAL" clId="{FC76EA98-9B1A-4F2F-9A6E-876FE3C87E8A}" dt="2025-06-25T08:46:30.425" v="100245" actId="947"/>
          <ac:spMkLst>
            <pc:docMk/>
            <pc:sldMk cId="1645728106" sldId="382"/>
            <ac:spMk id="81" creationId="{5B2DDB2E-7378-5F06-89C2-58A0389C7233}"/>
          </ac:spMkLst>
        </pc:spChg>
        <pc:spChg chg="mod">
          <ac:chgData name="Alex Jordan" userId="30755697-3be4-4efa-ad5c-ca2e4102b45a" providerId="ADAL" clId="{FC76EA98-9B1A-4F2F-9A6E-876FE3C87E8A}" dt="2025-06-25T08:46:32.056" v="101958" actId="790"/>
          <ac:spMkLst>
            <pc:docMk/>
            <pc:sldMk cId="1645728106" sldId="382"/>
            <ac:spMk id="82" creationId="{D7CE5BDB-3FC7-8AE9-0C49-F48DB6D92DE6}"/>
          </ac:spMkLst>
        </pc:spChg>
        <pc:spChg chg="mod">
          <ac:chgData name="Alex Jordan" userId="30755697-3be4-4efa-ad5c-ca2e4102b45a" providerId="ADAL" clId="{FC76EA98-9B1A-4F2F-9A6E-876FE3C87E8A}" dt="2025-06-25T08:46:30.423" v="100239" actId="947"/>
          <ac:spMkLst>
            <pc:docMk/>
            <pc:sldMk cId="1645728106" sldId="382"/>
            <ac:spMk id="83" creationId="{CAA7CE37-5C34-77FB-D5C6-BC7CA91EAEBC}"/>
          </ac:spMkLst>
        </pc:spChg>
        <pc:graphicFrameChg chg="mod">
          <ac:chgData name="Alex Jordan" userId="30755697-3be4-4efa-ad5c-ca2e4102b45a" providerId="ADAL" clId="{FC76EA98-9B1A-4F2F-9A6E-876FE3C87E8A}" dt="2025-06-25T08:46:34.874" v="103908"/>
          <ac:graphicFrameMkLst>
            <pc:docMk/>
            <pc:sldMk cId="1645728106" sldId="382"/>
            <ac:graphicFrameMk id="7" creationId="{7D8C2603-F235-C658-D506-7044DF7BE092}"/>
          </ac:graphicFrameMkLst>
        </pc:graphicFrameChg>
        <pc:picChg chg="add mod">
          <ac:chgData name="Alex Jordan" userId="30755697-3be4-4efa-ad5c-ca2e4102b45a" providerId="ADAL" clId="{FC76EA98-9B1A-4F2F-9A6E-876FE3C87E8A}" dt="2025-06-24T16:22:40.558" v="71328" actId="1076"/>
          <ac:picMkLst>
            <pc:docMk/>
            <pc:sldMk cId="1645728106" sldId="382"/>
            <ac:picMk id="3074" creationId="{F586AAD1-6519-C213-16F3-D3798F86DABC}"/>
          </ac:picMkLst>
        </pc:picChg>
      </pc:sldChg>
      <pc:sldChg chg="addSp delSp modSp add mod ord modNotes">
        <pc:chgData name="Alex Jordan" userId="30755697-3be4-4efa-ad5c-ca2e4102b45a" providerId="ADAL" clId="{FC76EA98-9B1A-4F2F-9A6E-876FE3C87E8A}" dt="2025-06-27T11:05:27.611" v="104784"/>
        <pc:sldMkLst>
          <pc:docMk/>
          <pc:sldMk cId="1947910042" sldId="383"/>
        </pc:sldMkLst>
        <pc:spChg chg="mod">
          <ac:chgData name="Alex Jordan" userId="30755697-3be4-4efa-ad5c-ca2e4102b45a" providerId="ADAL" clId="{FC76EA98-9B1A-4F2F-9A6E-876FE3C87E8A}" dt="2025-06-25T08:46:33.109" v="102294" actId="948"/>
          <ac:spMkLst>
            <pc:docMk/>
            <pc:sldMk cId="1947910042" sldId="383"/>
            <ac:spMk id="2" creationId="{7C55355E-E956-2193-F31D-B28D324165E8}"/>
          </ac:spMkLst>
        </pc:spChg>
        <pc:spChg chg="del mod">
          <ac:chgData name="Alex Jordan" userId="30755697-3be4-4efa-ad5c-ca2e4102b45a" providerId="ADAL" clId="{FC76EA98-9B1A-4F2F-9A6E-876FE3C87E8A}" dt="2025-06-27T11:05:02.323" v="104758" actId="478"/>
          <ac:spMkLst>
            <pc:docMk/>
            <pc:sldMk cId="1947910042" sldId="383"/>
            <ac:spMk id="4" creationId="{1BD22875-D68F-2E93-0760-EF2772DBF407}"/>
          </ac:spMkLst>
        </pc:spChg>
        <pc:spChg chg="del mod">
          <ac:chgData name="Alex Jordan" userId="30755697-3be4-4efa-ad5c-ca2e4102b45a" providerId="ADAL" clId="{FC76EA98-9B1A-4F2F-9A6E-876FE3C87E8A}" dt="2025-06-27T11:05:02.323" v="104758" actId="478"/>
          <ac:spMkLst>
            <pc:docMk/>
            <pc:sldMk cId="1947910042" sldId="383"/>
            <ac:spMk id="5" creationId="{A2AC30B8-6ED0-C91F-5A2D-B022901B639C}"/>
          </ac:spMkLst>
        </pc:spChg>
        <pc:spChg chg="del mod">
          <ac:chgData name="Alex Jordan" userId="30755697-3be4-4efa-ad5c-ca2e4102b45a" providerId="ADAL" clId="{FC76EA98-9B1A-4F2F-9A6E-876FE3C87E8A}" dt="2025-06-27T11:05:02.323" v="104758" actId="478"/>
          <ac:spMkLst>
            <pc:docMk/>
            <pc:sldMk cId="1947910042" sldId="383"/>
            <ac:spMk id="6" creationId="{CDDD6505-E961-0E7A-ED05-1C031C7C01E5}"/>
          </ac:spMkLst>
        </pc:spChg>
        <pc:spChg chg="del mod">
          <ac:chgData name="Alex Jordan" userId="30755697-3be4-4efa-ad5c-ca2e4102b45a" providerId="ADAL" clId="{FC76EA98-9B1A-4F2F-9A6E-876FE3C87E8A}" dt="2025-06-27T11:05:02.323" v="104758" actId="478"/>
          <ac:spMkLst>
            <pc:docMk/>
            <pc:sldMk cId="1947910042" sldId="383"/>
            <ac:spMk id="8" creationId="{EAFD0901-9BBE-51D4-B000-6F411E6B87C6}"/>
          </ac:spMkLst>
        </pc:spChg>
        <pc:spChg chg="del mod">
          <ac:chgData name="Alex Jordan" userId="30755697-3be4-4efa-ad5c-ca2e4102b45a" providerId="ADAL" clId="{FC76EA98-9B1A-4F2F-9A6E-876FE3C87E8A}" dt="2025-06-27T11:05:02.323" v="104758" actId="478"/>
          <ac:spMkLst>
            <pc:docMk/>
            <pc:sldMk cId="1947910042" sldId="383"/>
            <ac:spMk id="9" creationId="{9F043321-678A-B629-04AD-8ABE9F81AF9F}"/>
          </ac:spMkLst>
        </pc:spChg>
        <pc:spChg chg="mod">
          <ac:chgData name="Alex Jordan" userId="30755697-3be4-4efa-ad5c-ca2e4102b45a" providerId="ADAL" clId="{FC76EA98-9B1A-4F2F-9A6E-876FE3C87E8A}" dt="2025-06-25T08:46:32.056" v="101958" actId="790"/>
          <ac:spMkLst>
            <pc:docMk/>
            <pc:sldMk cId="1947910042" sldId="383"/>
            <ac:spMk id="10" creationId="{4A0AE7E9-8A87-25BC-2C3A-E05767BD356F}"/>
          </ac:spMkLst>
        </pc:spChg>
        <pc:spChg chg="mod">
          <ac:chgData name="Alex Jordan" userId="30755697-3be4-4efa-ad5c-ca2e4102b45a" providerId="ADAL" clId="{FC76EA98-9B1A-4F2F-9A6E-876FE3C87E8A}" dt="2025-06-25T08:46:30.728" v="100641" actId="947"/>
          <ac:spMkLst>
            <pc:docMk/>
            <pc:sldMk cId="1947910042" sldId="383"/>
            <ac:spMk id="11" creationId="{566A0390-CEB8-D92E-C491-B0E0EAD7E794}"/>
          </ac:spMkLst>
        </pc:spChg>
        <pc:spChg chg="mod">
          <ac:chgData name="Alex Jordan" userId="30755697-3be4-4efa-ad5c-ca2e4102b45a" providerId="ADAL" clId="{FC76EA98-9B1A-4F2F-9A6E-876FE3C87E8A}" dt="2025-06-25T08:46:30.728" v="100639" actId="947"/>
          <ac:spMkLst>
            <pc:docMk/>
            <pc:sldMk cId="1947910042" sldId="383"/>
            <ac:spMk id="14" creationId="{C51BDB31-1539-9B90-8DE6-27BA862B6323}"/>
          </ac:spMkLst>
        </pc:spChg>
        <pc:spChg chg="add mod">
          <ac:chgData name="Alex Jordan" userId="30755697-3be4-4efa-ad5c-ca2e4102b45a" providerId="ADAL" clId="{FC76EA98-9B1A-4F2F-9A6E-876FE3C87E8A}" dt="2025-06-27T11:05:13.172" v="104772"/>
          <ac:spMkLst>
            <pc:docMk/>
            <pc:sldMk cId="1947910042" sldId="383"/>
            <ac:spMk id="24" creationId="{7FC2C9BD-0BBE-BE76-3DCF-A5D95AA4871D}"/>
          </ac:spMkLst>
        </pc:spChg>
        <pc:spChg chg="add mod">
          <ac:chgData name="Alex Jordan" userId="30755697-3be4-4efa-ad5c-ca2e4102b45a" providerId="ADAL" clId="{FC76EA98-9B1A-4F2F-9A6E-876FE3C87E8A}" dt="2025-06-25T08:46:32.056" v="101958" actId="790"/>
          <ac:spMkLst>
            <pc:docMk/>
            <pc:sldMk cId="1947910042" sldId="383"/>
            <ac:spMk id="27" creationId="{7D263A93-8DEF-C58B-44B4-DB501FB48245}"/>
          </ac:spMkLst>
        </pc:spChg>
        <pc:spChg chg="add mod">
          <ac:chgData name="Alex Jordan" userId="30755697-3be4-4efa-ad5c-ca2e4102b45a" providerId="ADAL" clId="{FC76EA98-9B1A-4F2F-9A6E-876FE3C87E8A}" dt="2025-06-25T08:46:32.056" v="101958" actId="790"/>
          <ac:spMkLst>
            <pc:docMk/>
            <pc:sldMk cId="1947910042" sldId="383"/>
            <ac:spMk id="28" creationId="{481F0071-5DB9-2AFC-5EA4-3300A0966194}"/>
          </ac:spMkLst>
        </pc:spChg>
        <pc:spChg chg="add mod">
          <ac:chgData name="Alex Jordan" userId="30755697-3be4-4efa-ad5c-ca2e4102b45a" providerId="ADAL" clId="{FC76EA98-9B1A-4F2F-9A6E-876FE3C87E8A}" dt="2025-06-25T08:46:30.750" v="100665" actId="947"/>
          <ac:spMkLst>
            <pc:docMk/>
            <pc:sldMk cId="1947910042" sldId="383"/>
            <ac:spMk id="29" creationId="{C370AD44-CAD9-F275-29C1-4342AC856195}"/>
          </ac:spMkLst>
        </pc:spChg>
        <pc:spChg chg="add mod">
          <ac:chgData name="Alex Jordan" userId="30755697-3be4-4efa-ad5c-ca2e4102b45a" providerId="ADAL" clId="{FC76EA98-9B1A-4F2F-9A6E-876FE3C87E8A}" dt="2025-06-25T08:46:32.056" v="101958" actId="790"/>
          <ac:spMkLst>
            <pc:docMk/>
            <pc:sldMk cId="1947910042" sldId="383"/>
            <ac:spMk id="30" creationId="{403614E7-A966-B566-CDF9-48B8E0D72930}"/>
          </ac:spMkLst>
        </pc:spChg>
        <pc:spChg chg="add mod">
          <ac:chgData name="Alex Jordan" userId="30755697-3be4-4efa-ad5c-ca2e4102b45a" providerId="ADAL" clId="{FC76EA98-9B1A-4F2F-9A6E-876FE3C87E8A}" dt="2025-06-25T08:46:32.056" v="101958" actId="790"/>
          <ac:spMkLst>
            <pc:docMk/>
            <pc:sldMk cId="1947910042" sldId="383"/>
            <ac:spMk id="31" creationId="{46378C2F-2036-08E2-A011-D080C776EC57}"/>
          </ac:spMkLst>
        </pc:spChg>
        <pc:spChg chg="add mod">
          <ac:chgData name="Alex Jordan" userId="30755697-3be4-4efa-ad5c-ca2e4102b45a" providerId="ADAL" clId="{FC76EA98-9B1A-4F2F-9A6E-876FE3C87E8A}" dt="2025-06-27T11:05:13.172" v="104772"/>
          <ac:spMkLst>
            <pc:docMk/>
            <pc:sldMk cId="1947910042" sldId="383"/>
            <ac:spMk id="32" creationId="{5AC58343-9550-F950-ADD4-F8B0742AF436}"/>
          </ac:spMkLst>
        </pc:spChg>
        <pc:spChg chg="add mod">
          <ac:chgData name="Alex Jordan" userId="30755697-3be4-4efa-ad5c-ca2e4102b45a" providerId="ADAL" clId="{FC76EA98-9B1A-4F2F-9A6E-876FE3C87E8A}" dt="2025-06-27T11:05:13.172" v="104772"/>
          <ac:spMkLst>
            <pc:docMk/>
            <pc:sldMk cId="1947910042" sldId="383"/>
            <ac:spMk id="34" creationId="{C45D577E-DF13-E47B-2E2D-D106A2B4052E}"/>
          </ac:spMkLst>
        </pc:spChg>
        <pc:spChg chg="add mod">
          <ac:chgData name="Alex Jordan" userId="30755697-3be4-4efa-ad5c-ca2e4102b45a" providerId="ADAL" clId="{FC76EA98-9B1A-4F2F-9A6E-876FE3C87E8A}" dt="2025-06-27T11:05:27.611" v="104784"/>
          <ac:spMkLst>
            <pc:docMk/>
            <pc:sldMk cId="1947910042" sldId="383"/>
            <ac:spMk id="35" creationId="{6455CFC1-D896-6E12-A565-C140898A8032}"/>
          </ac:spMkLst>
        </pc:spChg>
        <pc:spChg chg="add mod">
          <ac:chgData name="Alex Jordan" userId="30755697-3be4-4efa-ad5c-ca2e4102b45a" providerId="ADAL" clId="{FC76EA98-9B1A-4F2F-9A6E-876FE3C87E8A}" dt="2025-06-27T11:05:27.611" v="104784"/>
          <ac:spMkLst>
            <pc:docMk/>
            <pc:sldMk cId="1947910042" sldId="383"/>
            <ac:spMk id="36" creationId="{72EA0FFE-8C64-7F6D-749A-84F57F00160C}"/>
          </ac:spMkLst>
        </pc:spChg>
        <pc:spChg chg="add mod">
          <ac:chgData name="Alex Jordan" userId="30755697-3be4-4efa-ad5c-ca2e4102b45a" providerId="ADAL" clId="{FC76EA98-9B1A-4F2F-9A6E-876FE3C87E8A}" dt="2025-06-27T11:05:27.611" v="104784"/>
          <ac:spMkLst>
            <pc:docMk/>
            <pc:sldMk cId="1947910042" sldId="383"/>
            <ac:spMk id="37" creationId="{6F2A9C47-6127-FE64-8114-6585558FCF40}"/>
          </ac:spMkLst>
        </pc:spChg>
        <pc:spChg chg="mod">
          <ac:chgData name="Alex Jordan" userId="30755697-3be4-4efa-ad5c-ca2e4102b45a" providerId="ADAL" clId="{FC76EA98-9B1A-4F2F-9A6E-876FE3C87E8A}" dt="2025-06-25T08:46:32.056" v="101958" actId="790"/>
          <ac:spMkLst>
            <pc:docMk/>
            <pc:sldMk cId="1947910042" sldId="383"/>
            <ac:spMk id="38" creationId="{2CE96FC8-7097-19C6-87B2-835674BBDED0}"/>
          </ac:spMkLst>
        </pc:spChg>
        <pc:spChg chg="add mod">
          <ac:chgData name="Alex Jordan" userId="30755697-3be4-4efa-ad5c-ca2e4102b45a" providerId="ADAL" clId="{FC76EA98-9B1A-4F2F-9A6E-876FE3C87E8A}" dt="2025-06-27T11:05:27.611" v="104784"/>
          <ac:spMkLst>
            <pc:docMk/>
            <pc:sldMk cId="1947910042" sldId="383"/>
            <ac:spMk id="39" creationId="{D2E0C93C-B9B6-0A29-0C50-F19C18262409}"/>
          </ac:spMkLst>
        </pc:spChg>
        <pc:spChg chg="add mod">
          <ac:chgData name="Alex Jordan" userId="30755697-3be4-4efa-ad5c-ca2e4102b45a" providerId="ADAL" clId="{FC76EA98-9B1A-4F2F-9A6E-876FE3C87E8A}" dt="2025-06-25T08:46:30.759" v="100671" actId="947"/>
          <ac:spMkLst>
            <pc:docMk/>
            <pc:sldMk cId="1947910042" sldId="383"/>
            <ac:spMk id="42" creationId="{7A717000-E4C5-B3B1-62C1-205B14104452}"/>
          </ac:spMkLst>
        </pc:spChg>
        <pc:spChg chg="add mod">
          <ac:chgData name="Alex Jordan" userId="30755697-3be4-4efa-ad5c-ca2e4102b45a" providerId="ADAL" clId="{FC76EA98-9B1A-4F2F-9A6E-876FE3C87E8A}" dt="2025-06-25T08:46:32.056" v="101958" actId="790"/>
          <ac:spMkLst>
            <pc:docMk/>
            <pc:sldMk cId="1947910042" sldId="383"/>
            <ac:spMk id="43" creationId="{FF7DF7CC-0709-6210-3EAA-95867F8BE0F1}"/>
          </ac:spMkLst>
        </pc:spChg>
        <pc:spChg chg="add mod">
          <ac:chgData name="Alex Jordan" userId="30755697-3be4-4efa-ad5c-ca2e4102b45a" providerId="ADAL" clId="{FC76EA98-9B1A-4F2F-9A6E-876FE3C87E8A}" dt="2025-06-25T08:46:30.759" v="100675" actId="947"/>
          <ac:spMkLst>
            <pc:docMk/>
            <pc:sldMk cId="1947910042" sldId="383"/>
            <ac:spMk id="44" creationId="{6D38F825-11A9-A3A5-215B-40CF2C441DCC}"/>
          </ac:spMkLst>
        </pc:spChg>
        <pc:spChg chg="add mod">
          <ac:chgData name="Alex Jordan" userId="30755697-3be4-4efa-ad5c-ca2e4102b45a" providerId="ADAL" clId="{FC76EA98-9B1A-4F2F-9A6E-876FE3C87E8A}" dt="2025-06-25T08:46:30.759" v="100677" actId="947"/>
          <ac:spMkLst>
            <pc:docMk/>
            <pc:sldMk cId="1947910042" sldId="383"/>
            <ac:spMk id="45" creationId="{93BF985D-4726-36EC-D015-9FFD0AD92F62}"/>
          </ac:spMkLst>
        </pc:spChg>
        <pc:spChg chg="add mod">
          <ac:chgData name="Alex Jordan" userId="30755697-3be4-4efa-ad5c-ca2e4102b45a" providerId="ADAL" clId="{FC76EA98-9B1A-4F2F-9A6E-876FE3C87E8A}" dt="2025-06-25T08:46:30.759" v="100679" actId="947"/>
          <ac:spMkLst>
            <pc:docMk/>
            <pc:sldMk cId="1947910042" sldId="383"/>
            <ac:spMk id="46" creationId="{CD5D54B6-7080-0288-CF38-EBE7AFCFF41C}"/>
          </ac:spMkLst>
        </pc:spChg>
        <pc:spChg chg="add mod">
          <ac:chgData name="Alex Jordan" userId="30755697-3be4-4efa-ad5c-ca2e4102b45a" providerId="ADAL" clId="{FC76EA98-9B1A-4F2F-9A6E-876FE3C87E8A}" dt="2025-06-25T08:46:30.744" v="100659" actId="947"/>
          <ac:spMkLst>
            <pc:docMk/>
            <pc:sldMk cId="1947910042" sldId="383"/>
            <ac:spMk id="77" creationId="{348A0C8A-3F07-F373-B470-1C0B7157C96D}"/>
          </ac:spMkLst>
        </pc:spChg>
        <pc:grpChg chg="add mod">
          <ac:chgData name="Alex Jordan" userId="30755697-3be4-4efa-ad5c-ca2e4102b45a" providerId="ADAL" clId="{FC76EA98-9B1A-4F2F-9A6E-876FE3C87E8A}" dt="2025-06-24T22:09:52.673" v="94064" actId="1076"/>
          <ac:grpSpMkLst>
            <pc:docMk/>
            <pc:sldMk cId="1947910042" sldId="383"/>
            <ac:grpSpMk id="41" creationId="{23C58360-CB3E-88BB-21F5-93FD6B5F6D61}"/>
          </ac:grpSpMkLst>
        </pc:grpChg>
        <pc:graphicFrameChg chg="mod">
          <ac:chgData name="Alex Jordan" userId="30755697-3be4-4efa-ad5c-ca2e4102b45a" providerId="ADAL" clId="{FC76EA98-9B1A-4F2F-9A6E-876FE3C87E8A}" dt="2025-06-25T08:46:34.903" v="103928"/>
          <ac:graphicFrameMkLst>
            <pc:docMk/>
            <pc:sldMk cId="1947910042" sldId="383"/>
            <ac:graphicFrameMk id="7" creationId="{A94C7944-A72F-0465-A26F-21761336B5F3}"/>
          </ac:graphicFrameMkLst>
        </pc:graphicFrameChg>
        <pc:cxnChg chg="add mod">
          <ac:chgData name="Alex Jordan" userId="30755697-3be4-4efa-ad5c-ca2e4102b45a" providerId="ADAL" clId="{FC76EA98-9B1A-4F2F-9A6E-876FE3C87E8A}" dt="2025-06-25T08:44:16.737" v="99120" actId="14100"/>
          <ac:cxnSpMkLst>
            <pc:docMk/>
            <pc:sldMk cId="1947910042" sldId="383"/>
            <ac:cxnSpMk id="25" creationId="{C0777719-DF27-866E-6706-842B5C27A766}"/>
          </ac:cxnSpMkLst>
        </pc:cxnChg>
        <pc:cxnChg chg="add mod">
          <ac:chgData name="Alex Jordan" userId="30755697-3be4-4efa-ad5c-ca2e4102b45a" providerId="ADAL" clId="{FC76EA98-9B1A-4F2F-9A6E-876FE3C87E8A}" dt="2025-06-25T08:44:22.163" v="99121" actId="14100"/>
          <ac:cxnSpMkLst>
            <pc:docMk/>
            <pc:sldMk cId="1947910042" sldId="383"/>
            <ac:cxnSpMk id="26" creationId="{30115324-9009-B345-92A2-048E8284124D}"/>
          </ac:cxnSpMkLst>
        </pc:cxnChg>
        <pc:cxnChg chg="add mod">
          <ac:chgData name="Alex Jordan" userId="30755697-3be4-4efa-ad5c-ca2e4102b45a" providerId="ADAL" clId="{FC76EA98-9B1A-4F2F-9A6E-876FE3C87E8A}" dt="2025-06-24T22:06:16.648" v="93745" actId="164"/>
          <ac:cxnSpMkLst>
            <pc:docMk/>
            <pc:sldMk cId="1947910042" sldId="383"/>
            <ac:cxnSpMk id="33" creationId="{2C419327-D5D1-8A06-2046-CCFCED87944C}"/>
          </ac:cxnSpMkLst>
        </pc:cxnChg>
        <pc:cxnChg chg="add mod">
          <ac:chgData name="Alex Jordan" userId="30755697-3be4-4efa-ad5c-ca2e4102b45a" providerId="ADAL" clId="{FC76EA98-9B1A-4F2F-9A6E-876FE3C87E8A}" dt="2025-06-24T22:06:16.648" v="93745" actId="164"/>
          <ac:cxnSpMkLst>
            <pc:docMk/>
            <pc:sldMk cId="1947910042" sldId="383"/>
            <ac:cxnSpMk id="40" creationId="{4DDEA333-05D1-1318-5468-029A5D3F9292}"/>
          </ac:cxnSpMkLst>
        </pc:cxnChg>
      </pc:sldChg>
      <pc:sldChg chg="addSp delSp modSp add mod modNotes">
        <pc:chgData name="Alex Jordan" userId="30755697-3be4-4efa-ad5c-ca2e4102b45a" providerId="ADAL" clId="{FC76EA98-9B1A-4F2F-9A6E-876FE3C87E8A}" dt="2025-06-27T11:05:27.611" v="104785"/>
        <pc:sldMkLst>
          <pc:docMk/>
          <pc:sldMk cId="3781317659" sldId="384"/>
        </pc:sldMkLst>
        <pc:spChg chg="mod">
          <ac:chgData name="Alex Jordan" userId="30755697-3be4-4efa-ad5c-ca2e4102b45a" providerId="ADAL" clId="{FC76EA98-9B1A-4F2F-9A6E-876FE3C87E8A}" dt="2025-06-25T08:46:33.455" v="102603" actId="948"/>
          <ac:spMkLst>
            <pc:docMk/>
            <pc:sldMk cId="3781317659" sldId="384"/>
            <ac:spMk id="2" creationId="{A244BDA0-E140-CD58-E55C-44AC34DE16B7}"/>
          </ac:spMkLst>
        </pc:spChg>
        <pc:spChg chg="del mod">
          <ac:chgData name="Alex Jordan" userId="30755697-3be4-4efa-ad5c-ca2e4102b45a" providerId="ADAL" clId="{FC76EA98-9B1A-4F2F-9A6E-876FE3C87E8A}" dt="2025-06-27T11:05:04.574" v="104759" actId="478"/>
          <ac:spMkLst>
            <pc:docMk/>
            <pc:sldMk cId="3781317659" sldId="384"/>
            <ac:spMk id="4" creationId="{4DD9323E-50A6-ADAE-3A19-E3DF259082FD}"/>
          </ac:spMkLst>
        </pc:spChg>
        <pc:spChg chg="del mod">
          <ac:chgData name="Alex Jordan" userId="30755697-3be4-4efa-ad5c-ca2e4102b45a" providerId="ADAL" clId="{FC76EA98-9B1A-4F2F-9A6E-876FE3C87E8A}" dt="2025-06-27T11:05:04.574" v="104759" actId="478"/>
          <ac:spMkLst>
            <pc:docMk/>
            <pc:sldMk cId="3781317659" sldId="384"/>
            <ac:spMk id="5" creationId="{AC39CF7C-79BE-1F99-C1E1-B9EC90ECC98B}"/>
          </ac:spMkLst>
        </pc:spChg>
        <pc:spChg chg="del mod">
          <ac:chgData name="Alex Jordan" userId="30755697-3be4-4efa-ad5c-ca2e4102b45a" providerId="ADAL" clId="{FC76EA98-9B1A-4F2F-9A6E-876FE3C87E8A}" dt="2025-06-27T11:05:04.574" v="104759" actId="478"/>
          <ac:spMkLst>
            <pc:docMk/>
            <pc:sldMk cId="3781317659" sldId="384"/>
            <ac:spMk id="6" creationId="{EB576D64-AE36-C997-2B04-5067B0D2B20B}"/>
          </ac:spMkLst>
        </pc:spChg>
        <pc:spChg chg="del mod">
          <ac:chgData name="Alex Jordan" userId="30755697-3be4-4efa-ad5c-ca2e4102b45a" providerId="ADAL" clId="{FC76EA98-9B1A-4F2F-9A6E-876FE3C87E8A}" dt="2025-06-27T11:05:04.574" v="104759" actId="478"/>
          <ac:spMkLst>
            <pc:docMk/>
            <pc:sldMk cId="3781317659" sldId="384"/>
            <ac:spMk id="8" creationId="{72EECABB-D4BF-7B22-5251-292CC657AAB8}"/>
          </ac:spMkLst>
        </pc:spChg>
        <pc:spChg chg="del mod">
          <ac:chgData name="Alex Jordan" userId="30755697-3be4-4efa-ad5c-ca2e4102b45a" providerId="ADAL" clId="{FC76EA98-9B1A-4F2F-9A6E-876FE3C87E8A}" dt="2025-06-27T11:05:04.574" v="104759" actId="478"/>
          <ac:spMkLst>
            <pc:docMk/>
            <pc:sldMk cId="3781317659" sldId="384"/>
            <ac:spMk id="9" creationId="{388E8B6F-7517-0F2C-9BD3-13D0868AACBA}"/>
          </ac:spMkLst>
        </pc:spChg>
        <pc:spChg chg="mod">
          <ac:chgData name="Alex Jordan" userId="30755697-3be4-4efa-ad5c-ca2e4102b45a" providerId="ADAL" clId="{FC76EA98-9B1A-4F2F-9A6E-876FE3C87E8A}" dt="2025-06-25T08:46:31.327" v="101209" actId="947"/>
          <ac:spMkLst>
            <pc:docMk/>
            <pc:sldMk cId="3781317659" sldId="384"/>
            <ac:spMk id="10" creationId="{4E774D24-C0A4-5432-BC7C-E288C2A45162}"/>
          </ac:spMkLst>
        </pc:spChg>
        <pc:spChg chg="mod">
          <ac:chgData name="Alex Jordan" userId="30755697-3be4-4efa-ad5c-ca2e4102b45a" providerId="ADAL" clId="{FC76EA98-9B1A-4F2F-9A6E-876FE3C87E8A}" dt="2025-06-25T08:46:31.327" v="101207" actId="947"/>
          <ac:spMkLst>
            <pc:docMk/>
            <pc:sldMk cId="3781317659" sldId="384"/>
            <ac:spMk id="11" creationId="{7CD037A5-180A-E949-AAD2-1481DEE74C5E}"/>
          </ac:spMkLst>
        </pc:spChg>
        <pc:spChg chg="mod">
          <ac:chgData name="Alex Jordan" userId="30755697-3be4-4efa-ad5c-ca2e4102b45a" providerId="ADAL" clId="{FC76EA98-9B1A-4F2F-9A6E-876FE3C87E8A}" dt="2025-06-25T08:46:31.327" v="101205" actId="947"/>
          <ac:spMkLst>
            <pc:docMk/>
            <pc:sldMk cId="3781317659" sldId="384"/>
            <ac:spMk id="14" creationId="{54CE3CF6-40CC-A6AA-6E83-EB2B3A98DA55}"/>
          </ac:spMkLst>
        </pc:spChg>
        <pc:spChg chg="add mod">
          <ac:chgData name="Alex Jordan" userId="30755697-3be4-4efa-ad5c-ca2e4102b45a" providerId="ADAL" clId="{FC76EA98-9B1A-4F2F-9A6E-876FE3C87E8A}" dt="2025-06-27T11:05:13.144" v="104760"/>
          <ac:spMkLst>
            <pc:docMk/>
            <pc:sldMk cId="3781317659" sldId="384"/>
            <ac:spMk id="24" creationId="{72A70C53-6536-77AA-333B-6EAD3578512F}"/>
          </ac:spMkLst>
        </pc:spChg>
        <pc:spChg chg="add mod">
          <ac:chgData name="Alex Jordan" userId="30755697-3be4-4efa-ad5c-ca2e4102b45a" providerId="ADAL" clId="{FC76EA98-9B1A-4F2F-9A6E-876FE3C87E8A}" dt="2025-06-27T11:05:13.144" v="104760"/>
          <ac:spMkLst>
            <pc:docMk/>
            <pc:sldMk cId="3781317659" sldId="384"/>
            <ac:spMk id="25" creationId="{3D1FFE18-0607-EEFD-68D3-258C740780D0}"/>
          </ac:spMkLst>
        </pc:spChg>
        <pc:spChg chg="add mod">
          <ac:chgData name="Alex Jordan" userId="30755697-3be4-4efa-ad5c-ca2e4102b45a" providerId="ADAL" clId="{FC76EA98-9B1A-4F2F-9A6E-876FE3C87E8A}" dt="2025-06-27T11:05:13.144" v="104760"/>
          <ac:spMkLst>
            <pc:docMk/>
            <pc:sldMk cId="3781317659" sldId="384"/>
            <ac:spMk id="26" creationId="{3AD34005-708F-2240-AF84-BF5CF467677D}"/>
          </ac:spMkLst>
        </pc:spChg>
        <pc:spChg chg="add mod">
          <ac:chgData name="Alex Jordan" userId="30755697-3be4-4efa-ad5c-ca2e4102b45a" providerId="ADAL" clId="{FC76EA98-9B1A-4F2F-9A6E-876FE3C87E8A}" dt="2025-06-27T11:05:27.611" v="104785"/>
          <ac:spMkLst>
            <pc:docMk/>
            <pc:sldMk cId="3781317659" sldId="384"/>
            <ac:spMk id="27" creationId="{AE91F5DA-C216-63D1-9FBD-85726EE0409D}"/>
          </ac:spMkLst>
        </pc:spChg>
        <pc:spChg chg="add mod">
          <ac:chgData name="Alex Jordan" userId="30755697-3be4-4efa-ad5c-ca2e4102b45a" providerId="ADAL" clId="{FC76EA98-9B1A-4F2F-9A6E-876FE3C87E8A}" dt="2025-06-27T11:05:27.611" v="104785"/>
          <ac:spMkLst>
            <pc:docMk/>
            <pc:sldMk cId="3781317659" sldId="384"/>
            <ac:spMk id="28" creationId="{E18C2A47-209A-69E6-73F5-91B8028BC8CD}"/>
          </ac:spMkLst>
        </pc:spChg>
        <pc:spChg chg="add mod">
          <ac:chgData name="Alex Jordan" userId="30755697-3be4-4efa-ad5c-ca2e4102b45a" providerId="ADAL" clId="{FC76EA98-9B1A-4F2F-9A6E-876FE3C87E8A}" dt="2025-06-27T11:05:27.611" v="104785"/>
          <ac:spMkLst>
            <pc:docMk/>
            <pc:sldMk cId="3781317659" sldId="384"/>
            <ac:spMk id="29" creationId="{E7D946B3-7560-EEB4-A3BC-E1CDA4C2FF15}"/>
          </ac:spMkLst>
        </pc:spChg>
        <pc:spChg chg="add mod">
          <ac:chgData name="Alex Jordan" userId="30755697-3be4-4efa-ad5c-ca2e4102b45a" providerId="ADAL" clId="{FC76EA98-9B1A-4F2F-9A6E-876FE3C87E8A}" dt="2025-06-27T11:05:27.611" v="104785"/>
          <ac:spMkLst>
            <pc:docMk/>
            <pc:sldMk cId="3781317659" sldId="384"/>
            <ac:spMk id="30" creationId="{9E3CE62A-E1D7-B808-D008-1F512B73B077}"/>
          </ac:spMkLst>
        </pc:spChg>
        <pc:spChg chg="mod">
          <ac:chgData name="Alex Jordan" userId="30755697-3be4-4efa-ad5c-ca2e4102b45a" providerId="ADAL" clId="{FC76EA98-9B1A-4F2F-9A6E-876FE3C87E8A}" dt="2025-06-25T08:46:31.344" v="101223" actId="947"/>
          <ac:spMkLst>
            <pc:docMk/>
            <pc:sldMk cId="3781317659" sldId="384"/>
            <ac:spMk id="38" creationId="{4D8123EC-1FDA-E0A0-6EF4-4BCDFCDD7B0B}"/>
          </ac:spMkLst>
        </pc:spChg>
        <pc:spChg chg="mod">
          <ac:chgData name="Alex Jordan" userId="30755697-3be4-4efa-ad5c-ca2e4102b45a" providerId="ADAL" clId="{FC76EA98-9B1A-4F2F-9A6E-876FE3C87E8A}" dt="2025-06-25T08:46:31.374" v="101249" actId="947"/>
          <ac:spMkLst>
            <pc:docMk/>
            <pc:sldMk cId="3781317659" sldId="384"/>
            <ac:spMk id="86" creationId="{C61432DB-84C0-4806-8908-3EB11CD7BE83}"/>
          </ac:spMkLst>
        </pc:spChg>
        <pc:spChg chg="add mod">
          <ac:chgData name="Alex Jordan" userId="30755697-3be4-4efa-ad5c-ca2e4102b45a" providerId="ADAL" clId="{FC76EA98-9B1A-4F2F-9A6E-876FE3C87E8A}" dt="2025-06-25T08:46:31.372" v="101247" actId="947"/>
          <ac:spMkLst>
            <pc:docMk/>
            <pc:sldMk cId="3781317659" sldId="384"/>
            <ac:spMk id="87" creationId="{8D11F9B9-3938-4DC0-0162-DB555ED12994}"/>
          </ac:spMkLst>
        </pc:spChg>
        <pc:spChg chg="mod">
          <ac:chgData name="Alex Jordan" userId="30755697-3be4-4efa-ad5c-ca2e4102b45a" providerId="ADAL" clId="{FC76EA98-9B1A-4F2F-9A6E-876FE3C87E8A}" dt="2025-06-25T08:46:31.370" v="101245" actId="947"/>
          <ac:spMkLst>
            <pc:docMk/>
            <pc:sldMk cId="3781317659" sldId="384"/>
            <ac:spMk id="88" creationId="{01697343-793C-C09C-B5B1-5515F6FEF428}"/>
          </ac:spMkLst>
        </pc:spChg>
        <pc:spChg chg="mod">
          <ac:chgData name="Alex Jordan" userId="30755697-3be4-4efa-ad5c-ca2e4102b45a" providerId="ADAL" clId="{FC76EA98-9B1A-4F2F-9A6E-876FE3C87E8A}" dt="2025-06-25T08:46:31.357" v="101243" actId="947"/>
          <ac:spMkLst>
            <pc:docMk/>
            <pc:sldMk cId="3781317659" sldId="384"/>
            <ac:spMk id="89" creationId="{9AA9ADD9-0D52-751D-C390-8915B175ECB8}"/>
          </ac:spMkLst>
        </pc:spChg>
        <pc:spChg chg="mod">
          <ac:chgData name="Alex Jordan" userId="30755697-3be4-4efa-ad5c-ca2e4102b45a" providerId="ADAL" clId="{FC76EA98-9B1A-4F2F-9A6E-876FE3C87E8A}" dt="2025-06-25T08:46:31.357" v="101241" actId="947"/>
          <ac:spMkLst>
            <pc:docMk/>
            <pc:sldMk cId="3781317659" sldId="384"/>
            <ac:spMk id="90" creationId="{FCF3484E-6762-9C4C-4155-C38B82B91699}"/>
          </ac:spMkLst>
        </pc:spChg>
        <pc:spChg chg="add mod">
          <ac:chgData name="Alex Jordan" userId="30755697-3be4-4efa-ad5c-ca2e4102b45a" providerId="ADAL" clId="{FC76EA98-9B1A-4F2F-9A6E-876FE3C87E8A}" dt="2025-06-25T08:46:32.056" v="101958" actId="790"/>
          <ac:spMkLst>
            <pc:docMk/>
            <pc:sldMk cId="3781317659" sldId="384"/>
            <ac:spMk id="91" creationId="{E351302F-8179-CA74-F231-3E87FA1FE360}"/>
          </ac:spMkLst>
        </pc:spChg>
        <pc:spChg chg="mod">
          <ac:chgData name="Alex Jordan" userId="30755697-3be4-4efa-ad5c-ca2e4102b45a" providerId="ADAL" clId="{FC76EA98-9B1A-4F2F-9A6E-876FE3C87E8A}" dt="2025-06-25T08:46:31.357" v="101237" actId="947"/>
          <ac:spMkLst>
            <pc:docMk/>
            <pc:sldMk cId="3781317659" sldId="384"/>
            <ac:spMk id="92" creationId="{63402F49-EB8C-E4BC-3357-540890BD6928}"/>
          </ac:spMkLst>
        </pc:spChg>
        <pc:spChg chg="mod">
          <ac:chgData name="Alex Jordan" userId="30755697-3be4-4efa-ad5c-ca2e4102b45a" providerId="ADAL" clId="{FC76EA98-9B1A-4F2F-9A6E-876FE3C87E8A}" dt="2025-06-25T08:46:31.357" v="101235" actId="947"/>
          <ac:spMkLst>
            <pc:docMk/>
            <pc:sldMk cId="3781317659" sldId="384"/>
            <ac:spMk id="93" creationId="{9A3A6AF4-48BB-225B-88F9-E435561352D3}"/>
          </ac:spMkLst>
        </pc:spChg>
        <pc:spChg chg="add mod">
          <ac:chgData name="Alex Jordan" userId="30755697-3be4-4efa-ad5c-ca2e4102b45a" providerId="ADAL" clId="{FC76EA98-9B1A-4F2F-9A6E-876FE3C87E8A}" dt="2025-06-25T08:46:32.056" v="101958" actId="790"/>
          <ac:spMkLst>
            <pc:docMk/>
            <pc:sldMk cId="3781317659" sldId="384"/>
            <ac:spMk id="94" creationId="{06B25FB2-68FD-A87A-1CF3-EEBD46A128E8}"/>
          </ac:spMkLst>
        </pc:spChg>
        <pc:spChg chg="mod">
          <ac:chgData name="Alex Jordan" userId="30755697-3be4-4efa-ad5c-ca2e4102b45a" providerId="ADAL" clId="{FC76EA98-9B1A-4F2F-9A6E-876FE3C87E8A}" dt="2025-06-25T08:46:31.347" v="101231" actId="947"/>
          <ac:spMkLst>
            <pc:docMk/>
            <pc:sldMk cId="3781317659" sldId="384"/>
            <ac:spMk id="95" creationId="{0EAFA059-C98A-AD05-6E19-6F6D5F73629D}"/>
          </ac:spMkLst>
        </pc:spChg>
        <pc:spChg chg="add mod">
          <ac:chgData name="Alex Jordan" userId="30755697-3be4-4efa-ad5c-ca2e4102b45a" providerId="ADAL" clId="{FC76EA98-9B1A-4F2F-9A6E-876FE3C87E8A}" dt="2025-06-25T08:46:32.056" v="101958" actId="790"/>
          <ac:spMkLst>
            <pc:docMk/>
            <pc:sldMk cId="3781317659" sldId="384"/>
            <ac:spMk id="96" creationId="{565936B6-9B85-4408-F59B-003CE1533060}"/>
          </ac:spMkLst>
        </pc:spChg>
        <pc:spChg chg="mod">
          <ac:chgData name="Alex Jordan" userId="30755697-3be4-4efa-ad5c-ca2e4102b45a" providerId="ADAL" clId="{FC76EA98-9B1A-4F2F-9A6E-876FE3C87E8A}" dt="2025-06-25T08:46:31.347" v="101227" actId="947"/>
          <ac:spMkLst>
            <pc:docMk/>
            <pc:sldMk cId="3781317659" sldId="384"/>
            <ac:spMk id="97" creationId="{ACCAD367-A794-3685-602A-6C97015C730E}"/>
          </ac:spMkLst>
        </pc:spChg>
        <pc:spChg chg="add mod">
          <ac:chgData name="Alex Jordan" userId="30755697-3be4-4efa-ad5c-ca2e4102b45a" providerId="ADAL" clId="{FC76EA98-9B1A-4F2F-9A6E-876FE3C87E8A}" dt="2025-06-25T08:46:32.056" v="101958" actId="790"/>
          <ac:spMkLst>
            <pc:docMk/>
            <pc:sldMk cId="3781317659" sldId="384"/>
            <ac:spMk id="98" creationId="{D8EE48F5-9CE4-2E53-1348-C2201BFD6342}"/>
          </ac:spMkLst>
        </pc:spChg>
        <pc:spChg chg="add mod">
          <ac:chgData name="Alex Jordan" userId="30755697-3be4-4efa-ad5c-ca2e4102b45a" providerId="ADAL" clId="{FC76EA98-9B1A-4F2F-9A6E-876FE3C87E8A}" dt="2025-06-25T08:46:31.378" v="101253" actId="947"/>
          <ac:spMkLst>
            <pc:docMk/>
            <pc:sldMk cId="3781317659" sldId="384"/>
            <ac:spMk id="99" creationId="{97BC6B8E-B983-AF25-3752-DE7F0970DAF3}"/>
          </ac:spMkLst>
        </pc:spChg>
        <pc:spChg chg="add mod">
          <ac:chgData name="Alex Jordan" userId="30755697-3be4-4efa-ad5c-ca2e4102b45a" providerId="ADAL" clId="{FC76EA98-9B1A-4F2F-9A6E-876FE3C87E8A}" dt="2025-06-25T08:46:31.376" v="101251" actId="947"/>
          <ac:spMkLst>
            <pc:docMk/>
            <pc:sldMk cId="3781317659" sldId="384"/>
            <ac:spMk id="100" creationId="{9925B449-C0CB-B94E-5A7A-3BC3A7DE53FE}"/>
          </ac:spMkLst>
        </pc:spChg>
        <pc:spChg chg="mod">
          <ac:chgData name="Alex Jordan" userId="30755697-3be4-4efa-ad5c-ca2e4102b45a" providerId="ADAL" clId="{FC76EA98-9B1A-4F2F-9A6E-876FE3C87E8A}" dt="2025-06-25T08:46:31.380" v="101257" actId="947"/>
          <ac:spMkLst>
            <pc:docMk/>
            <pc:sldMk cId="3781317659" sldId="384"/>
            <ac:spMk id="101" creationId="{AC047984-3F4B-7286-8453-E3651D1049FE}"/>
          </ac:spMkLst>
        </pc:spChg>
        <pc:spChg chg="mod">
          <ac:chgData name="Alex Jordan" userId="30755697-3be4-4efa-ad5c-ca2e4102b45a" providerId="ADAL" clId="{FC76EA98-9B1A-4F2F-9A6E-876FE3C87E8A}" dt="2025-06-25T08:46:31.378" v="101255" actId="947"/>
          <ac:spMkLst>
            <pc:docMk/>
            <pc:sldMk cId="3781317659" sldId="384"/>
            <ac:spMk id="102" creationId="{95028419-CEDA-B80A-1475-2F73B7593999}"/>
          </ac:spMkLst>
        </pc:spChg>
        <pc:spChg chg="add mod">
          <ac:chgData name="Alex Jordan" userId="30755697-3be4-4efa-ad5c-ca2e4102b45a" providerId="ADAL" clId="{FC76EA98-9B1A-4F2F-9A6E-876FE3C87E8A}" dt="2025-06-25T08:46:32.056" v="101958" actId="790"/>
          <ac:spMkLst>
            <pc:docMk/>
            <pc:sldMk cId="3781317659" sldId="384"/>
            <ac:spMk id="103" creationId="{226F1366-0119-42FD-5518-C8BB6ED98DB0}"/>
          </ac:spMkLst>
        </pc:spChg>
        <pc:spChg chg="add mod">
          <ac:chgData name="Alex Jordan" userId="30755697-3be4-4efa-ad5c-ca2e4102b45a" providerId="ADAL" clId="{FC76EA98-9B1A-4F2F-9A6E-876FE3C87E8A}" dt="2025-06-25T08:46:32.056" v="101958" actId="790"/>
          <ac:spMkLst>
            <pc:docMk/>
            <pc:sldMk cId="3781317659" sldId="384"/>
            <ac:spMk id="104" creationId="{2A70563E-01BF-D417-B5B8-336D1F5F6CB9}"/>
          </ac:spMkLst>
        </pc:spChg>
        <pc:spChg chg="mod">
          <ac:chgData name="Alex Jordan" userId="30755697-3be4-4efa-ad5c-ca2e4102b45a" providerId="ADAL" clId="{FC76EA98-9B1A-4F2F-9A6E-876FE3C87E8A}" dt="2025-06-25T08:46:31.387" v="101265" actId="947"/>
          <ac:spMkLst>
            <pc:docMk/>
            <pc:sldMk cId="3781317659" sldId="384"/>
            <ac:spMk id="105" creationId="{CBF8FC80-4CBC-BB12-D828-B2D6B2F06C7C}"/>
          </ac:spMkLst>
        </pc:spChg>
        <pc:spChg chg="add mod">
          <ac:chgData name="Alex Jordan" userId="30755697-3be4-4efa-ad5c-ca2e4102b45a" providerId="ADAL" clId="{FC76EA98-9B1A-4F2F-9A6E-876FE3C87E8A}" dt="2025-06-25T08:46:32.056" v="101958" actId="790"/>
          <ac:spMkLst>
            <pc:docMk/>
            <pc:sldMk cId="3781317659" sldId="384"/>
            <ac:spMk id="106" creationId="{10845E54-0CC6-2DF8-4591-587CEAF0B1DE}"/>
          </ac:spMkLst>
        </pc:spChg>
        <pc:grpChg chg="mod">
          <ac:chgData name="Alex Jordan" userId="30755697-3be4-4efa-ad5c-ca2e4102b45a" providerId="ADAL" clId="{FC76EA98-9B1A-4F2F-9A6E-876FE3C87E8A}" dt="2025-06-24T22:28:26.187" v="94665" actId="1076"/>
          <ac:grpSpMkLst>
            <pc:docMk/>
            <pc:sldMk cId="3781317659" sldId="384"/>
            <ac:grpSpMk id="107" creationId="{C3EE0FC5-5498-2AE9-A0D5-F3763FA74452}"/>
          </ac:grpSpMkLst>
        </pc:grpChg>
        <pc:graphicFrameChg chg="mod">
          <ac:chgData name="Alex Jordan" userId="30755697-3be4-4efa-ad5c-ca2e4102b45a" providerId="ADAL" clId="{FC76EA98-9B1A-4F2F-9A6E-876FE3C87E8A}" dt="2025-06-25T08:46:34.988" v="103990"/>
          <ac:graphicFrameMkLst>
            <pc:docMk/>
            <pc:sldMk cId="3781317659" sldId="384"/>
            <ac:graphicFrameMk id="7" creationId="{1BD30111-4C7C-878C-D8E4-94E28020A25B}"/>
          </ac:graphicFrameMkLst>
        </pc:graphicFrameChg>
        <pc:picChg chg="add mod">
          <ac:chgData name="Alex Jordan" userId="30755697-3be4-4efa-ad5c-ca2e4102b45a" providerId="ADAL" clId="{FC76EA98-9B1A-4F2F-9A6E-876FE3C87E8A}" dt="2025-06-24T22:21:26.377" v="94279" actId="14100"/>
          <ac:picMkLst>
            <pc:docMk/>
            <pc:sldMk cId="3781317659" sldId="384"/>
            <ac:picMk id="1026" creationId="{3EB8435F-6EFE-D1EF-F801-F0CC5787B740}"/>
          </ac:picMkLst>
        </pc:picChg>
      </pc:sldChg>
      <pc:sldChg chg="addSp delSp modSp add mod modNotes">
        <pc:chgData name="Alex Jordan" userId="30755697-3be4-4efa-ad5c-ca2e4102b45a" providerId="ADAL" clId="{FC76EA98-9B1A-4F2F-9A6E-876FE3C87E8A}" dt="2025-06-27T11:05:58.123" v="104795"/>
        <pc:sldMkLst>
          <pc:docMk/>
          <pc:sldMk cId="855028847" sldId="385"/>
        </pc:sldMkLst>
        <pc:spChg chg="mod">
          <ac:chgData name="Alex Jordan" userId="30755697-3be4-4efa-ad5c-ca2e4102b45a" providerId="ADAL" clId="{FC76EA98-9B1A-4F2F-9A6E-876FE3C87E8A}" dt="2025-06-25T08:46:33.678" v="102787" actId="948"/>
          <ac:spMkLst>
            <pc:docMk/>
            <pc:sldMk cId="855028847" sldId="385"/>
            <ac:spMk id="2" creationId="{43CF6AD0-D7A8-A91B-64AA-28BB215407FD}"/>
          </ac:spMkLst>
        </pc:spChg>
        <pc:spChg chg="add mod">
          <ac:chgData name="Alex Jordan" userId="30755697-3be4-4efa-ad5c-ca2e4102b45a" providerId="ADAL" clId="{FC76EA98-9B1A-4F2F-9A6E-876FE3C87E8A}" dt="2025-06-27T11:05:58.123" v="104795"/>
          <ac:spMkLst>
            <pc:docMk/>
            <pc:sldMk cId="855028847" sldId="385"/>
            <ac:spMk id="3" creationId="{07A4D7DA-B8BB-1970-D9F1-55EADD623E21}"/>
          </ac:spMkLst>
        </pc:spChg>
        <pc:spChg chg="del mod">
          <ac:chgData name="Alex Jordan" userId="30755697-3be4-4efa-ad5c-ca2e4102b45a" providerId="ADAL" clId="{FC76EA98-9B1A-4F2F-9A6E-876FE3C87E8A}" dt="2025-06-27T11:05:47.122" v="104791" actId="478"/>
          <ac:spMkLst>
            <pc:docMk/>
            <pc:sldMk cId="855028847" sldId="385"/>
            <ac:spMk id="4" creationId="{601DC162-E195-3059-5120-71F1AD15C887}"/>
          </ac:spMkLst>
        </pc:spChg>
        <pc:spChg chg="del mod">
          <ac:chgData name="Alex Jordan" userId="30755697-3be4-4efa-ad5c-ca2e4102b45a" providerId="ADAL" clId="{FC76EA98-9B1A-4F2F-9A6E-876FE3C87E8A}" dt="2025-06-27T11:05:47.122" v="104791" actId="478"/>
          <ac:spMkLst>
            <pc:docMk/>
            <pc:sldMk cId="855028847" sldId="385"/>
            <ac:spMk id="5" creationId="{DF4076B4-F11F-84DE-59D7-EC4115C5D8F5}"/>
          </ac:spMkLst>
        </pc:spChg>
        <pc:spChg chg="del mod">
          <ac:chgData name="Alex Jordan" userId="30755697-3be4-4efa-ad5c-ca2e4102b45a" providerId="ADAL" clId="{FC76EA98-9B1A-4F2F-9A6E-876FE3C87E8A}" dt="2025-06-27T11:05:47.122" v="104791" actId="478"/>
          <ac:spMkLst>
            <pc:docMk/>
            <pc:sldMk cId="855028847" sldId="385"/>
            <ac:spMk id="6" creationId="{83AC29D9-D08D-30D6-545D-20B4B1E05508}"/>
          </ac:spMkLst>
        </pc:spChg>
        <pc:spChg chg="del mod">
          <ac:chgData name="Alex Jordan" userId="30755697-3be4-4efa-ad5c-ca2e4102b45a" providerId="ADAL" clId="{FC76EA98-9B1A-4F2F-9A6E-876FE3C87E8A}" dt="2025-06-27T11:05:47.122" v="104791" actId="478"/>
          <ac:spMkLst>
            <pc:docMk/>
            <pc:sldMk cId="855028847" sldId="385"/>
            <ac:spMk id="8" creationId="{1C83ADC4-56F9-1A8C-B26E-6595C939B576}"/>
          </ac:spMkLst>
        </pc:spChg>
        <pc:spChg chg="del mod">
          <ac:chgData name="Alex Jordan" userId="30755697-3be4-4efa-ad5c-ca2e4102b45a" providerId="ADAL" clId="{FC76EA98-9B1A-4F2F-9A6E-876FE3C87E8A}" dt="2025-06-27T11:05:47.122" v="104791" actId="478"/>
          <ac:spMkLst>
            <pc:docMk/>
            <pc:sldMk cId="855028847" sldId="385"/>
            <ac:spMk id="9" creationId="{016B1B0D-C778-6B59-AB97-7BB70FF1643E}"/>
          </ac:spMkLst>
        </pc:spChg>
        <pc:spChg chg="add mod">
          <ac:chgData name="Alex Jordan" userId="30755697-3be4-4efa-ad5c-ca2e4102b45a" providerId="ADAL" clId="{FC76EA98-9B1A-4F2F-9A6E-876FE3C87E8A}" dt="2025-06-27T11:05:58.123" v="104795"/>
          <ac:spMkLst>
            <pc:docMk/>
            <pc:sldMk cId="855028847" sldId="385"/>
            <ac:spMk id="10" creationId="{323BF02D-B4A4-7BFF-A38B-3ED82C594F4B}"/>
          </ac:spMkLst>
        </pc:spChg>
        <pc:spChg chg="add mod">
          <ac:chgData name="Alex Jordan" userId="30755697-3be4-4efa-ad5c-ca2e4102b45a" providerId="ADAL" clId="{FC76EA98-9B1A-4F2F-9A6E-876FE3C87E8A}" dt="2025-06-27T11:05:58.123" v="104795"/>
          <ac:spMkLst>
            <pc:docMk/>
            <pc:sldMk cId="855028847" sldId="385"/>
            <ac:spMk id="11" creationId="{AACB5384-BAFA-7704-9517-4AC110D60C45}"/>
          </ac:spMkLst>
        </pc:spChg>
        <pc:spChg chg="add mod">
          <ac:chgData name="Alex Jordan" userId="30755697-3be4-4efa-ad5c-ca2e4102b45a" providerId="ADAL" clId="{FC76EA98-9B1A-4F2F-9A6E-876FE3C87E8A}" dt="2025-06-27T11:05:58.123" v="104795"/>
          <ac:spMkLst>
            <pc:docMk/>
            <pc:sldMk cId="855028847" sldId="385"/>
            <ac:spMk id="12" creationId="{7F581161-B90A-937C-8782-71EF00F1CAC0}"/>
          </ac:spMkLst>
        </pc:spChg>
        <pc:spChg chg="mod">
          <ac:chgData name="Alex Jordan" userId="30755697-3be4-4efa-ad5c-ca2e4102b45a" providerId="ADAL" clId="{FC76EA98-9B1A-4F2F-9A6E-876FE3C87E8A}" dt="2025-06-25T08:46:32.056" v="101958" actId="790"/>
          <ac:spMkLst>
            <pc:docMk/>
            <pc:sldMk cId="855028847" sldId="385"/>
            <ac:spMk id="25" creationId="{695904B0-E9BE-E6BE-6F52-C4D324DEDFB6}"/>
          </ac:spMkLst>
        </pc:spChg>
        <pc:spChg chg="mod">
          <ac:chgData name="Alex Jordan" userId="30755697-3be4-4efa-ad5c-ca2e4102b45a" providerId="ADAL" clId="{FC76EA98-9B1A-4F2F-9A6E-876FE3C87E8A}" dt="2025-06-25T08:46:32.056" v="101958" actId="790"/>
          <ac:spMkLst>
            <pc:docMk/>
            <pc:sldMk cId="855028847" sldId="385"/>
            <ac:spMk id="27" creationId="{B7F8EB12-406D-84B9-F73E-BD3CECCA65F5}"/>
          </ac:spMkLst>
        </pc:spChg>
        <pc:spChg chg="mod">
          <ac:chgData name="Alex Jordan" userId="30755697-3be4-4efa-ad5c-ca2e4102b45a" providerId="ADAL" clId="{FC76EA98-9B1A-4F2F-9A6E-876FE3C87E8A}" dt="2025-06-25T08:46:32.056" v="101958" actId="790"/>
          <ac:spMkLst>
            <pc:docMk/>
            <pc:sldMk cId="855028847" sldId="385"/>
            <ac:spMk id="28" creationId="{1D6E3170-1A2C-5962-6EF7-FDAC42DE87C5}"/>
          </ac:spMkLst>
        </pc:spChg>
        <pc:spChg chg="mod">
          <ac:chgData name="Alex Jordan" userId="30755697-3be4-4efa-ad5c-ca2e4102b45a" providerId="ADAL" clId="{FC76EA98-9B1A-4F2F-9A6E-876FE3C87E8A}" dt="2025-06-25T08:46:32.056" v="101958" actId="790"/>
          <ac:spMkLst>
            <pc:docMk/>
            <pc:sldMk cId="855028847" sldId="385"/>
            <ac:spMk id="32" creationId="{E42FD6CC-F5BC-00BC-4391-5B00E621B8DE}"/>
          </ac:spMkLst>
        </pc:spChg>
        <pc:spChg chg="mod">
          <ac:chgData name="Alex Jordan" userId="30755697-3be4-4efa-ad5c-ca2e4102b45a" providerId="ADAL" clId="{FC76EA98-9B1A-4F2F-9A6E-876FE3C87E8A}" dt="2025-06-25T08:46:32.056" v="101958" actId="790"/>
          <ac:spMkLst>
            <pc:docMk/>
            <pc:sldMk cId="855028847" sldId="385"/>
            <ac:spMk id="33" creationId="{C1158C14-E446-61C8-4267-86FA53F82CB4}"/>
          </ac:spMkLst>
        </pc:spChg>
        <pc:spChg chg="mod">
          <ac:chgData name="Alex Jordan" userId="30755697-3be4-4efa-ad5c-ca2e4102b45a" providerId="ADAL" clId="{FC76EA98-9B1A-4F2F-9A6E-876FE3C87E8A}" dt="2025-06-25T08:46:32.056" v="101958" actId="790"/>
          <ac:spMkLst>
            <pc:docMk/>
            <pc:sldMk cId="855028847" sldId="385"/>
            <ac:spMk id="36" creationId="{D4B57EF3-4E85-05C1-A48D-195DA716F68F}"/>
          </ac:spMkLst>
        </pc:spChg>
        <pc:spChg chg="mod">
          <ac:chgData name="Alex Jordan" userId="30755697-3be4-4efa-ad5c-ca2e4102b45a" providerId="ADAL" clId="{FC76EA98-9B1A-4F2F-9A6E-876FE3C87E8A}" dt="2025-06-25T08:46:31.873" v="101811" actId="947"/>
          <ac:spMkLst>
            <pc:docMk/>
            <pc:sldMk cId="855028847" sldId="385"/>
            <ac:spMk id="50" creationId="{BCD893E0-86FA-B304-8403-FEE6B901DD59}"/>
          </ac:spMkLst>
        </pc:spChg>
        <pc:spChg chg="mod">
          <ac:chgData name="Alex Jordan" userId="30755697-3be4-4efa-ad5c-ca2e4102b45a" providerId="ADAL" clId="{FC76EA98-9B1A-4F2F-9A6E-876FE3C87E8A}" dt="2025-06-25T08:46:31.873" v="101809" actId="947"/>
          <ac:spMkLst>
            <pc:docMk/>
            <pc:sldMk cId="855028847" sldId="385"/>
            <ac:spMk id="51" creationId="{98E3F90A-2C09-F569-292A-DD8C096F9718}"/>
          </ac:spMkLst>
        </pc:spChg>
        <pc:spChg chg="mod">
          <ac:chgData name="Alex Jordan" userId="30755697-3be4-4efa-ad5c-ca2e4102b45a" providerId="ADAL" clId="{FC76EA98-9B1A-4F2F-9A6E-876FE3C87E8A}" dt="2025-06-25T08:46:32.056" v="101958" actId="790"/>
          <ac:spMkLst>
            <pc:docMk/>
            <pc:sldMk cId="855028847" sldId="385"/>
            <ac:spMk id="56" creationId="{1E4A0233-17F5-F8D1-6A10-08CA9F458AB9}"/>
          </ac:spMkLst>
        </pc:spChg>
        <pc:spChg chg="mod">
          <ac:chgData name="Alex Jordan" userId="30755697-3be4-4efa-ad5c-ca2e4102b45a" providerId="ADAL" clId="{FC76EA98-9B1A-4F2F-9A6E-876FE3C87E8A}" dt="2025-06-25T08:46:31.873" v="101805" actId="947"/>
          <ac:spMkLst>
            <pc:docMk/>
            <pc:sldMk cId="855028847" sldId="385"/>
            <ac:spMk id="57" creationId="{8F1E97A1-C1D9-E601-7846-9B9CA90B6B39}"/>
          </ac:spMkLst>
        </pc:spChg>
        <pc:spChg chg="mod">
          <ac:chgData name="Alex Jordan" userId="30755697-3be4-4efa-ad5c-ca2e4102b45a" providerId="ADAL" clId="{FC76EA98-9B1A-4F2F-9A6E-876FE3C87E8A}" dt="2025-06-25T08:46:31.873" v="101803" actId="947"/>
          <ac:spMkLst>
            <pc:docMk/>
            <pc:sldMk cId="855028847" sldId="385"/>
            <ac:spMk id="58" creationId="{7578D181-F52B-5275-81ED-847C617C0AA3}"/>
          </ac:spMkLst>
        </pc:spChg>
        <pc:spChg chg="mod">
          <ac:chgData name="Alex Jordan" userId="30755697-3be4-4efa-ad5c-ca2e4102b45a" providerId="ADAL" clId="{FC76EA98-9B1A-4F2F-9A6E-876FE3C87E8A}" dt="2025-06-25T08:46:31.873" v="101801" actId="947"/>
          <ac:spMkLst>
            <pc:docMk/>
            <pc:sldMk cId="855028847" sldId="385"/>
            <ac:spMk id="59" creationId="{3356FD48-83A7-8412-D6AC-8E5D442C4111}"/>
          </ac:spMkLst>
        </pc:spChg>
        <pc:grpChg chg="mod">
          <ac:chgData name="Alex Jordan" userId="30755697-3be4-4efa-ad5c-ca2e4102b45a" providerId="ADAL" clId="{FC76EA98-9B1A-4F2F-9A6E-876FE3C87E8A}" dt="2025-06-24T22:41:04" v="95292" actId="207"/>
          <ac:grpSpMkLst>
            <pc:docMk/>
            <pc:sldMk cId="855028847" sldId="385"/>
            <ac:grpSpMk id="18" creationId="{33253FB9-378D-EAC9-0E04-E3E7439C51A2}"/>
          </ac:grpSpMkLst>
        </pc:grpChg>
        <pc:grpChg chg="mod">
          <ac:chgData name="Alex Jordan" userId="30755697-3be4-4efa-ad5c-ca2e4102b45a" providerId="ADAL" clId="{FC76EA98-9B1A-4F2F-9A6E-876FE3C87E8A}" dt="2025-06-24T22:40:57.137" v="95290" actId="207"/>
          <ac:grpSpMkLst>
            <pc:docMk/>
            <pc:sldMk cId="855028847" sldId="385"/>
            <ac:grpSpMk id="22" creationId="{98CAB7CD-CAA2-338A-61EA-6DB3DBD8935B}"/>
          </ac:grpSpMkLst>
        </pc:grpChg>
        <pc:graphicFrameChg chg="mod">
          <ac:chgData name="Alex Jordan" userId="30755697-3be4-4efa-ad5c-ca2e4102b45a" providerId="ADAL" clId="{FC76EA98-9B1A-4F2F-9A6E-876FE3C87E8A}" dt="2025-06-25T08:46:35.038" v="104030"/>
          <ac:graphicFrameMkLst>
            <pc:docMk/>
            <pc:sldMk cId="855028847" sldId="385"/>
            <ac:graphicFrameMk id="7" creationId="{BEFFEA69-11C6-9DA0-A758-512111FD5421}"/>
          </ac:graphicFrameMkLst>
        </pc:graphicFrameChg>
        <pc:graphicFrameChg chg="mod modGraphic">
          <ac:chgData name="Alex Jordan" userId="30755697-3be4-4efa-ad5c-ca2e4102b45a" providerId="ADAL" clId="{FC76EA98-9B1A-4F2F-9A6E-876FE3C87E8A}" dt="2025-06-25T08:46:31.862" v="101799" actId="947"/>
          <ac:graphicFrameMkLst>
            <pc:docMk/>
            <pc:sldMk cId="855028847" sldId="385"/>
            <ac:graphicFrameMk id="17" creationId="{F7A00ECF-1D50-153E-FD7A-567440D41DBC}"/>
          </ac:graphicFrameMkLst>
        </pc:graphicFrameChg>
        <pc:picChg chg="mod">
          <ac:chgData name="Alex Jordan" userId="30755697-3be4-4efa-ad5c-ca2e4102b45a" providerId="ADAL" clId="{FC76EA98-9B1A-4F2F-9A6E-876FE3C87E8A}" dt="2025-06-24T22:40:50.225" v="95289" actId="1076"/>
          <ac:picMkLst>
            <pc:docMk/>
            <pc:sldMk cId="855028847" sldId="385"/>
            <ac:picMk id="80" creationId="{BA2C19A7-1EB2-FCAD-6015-FEAA8CB1B9C1}"/>
          </ac:picMkLst>
        </pc:picChg>
        <pc:picChg chg="mod">
          <ac:chgData name="Alex Jordan" userId="30755697-3be4-4efa-ad5c-ca2e4102b45a" providerId="ADAL" clId="{FC76EA98-9B1A-4F2F-9A6E-876FE3C87E8A}" dt="2025-06-24T22:40:50.225" v="95289" actId="1076"/>
          <ac:picMkLst>
            <pc:docMk/>
            <pc:sldMk cId="855028847" sldId="385"/>
            <ac:picMk id="82" creationId="{EAC6A25E-CD22-B9DC-F549-57B6E6871B19}"/>
          </ac:picMkLst>
        </pc:picChg>
        <pc:picChg chg="mod">
          <ac:chgData name="Alex Jordan" userId="30755697-3be4-4efa-ad5c-ca2e4102b45a" providerId="ADAL" clId="{FC76EA98-9B1A-4F2F-9A6E-876FE3C87E8A}" dt="2025-06-24T22:40:50.225" v="95289" actId="1076"/>
          <ac:picMkLst>
            <pc:docMk/>
            <pc:sldMk cId="855028847" sldId="385"/>
            <ac:picMk id="84" creationId="{BD0B85E5-836E-8622-46FB-52E9720C9953}"/>
          </ac:picMkLst>
        </pc:picChg>
      </pc:sldChg>
      <pc:sldChg chg="addSp delSp modSp add mod modNotes">
        <pc:chgData name="Alex Jordan" userId="30755697-3be4-4efa-ad5c-ca2e4102b45a" providerId="ADAL" clId="{FC76EA98-9B1A-4F2F-9A6E-876FE3C87E8A}" dt="2025-06-27T11:05:58.119" v="104794"/>
        <pc:sldMkLst>
          <pc:docMk/>
          <pc:sldMk cId="3586071353" sldId="386"/>
        </pc:sldMkLst>
        <pc:spChg chg="mod">
          <ac:chgData name="Alex Jordan" userId="30755697-3be4-4efa-ad5c-ca2e4102b45a" providerId="ADAL" clId="{FC76EA98-9B1A-4F2F-9A6E-876FE3C87E8A}" dt="2025-06-25T08:46:33.649" v="102766" actId="948"/>
          <ac:spMkLst>
            <pc:docMk/>
            <pc:sldMk cId="3586071353" sldId="386"/>
            <ac:spMk id="2" creationId="{86D75EDB-C26C-5E85-6919-4F573E343713}"/>
          </ac:spMkLst>
        </pc:spChg>
        <pc:spChg chg="add mod">
          <ac:chgData name="Alex Jordan" userId="30755697-3be4-4efa-ad5c-ca2e4102b45a" providerId="ADAL" clId="{FC76EA98-9B1A-4F2F-9A6E-876FE3C87E8A}" dt="2025-06-27T11:05:58.119" v="104794"/>
          <ac:spMkLst>
            <pc:docMk/>
            <pc:sldMk cId="3586071353" sldId="386"/>
            <ac:spMk id="3" creationId="{96E0C039-7393-1B73-CF69-AC836180DAC2}"/>
          </ac:spMkLst>
        </pc:spChg>
        <pc:spChg chg="del mod">
          <ac:chgData name="Alex Jordan" userId="30755697-3be4-4efa-ad5c-ca2e4102b45a" providerId="ADAL" clId="{FC76EA98-9B1A-4F2F-9A6E-876FE3C87E8A}" dt="2025-06-27T11:05:49.485" v="104792" actId="478"/>
          <ac:spMkLst>
            <pc:docMk/>
            <pc:sldMk cId="3586071353" sldId="386"/>
            <ac:spMk id="4" creationId="{71786361-1CA8-F255-246D-2F7A88558C8E}"/>
          </ac:spMkLst>
        </pc:spChg>
        <pc:spChg chg="del mod">
          <ac:chgData name="Alex Jordan" userId="30755697-3be4-4efa-ad5c-ca2e4102b45a" providerId="ADAL" clId="{FC76EA98-9B1A-4F2F-9A6E-876FE3C87E8A}" dt="2025-06-27T11:05:49.485" v="104792" actId="478"/>
          <ac:spMkLst>
            <pc:docMk/>
            <pc:sldMk cId="3586071353" sldId="386"/>
            <ac:spMk id="5" creationId="{1EDD1E02-2F64-FC57-921A-A29A8BF41EDB}"/>
          </ac:spMkLst>
        </pc:spChg>
        <pc:spChg chg="del mod">
          <ac:chgData name="Alex Jordan" userId="30755697-3be4-4efa-ad5c-ca2e4102b45a" providerId="ADAL" clId="{FC76EA98-9B1A-4F2F-9A6E-876FE3C87E8A}" dt="2025-06-27T11:05:49.485" v="104792" actId="478"/>
          <ac:spMkLst>
            <pc:docMk/>
            <pc:sldMk cId="3586071353" sldId="386"/>
            <ac:spMk id="6" creationId="{B7274914-489E-F2EF-1E83-E63228BD88EE}"/>
          </ac:spMkLst>
        </pc:spChg>
        <pc:spChg chg="del mod">
          <ac:chgData name="Alex Jordan" userId="30755697-3be4-4efa-ad5c-ca2e4102b45a" providerId="ADAL" clId="{FC76EA98-9B1A-4F2F-9A6E-876FE3C87E8A}" dt="2025-06-27T11:05:49.485" v="104792" actId="478"/>
          <ac:spMkLst>
            <pc:docMk/>
            <pc:sldMk cId="3586071353" sldId="386"/>
            <ac:spMk id="8" creationId="{DD6189ED-3A8A-1E3F-3F5F-82DB04BDFBBE}"/>
          </ac:spMkLst>
        </pc:spChg>
        <pc:spChg chg="del mod">
          <ac:chgData name="Alex Jordan" userId="30755697-3be4-4efa-ad5c-ca2e4102b45a" providerId="ADAL" clId="{FC76EA98-9B1A-4F2F-9A6E-876FE3C87E8A}" dt="2025-06-27T11:05:49.485" v="104792" actId="478"/>
          <ac:spMkLst>
            <pc:docMk/>
            <pc:sldMk cId="3586071353" sldId="386"/>
            <ac:spMk id="9" creationId="{C89A1B97-AF16-3D35-3B83-669000C62A15}"/>
          </ac:spMkLst>
        </pc:spChg>
        <pc:spChg chg="add mod">
          <ac:chgData name="Alex Jordan" userId="30755697-3be4-4efa-ad5c-ca2e4102b45a" providerId="ADAL" clId="{FC76EA98-9B1A-4F2F-9A6E-876FE3C87E8A}" dt="2025-06-27T11:05:58.119" v="104794"/>
          <ac:spMkLst>
            <pc:docMk/>
            <pc:sldMk cId="3586071353" sldId="386"/>
            <ac:spMk id="10" creationId="{38D57F46-0864-C85E-30FD-8106ACDE1EC5}"/>
          </ac:spMkLst>
        </pc:spChg>
        <pc:spChg chg="add mod">
          <ac:chgData name="Alex Jordan" userId="30755697-3be4-4efa-ad5c-ca2e4102b45a" providerId="ADAL" clId="{FC76EA98-9B1A-4F2F-9A6E-876FE3C87E8A}" dt="2025-06-27T11:05:58.119" v="104794"/>
          <ac:spMkLst>
            <pc:docMk/>
            <pc:sldMk cId="3586071353" sldId="386"/>
            <ac:spMk id="11" creationId="{FC9E1353-B775-DEE7-9670-5EB14EE121D8}"/>
          </ac:spMkLst>
        </pc:spChg>
        <pc:spChg chg="add mod">
          <ac:chgData name="Alex Jordan" userId="30755697-3be4-4efa-ad5c-ca2e4102b45a" providerId="ADAL" clId="{FC76EA98-9B1A-4F2F-9A6E-876FE3C87E8A}" dt="2025-06-27T11:05:58.119" v="104794"/>
          <ac:spMkLst>
            <pc:docMk/>
            <pc:sldMk cId="3586071353" sldId="386"/>
            <ac:spMk id="12" creationId="{C9992725-8957-9487-F614-3CE6DC8A4DBD}"/>
          </ac:spMkLst>
        </pc:spChg>
        <pc:spChg chg="mod">
          <ac:chgData name="Alex Jordan" userId="30755697-3be4-4efa-ad5c-ca2e4102b45a" providerId="ADAL" clId="{FC76EA98-9B1A-4F2F-9A6E-876FE3C87E8A}" dt="2025-06-25T08:46:32.056" v="101958" actId="790"/>
          <ac:spMkLst>
            <pc:docMk/>
            <pc:sldMk cId="3586071353" sldId="386"/>
            <ac:spMk id="25" creationId="{17DDE111-A293-16DA-8CE5-FC06060C0747}"/>
          </ac:spMkLst>
        </pc:spChg>
        <pc:spChg chg="mod">
          <ac:chgData name="Alex Jordan" userId="30755697-3be4-4efa-ad5c-ca2e4102b45a" providerId="ADAL" clId="{FC76EA98-9B1A-4F2F-9A6E-876FE3C87E8A}" dt="2025-06-25T08:46:32.056" v="101958" actId="790"/>
          <ac:spMkLst>
            <pc:docMk/>
            <pc:sldMk cId="3586071353" sldId="386"/>
            <ac:spMk id="27" creationId="{9B5187C6-3203-213C-1758-6C5CB3D20A5E}"/>
          </ac:spMkLst>
        </pc:spChg>
        <pc:spChg chg="mod">
          <ac:chgData name="Alex Jordan" userId="30755697-3be4-4efa-ad5c-ca2e4102b45a" providerId="ADAL" clId="{FC76EA98-9B1A-4F2F-9A6E-876FE3C87E8A}" dt="2025-06-25T08:46:32.056" v="101958" actId="790"/>
          <ac:spMkLst>
            <pc:docMk/>
            <pc:sldMk cId="3586071353" sldId="386"/>
            <ac:spMk id="28" creationId="{D0B6E0EF-5480-14F7-3BBF-3AE0C3F97806}"/>
          </ac:spMkLst>
        </pc:spChg>
        <pc:spChg chg="mod">
          <ac:chgData name="Alex Jordan" userId="30755697-3be4-4efa-ad5c-ca2e4102b45a" providerId="ADAL" clId="{FC76EA98-9B1A-4F2F-9A6E-876FE3C87E8A}" dt="2025-06-25T08:46:32.056" v="101958" actId="790"/>
          <ac:spMkLst>
            <pc:docMk/>
            <pc:sldMk cId="3586071353" sldId="386"/>
            <ac:spMk id="32" creationId="{CDB3CA1F-50C6-77EE-AF4D-1E6981B1E041}"/>
          </ac:spMkLst>
        </pc:spChg>
        <pc:spChg chg="mod">
          <ac:chgData name="Alex Jordan" userId="30755697-3be4-4efa-ad5c-ca2e4102b45a" providerId="ADAL" clId="{FC76EA98-9B1A-4F2F-9A6E-876FE3C87E8A}" dt="2025-06-25T08:46:31.763" v="101631" actId="947"/>
          <ac:spMkLst>
            <pc:docMk/>
            <pc:sldMk cId="3586071353" sldId="386"/>
            <ac:spMk id="33" creationId="{B0C3A501-D16A-5B84-D300-70CF1CCD7EA4}"/>
          </ac:spMkLst>
        </pc:spChg>
        <pc:spChg chg="mod">
          <ac:chgData name="Alex Jordan" userId="30755697-3be4-4efa-ad5c-ca2e4102b45a" providerId="ADAL" clId="{FC76EA98-9B1A-4F2F-9A6E-876FE3C87E8A}" dt="2025-06-25T08:46:32.056" v="101958" actId="790"/>
          <ac:spMkLst>
            <pc:docMk/>
            <pc:sldMk cId="3586071353" sldId="386"/>
            <ac:spMk id="36" creationId="{061DCC9F-8C38-5B24-DB64-DF1EF19E3C37}"/>
          </ac:spMkLst>
        </pc:spChg>
        <pc:spChg chg="mod">
          <ac:chgData name="Alex Jordan" userId="30755697-3be4-4efa-ad5c-ca2e4102b45a" providerId="ADAL" clId="{FC76EA98-9B1A-4F2F-9A6E-876FE3C87E8A}" dt="2025-06-25T08:46:31.751" v="101621" actId="947"/>
          <ac:spMkLst>
            <pc:docMk/>
            <pc:sldMk cId="3586071353" sldId="386"/>
            <ac:spMk id="50" creationId="{46730C31-5336-8E66-BBE7-AB053353951E}"/>
          </ac:spMkLst>
        </pc:spChg>
        <pc:spChg chg="mod">
          <ac:chgData name="Alex Jordan" userId="30755697-3be4-4efa-ad5c-ca2e4102b45a" providerId="ADAL" clId="{FC76EA98-9B1A-4F2F-9A6E-876FE3C87E8A}" dt="2025-06-25T08:46:31.751" v="101619" actId="947"/>
          <ac:spMkLst>
            <pc:docMk/>
            <pc:sldMk cId="3586071353" sldId="386"/>
            <ac:spMk id="51" creationId="{601EEF4C-6F6B-3E78-768C-32E7B7FF8919}"/>
          </ac:spMkLst>
        </pc:spChg>
        <pc:spChg chg="mod">
          <ac:chgData name="Alex Jordan" userId="30755697-3be4-4efa-ad5c-ca2e4102b45a" providerId="ADAL" clId="{FC76EA98-9B1A-4F2F-9A6E-876FE3C87E8A}" dt="2025-06-25T08:46:32.056" v="101958" actId="790"/>
          <ac:spMkLst>
            <pc:docMk/>
            <pc:sldMk cId="3586071353" sldId="386"/>
            <ac:spMk id="56" creationId="{AF625B78-2843-E78E-CB87-6A923F52C575}"/>
          </ac:spMkLst>
        </pc:spChg>
        <pc:spChg chg="mod">
          <ac:chgData name="Alex Jordan" userId="30755697-3be4-4efa-ad5c-ca2e4102b45a" providerId="ADAL" clId="{FC76EA98-9B1A-4F2F-9A6E-876FE3C87E8A}" dt="2025-06-25T08:46:31.748" v="101615" actId="947"/>
          <ac:spMkLst>
            <pc:docMk/>
            <pc:sldMk cId="3586071353" sldId="386"/>
            <ac:spMk id="57" creationId="{C919F718-275B-97D5-CB73-462F70D311FD}"/>
          </ac:spMkLst>
        </pc:spChg>
        <pc:spChg chg="mod">
          <ac:chgData name="Alex Jordan" userId="30755697-3be4-4efa-ad5c-ca2e4102b45a" providerId="ADAL" clId="{FC76EA98-9B1A-4F2F-9A6E-876FE3C87E8A}" dt="2025-06-25T08:46:31.748" v="101613" actId="947"/>
          <ac:spMkLst>
            <pc:docMk/>
            <pc:sldMk cId="3586071353" sldId="386"/>
            <ac:spMk id="58" creationId="{E405FCE2-280D-F386-790D-49A954295CA0}"/>
          </ac:spMkLst>
        </pc:spChg>
        <pc:spChg chg="mod">
          <ac:chgData name="Alex Jordan" userId="30755697-3be4-4efa-ad5c-ca2e4102b45a" providerId="ADAL" clId="{FC76EA98-9B1A-4F2F-9A6E-876FE3C87E8A}" dt="2025-06-25T08:46:32.056" v="101958" actId="790"/>
          <ac:spMkLst>
            <pc:docMk/>
            <pc:sldMk cId="3586071353" sldId="386"/>
            <ac:spMk id="59" creationId="{BA35F57E-3C29-6F04-B178-263912D9F4D5}"/>
          </ac:spMkLst>
        </pc:spChg>
        <pc:grpChg chg="mod">
          <ac:chgData name="Alex Jordan" userId="30755697-3be4-4efa-ad5c-ca2e4102b45a" providerId="ADAL" clId="{FC76EA98-9B1A-4F2F-9A6E-876FE3C87E8A}" dt="2025-06-24T22:41:10.901" v="95295" actId="207"/>
          <ac:grpSpMkLst>
            <pc:docMk/>
            <pc:sldMk cId="3586071353" sldId="386"/>
            <ac:grpSpMk id="18" creationId="{EBF935B5-3890-1726-88AB-8BF3429D85E8}"/>
          </ac:grpSpMkLst>
        </pc:grpChg>
        <pc:grpChg chg="mod">
          <ac:chgData name="Alex Jordan" userId="30755697-3be4-4efa-ad5c-ca2e4102b45a" providerId="ADAL" clId="{FC76EA98-9B1A-4F2F-9A6E-876FE3C87E8A}" dt="2025-06-24T22:41:13.677" v="95296" actId="207"/>
          <ac:grpSpMkLst>
            <pc:docMk/>
            <pc:sldMk cId="3586071353" sldId="386"/>
            <ac:grpSpMk id="19" creationId="{50F30B07-5AB6-2362-EA38-34D523613CB1}"/>
          </ac:grpSpMkLst>
        </pc:grpChg>
        <pc:grpChg chg="mod">
          <ac:chgData name="Alex Jordan" userId="30755697-3be4-4efa-ad5c-ca2e4102b45a" providerId="ADAL" clId="{FC76EA98-9B1A-4F2F-9A6E-876FE3C87E8A}" dt="2025-06-24T22:41:20.589" v="95299" actId="1076"/>
          <ac:grpSpMkLst>
            <pc:docMk/>
            <pc:sldMk cId="3586071353" sldId="386"/>
            <ac:grpSpMk id="22" creationId="{71BC6C11-25C9-31C4-9C9D-D389C4DE7C22}"/>
          </ac:grpSpMkLst>
        </pc:grpChg>
        <pc:graphicFrameChg chg="mod">
          <ac:chgData name="Alex Jordan" userId="30755697-3be4-4efa-ad5c-ca2e4102b45a" providerId="ADAL" clId="{FC76EA98-9B1A-4F2F-9A6E-876FE3C87E8A}" dt="2025-06-25T08:46:35.033" v="104026"/>
          <ac:graphicFrameMkLst>
            <pc:docMk/>
            <pc:sldMk cId="3586071353" sldId="386"/>
            <ac:graphicFrameMk id="7" creationId="{E54824BD-B99F-2BD6-5509-0D307FF99AF9}"/>
          </ac:graphicFrameMkLst>
        </pc:graphicFrameChg>
        <pc:graphicFrameChg chg="mod modGraphic">
          <ac:chgData name="Alex Jordan" userId="30755697-3be4-4efa-ad5c-ca2e4102b45a" providerId="ADAL" clId="{FC76EA98-9B1A-4F2F-9A6E-876FE3C87E8A}" dt="2025-06-25T08:46:31.744" v="101609" actId="947"/>
          <ac:graphicFrameMkLst>
            <pc:docMk/>
            <pc:sldMk cId="3586071353" sldId="386"/>
            <ac:graphicFrameMk id="17" creationId="{98D2C585-8ABB-60EE-0A31-671C866F91CC}"/>
          </ac:graphicFrameMkLst>
        </pc:graphicFrameChg>
        <pc:picChg chg="mod">
          <ac:chgData name="Alex Jordan" userId="30755697-3be4-4efa-ad5c-ca2e4102b45a" providerId="ADAL" clId="{FC76EA98-9B1A-4F2F-9A6E-876FE3C87E8A}" dt="2025-06-24T22:41:20.589" v="95299" actId="1076"/>
          <ac:picMkLst>
            <pc:docMk/>
            <pc:sldMk cId="3586071353" sldId="386"/>
            <ac:picMk id="80" creationId="{DEEF7F4D-EFBC-E449-10FF-F816AE74B4C4}"/>
          </ac:picMkLst>
        </pc:picChg>
        <pc:picChg chg="mod">
          <ac:chgData name="Alex Jordan" userId="30755697-3be4-4efa-ad5c-ca2e4102b45a" providerId="ADAL" clId="{FC76EA98-9B1A-4F2F-9A6E-876FE3C87E8A}" dt="2025-06-24T22:41:20.589" v="95299" actId="1076"/>
          <ac:picMkLst>
            <pc:docMk/>
            <pc:sldMk cId="3586071353" sldId="386"/>
            <ac:picMk id="82" creationId="{DF7E3F9C-CCE9-6AFA-21FB-1384ECF330D5}"/>
          </ac:picMkLst>
        </pc:picChg>
        <pc:picChg chg="mod">
          <ac:chgData name="Alex Jordan" userId="30755697-3be4-4efa-ad5c-ca2e4102b45a" providerId="ADAL" clId="{FC76EA98-9B1A-4F2F-9A6E-876FE3C87E8A}" dt="2025-06-24T22:41:20.589" v="95299" actId="1076"/>
          <ac:picMkLst>
            <pc:docMk/>
            <pc:sldMk cId="3586071353" sldId="386"/>
            <ac:picMk id="84" creationId="{0A27D45F-ADD1-C0F0-7CEB-15AF5445A054}"/>
          </ac:picMkLst>
        </pc:picChg>
      </pc:sldChg>
      <pc:sldChg chg="addSp delSp modSp add mod modNotes">
        <pc:chgData name="Alex Jordan" userId="30755697-3be4-4efa-ad5c-ca2e4102b45a" providerId="ADAL" clId="{FC76EA98-9B1A-4F2F-9A6E-876FE3C87E8A}" dt="2025-06-27T11:06:07.746" v="104800" actId="1038"/>
        <pc:sldMkLst>
          <pc:docMk/>
          <pc:sldMk cId="45937845" sldId="387"/>
        </pc:sldMkLst>
        <pc:spChg chg="mod ord">
          <ac:chgData name="Alex Jordan" userId="30755697-3be4-4efa-ad5c-ca2e4102b45a" providerId="ADAL" clId="{FC76EA98-9B1A-4F2F-9A6E-876FE3C87E8A}" dt="2025-06-25T08:46:33.575" v="102705" actId="948"/>
          <ac:spMkLst>
            <pc:docMk/>
            <pc:sldMk cId="45937845" sldId="387"/>
            <ac:spMk id="2" creationId="{2028ADD9-8B65-9C83-46DF-A7AC27CE986D}"/>
          </ac:spMkLst>
        </pc:spChg>
        <pc:spChg chg="mod ord">
          <ac:chgData name="Alex Jordan" userId="30755697-3be4-4efa-ad5c-ca2e4102b45a" providerId="ADAL" clId="{FC76EA98-9B1A-4F2F-9A6E-876FE3C87E8A}" dt="2025-06-27T11:06:07.746" v="104800" actId="1038"/>
          <ac:spMkLst>
            <pc:docMk/>
            <pc:sldMk cId="45937845" sldId="387"/>
            <ac:spMk id="4" creationId="{EFC311B5-B6D4-9F21-8CB9-01834E2CCC5F}"/>
          </ac:spMkLst>
        </pc:spChg>
        <pc:spChg chg="mod ord">
          <ac:chgData name="Alex Jordan" userId="30755697-3be4-4efa-ad5c-ca2e4102b45a" providerId="ADAL" clId="{FC76EA98-9B1A-4F2F-9A6E-876FE3C87E8A}" dt="2025-06-27T11:06:07.746" v="104800" actId="1038"/>
          <ac:spMkLst>
            <pc:docMk/>
            <pc:sldMk cId="45937845" sldId="387"/>
            <ac:spMk id="5" creationId="{35D1541A-9D29-2F01-9CC0-C69610B4B0CA}"/>
          </ac:spMkLst>
        </pc:spChg>
        <pc:spChg chg="mod ord">
          <ac:chgData name="Alex Jordan" userId="30755697-3be4-4efa-ad5c-ca2e4102b45a" providerId="ADAL" clId="{FC76EA98-9B1A-4F2F-9A6E-876FE3C87E8A}" dt="2025-06-27T11:06:07.746" v="104800" actId="1038"/>
          <ac:spMkLst>
            <pc:docMk/>
            <pc:sldMk cId="45937845" sldId="387"/>
            <ac:spMk id="6" creationId="{D5C520BB-2A31-3A20-D1E5-1EB2FFFD582E}"/>
          </ac:spMkLst>
        </pc:spChg>
        <pc:spChg chg="del mod ord">
          <ac:chgData name="Alex Jordan" userId="30755697-3be4-4efa-ad5c-ca2e4102b45a" providerId="ADAL" clId="{FC76EA98-9B1A-4F2F-9A6E-876FE3C87E8A}" dt="2025-06-27T11:06:03.058" v="104796" actId="478"/>
          <ac:spMkLst>
            <pc:docMk/>
            <pc:sldMk cId="45937845" sldId="387"/>
            <ac:spMk id="8" creationId="{1769A5E1-3D1D-A63D-1477-68BE3E1673B9}"/>
          </ac:spMkLst>
        </pc:spChg>
        <pc:spChg chg="mod ord">
          <ac:chgData name="Alex Jordan" userId="30755697-3be4-4efa-ad5c-ca2e4102b45a" providerId="ADAL" clId="{FC76EA98-9B1A-4F2F-9A6E-876FE3C87E8A}" dt="2025-06-25T08:46:31.475" v="101323" actId="947"/>
          <ac:spMkLst>
            <pc:docMk/>
            <pc:sldMk cId="45937845" sldId="387"/>
            <ac:spMk id="9" creationId="{79910AFD-2C3D-4AE1-DB4F-D90732491AC6}"/>
          </ac:spMkLst>
        </pc:spChg>
        <pc:spChg chg="mod ord">
          <ac:chgData name="Alex Jordan" userId="30755697-3be4-4efa-ad5c-ca2e4102b45a" providerId="ADAL" clId="{FC76EA98-9B1A-4F2F-9A6E-876FE3C87E8A}" dt="2025-06-25T08:46:32.056" v="101958" actId="790"/>
          <ac:spMkLst>
            <pc:docMk/>
            <pc:sldMk cId="45937845" sldId="387"/>
            <ac:spMk id="10" creationId="{45410E3D-AACA-664B-D441-B779845FF821}"/>
          </ac:spMkLst>
        </pc:spChg>
        <pc:spChg chg="mod ord">
          <ac:chgData name="Alex Jordan" userId="30755697-3be4-4efa-ad5c-ca2e4102b45a" providerId="ADAL" clId="{FC76EA98-9B1A-4F2F-9A6E-876FE3C87E8A}" dt="2025-06-25T08:46:31.464" v="101311" actId="947"/>
          <ac:spMkLst>
            <pc:docMk/>
            <pc:sldMk cId="45937845" sldId="387"/>
            <ac:spMk id="62" creationId="{BF57F8C4-3B58-FE09-F023-8D0C0FCE7449}"/>
          </ac:spMkLst>
        </pc:spChg>
        <pc:spChg chg="mod topLvl">
          <ac:chgData name="Alex Jordan" userId="30755697-3be4-4efa-ad5c-ca2e4102b45a" providerId="ADAL" clId="{FC76EA98-9B1A-4F2F-9A6E-876FE3C87E8A}" dt="2025-06-25T08:46:31.501" v="101347" actId="947"/>
          <ac:spMkLst>
            <pc:docMk/>
            <pc:sldMk cId="45937845" sldId="387"/>
            <ac:spMk id="63" creationId="{E65B3EFE-8300-CD91-70A5-5F94076F0943}"/>
          </ac:spMkLst>
        </pc:spChg>
        <pc:spChg chg="mod topLvl">
          <ac:chgData name="Alex Jordan" userId="30755697-3be4-4efa-ad5c-ca2e4102b45a" providerId="ADAL" clId="{FC76EA98-9B1A-4F2F-9A6E-876FE3C87E8A}" dt="2025-06-25T08:46:31.506" v="101351" actId="947"/>
          <ac:spMkLst>
            <pc:docMk/>
            <pc:sldMk cId="45937845" sldId="387"/>
            <ac:spMk id="64" creationId="{BEE83261-63E2-E39A-5B1D-8720CDF01050}"/>
          </ac:spMkLst>
        </pc:spChg>
        <pc:spChg chg="add mod topLvl">
          <ac:chgData name="Alex Jordan" userId="30755697-3be4-4efa-ad5c-ca2e4102b45a" providerId="ADAL" clId="{FC76EA98-9B1A-4F2F-9A6E-876FE3C87E8A}" dt="2025-06-25T08:46:32.056" v="101958" actId="790"/>
          <ac:spMkLst>
            <pc:docMk/>
            <pc:sldMk cId="45937845" sldId="387"/>
            <ac:spMk id="65" creationId="{EC532C86-06B8-56A7-DDE0-DC7366769B92}"/>
          </ac:spMkLst>
        </pc:spChg>
        <pc:spChg chg="add mod topLvl">
          <ac:chgData name="Alex Jordan" userId="30755697-3be4-4efa-ad5c-ca2e4102b45a" providerId="ADAL" clId="{FC76EA98-9B1A-4F2F-9A6E-876FE3C87E8A}" dt="2025-06-25T08:46:32.056" v="101958" actId="790"/>
          <ac:spMkLst>
            <pc:docMk/>
            <pc:sldMk cId="45937845" sldId="387"/>
            <ac:spMk id="66" creationId="{D6E31B0D-F1D6-13A6-7C55-3B87C91D9265}"/>
          </ac:spMkLst>
        </pc:spChg>
        <pc:spChg chg="add mod topLvl">
          <ac:chgData name="Alex Jordan" userId="30755697-3be4-4efa-ad5c-ca2e4102b45a" providerId="ADAL" clId="{FC76EA98-9B1A-4F2F-9A6E-876FE3C87E8A}" dt="2025-06-25T08:46:32.056" v="101958" actId="790"/>
          <ac:spMkLst>
            <pc:docMk/>
            <pc:sldMk cId="45937845" sldId="387"/>
            <ac:spMk id="67" creationId="{E66556F0-5E00-4703-8205-287846586058}"/>
          </ac:spMkLst>
        </pc:spChg>
        <pc:spChg chg="add mod topLvl">
          <ac:chgData name="Alex Jordan" userId="30755697-3be4-4efa-ad5c-ca2e4102b45a" providerId="ADAL" clId="{FC76EA98-9B1A-4F2F-9A6E-876FE3C87E8A}" dt="2025-06-25T08:46:31.511" v="101357" actId="947"/>
          <ac:spMkLst>
            <pc:docMk/>
            <pc:sldMk cId="45937845" sldId="387"/>
            <ac:spMk id="68" creationId="{CC3BFD84-7EE8-5D0F-7480-75C3931D8A0D}"/>
          </ac:spMkLst>
        </pc:spChg>
        <pc:spChg chg="mod topLvl">
          <ac:chgData name="Alex Jordan" userId="30755697-3be4-4efa-ad5c-ca2e4102b45a" providerId="ADAL" clId="{FC76EA98-9B1A-4F2F-9A6E-876FE3C87E8A}" dt="2025-06-25T08:46:31.516" v="101359" actId="947"/>
          <ac:spMkLst>
            <pc:docMk/>
            <pc:sldMk cId="45937845" sldId="387"/>
            <ac:spMk id="69" creationId="{E31DCF4A-5353-A01E-DE2B-6E975072E80C}"/>
          </ac:spMkLst>
        </pc:spChg>
        <pc:spChg chg="mod topLvl">
          <ac:chgData name="Alex Jordan" userId="30755697-3be4-4efa-ad5c-ca2e4102b45a" providerId="ADAL" clId="{FC76EA98-9B1A-4F2F-9A6E-876FE3C87E8A}" dt="2025-06-25T08:46:31.516" v="101363" actId="947"/>
          <ac:spMkLst>
            <pc:docMk/>
            <pc:sldMk cId="45937845" sldId="387"/>
            <ac:spMk id="70" creationId="{603A21B5-0E15-2109-A60B-0C69A57594DB}"/>
          </ac:spMkLst>
        </pc:spChg>
        <pc:spChg chg="mod topLvl">
          <ac:chgData name="Alex Jordan" userId="30755697-3be4-4efa-ad5c-ca2e4102b45a" providerId="ADAL" clId="{FC76EA98-9B1A-4F2F-9A6E-876FE3C87E8A}" dt="2025-06-25T08:46:31.516" v="101361" actId="947"/>
          <ac:spMkLst>
            <pc:docMk/>
            <pc:sldMk cId="45937845" sldId="387"/>
            <ac:spMk id="71" creationId="{7FE6D3FD-FCE0-CBE3-1C16-59ED21E9D177}"/>
          </ac:spMkLst>
        </pc:spChg>
        <pc:spChg chg="add mod topLvl">
          <ac:chgData name="Alex Jordan" userId="30755697-3be4-4efa-ad5c-ca2e4102b45a" providerId="ADAL" clId="{FC76EA98-9B1A-4F2F-9A6E-876FE3C87E8A}" dt="2025-06-25T08:46:32.056" v="101958" actId="790"/>
          <ac:spMkLst>
            <pc:docMk/>
            <pc:sldMk cId="45937845" sldId="387"/>
            <ac:spMk id="72" creationId="{E056B111-82F2-E0B6-E0B7-7CA2463B332F}"/>
          </ac:spMkLst>
        </pc:spChg>
        <pc:spChg chg="mod">
          <ac:chgData name="Alex Jordan" userId="30755697-3be4-4efa-ad5c-ca2e4102b45a" providerId="ADAL" clId="{FC76EA98-9B1A-4F2F-9A6E-876FE3C87E8A}" dt="2025-06-25T08:46:31.499" v="101345" actId="947"/>
          <ac:spMkLst>
            <pc:docMk/>
            <pc:sldMk cId="45937845" sldId="387"/>
            <ac:spMk id="73" creationId="{AB55460A-2704-7A54-A9CA-0F24B05D3DA9}"/>
          </ac:spMkLst>
        </pc:spChg>
        <pc:spChg chg="add mod">
          <ac:chgData name="Alex Jordan" userId="30755697-3be4-4efa-ad5c-ca2e4102b45a" providerId="ADAL" clId="{FC76EA98-9B1A-4F2F-9A6E-876FE3C87E8A}" dt="2025-06-25T08:46:31.495" v="101343" actId="947"/>
          <ac:spMkLst>
            <pc:docMk/>
            <pc:sldMk cId="45937845" sldId="387"/>
            <ac:spMk id="74" creationId="{2F9294C2-DEB7-25C2-7802-54B6349583D1}"/>
          </ac:spMkLst>
        </pc:spChg>
        <pc:spChg chg="add mod">
          <ac:chgData name="Alex Jordan" userId="30755697-3be4-4efa-ad5c-ca2e4102b45a" providerId="ADAL" clId="{FC76EA98-9B1A-4F2F-9A6E-876FE3C87E8A}" dt="2025-06-25T08:46:31.495" v="101341" actId="947"/>
          <ac:spMkLst>
            <pc:docMk/>
            <pc:sldMk cId="45937845" sldId="387"/>
            <ac:spMk id="75" creationId="{4F4631B0-5677-2989-CE30-425D25E430A3}"/>
          </ac:spMkLst>
        </pc:spChg>
        <pc:spChg chg="add mod">
          <ac:chgData name="Alex Jordan" userId="30755697-3be4-4efa-ad5c-ca2e4102b45a" providerId="ADAL" clId="{FC76EA98-9B1A-4F2F-9A6E-876FE3C87E8A}" dt="2025-06-25T08:46:31.493" v="101339" actId="947"/>
          <ac:spMkLst>
            <pc:docMk/>
            <pc:sldMk cId="45937845" sldId="387"/>
            <ac:spMk id="76" creationId="{E4EAF1B3-C2D1-BEF2-1913-0637293A76D6}"/>
          </ac:spMkLst>
        </pc:spChg>
        <pc:spChg chg="mod">
          <ac:chgData name="Alex Jordan" userId="30755697-3be4-4efa-ad5c-ca2e4102b45a" providerId="ADAL" clId="{FC76EA98-9B1A-4F2F-9A6E-876FE3C87E8A}" dt="2025-06-25T08:46:31.491" v="101337" actId="947"/>
          <ac:spMkLst>
            <pc:docMk/>
            <pc:sldMk cId="45937845" sldId="387"/>
            <ac:spMk id="77" creationId="{79D7D030-032B-F004-7C9A-75E5A499792F}"/>
          </ac:spMkLst>
        </pc:spChg>
        <pc:spChg chg="mod">
          <ac:chgData name="Alex Jordan" userId="30755697-3be4-4efa-ad5c-ca2e4102b45a" providerId="ADAL" clId="{FC76EA98-9B1A-4F2F-9A6E-876FE3C87E8A}" dt="2025-06-25T08:46:31.489" v="101335" actId="947"/>
          <ac:spMkLst>
            <pc:docMk/>
            <pc:sldMk cId="45937845" sldId="387"/>
            <ac:spMk id="78" creationId="{4D924C63-F773-CB3B-EDD8-E0CB2BCD49AC}"/>
          </ac:spMkLst>
        </pc:spChg>
        <pc:spChg chg="mod">
          <ac:chgData name="Alex Jordan" userId="30755697-3be4-4efa-ad5c-ca2e4102b45a" providerId="ADAL" clId="{FC76EA98-9B1A-4F2F-9A6E-876FE3C87E8A}" dt="2025-06-25T08:46:31.487" v="101333" actId="947"/>
          <ac:spMkLst>
            <pc:docMk/>
            <pc:sldMk cId="45937845" sldId="387"/>
            <ac:spMk id="79" creationId="{9001C03B-A306-0779-BEA3-DED8DBABF163}"/>
          </ac:spMkLst>
        </pc:spChg>
        <pc:spChg chg="add mod">
          <ac:chgData name="Alex Jordan" userId="30755697-3be4-4efa-ad5c-ca2e4102b45a" providerId="ADAL" clId="{FC76EA98-9B1A-4F2F-9A6E-876FE3C87E8A}" dt="2025-06-25T08:46:32.056" v="101958" actId="790"/>
          <ac:spMkLst>
            <pc:docMk/>
            <pc:sldMk cId="45937845" sldId="387"/>
            <ac:spMk id="80" creationId="{4DC9E869-E624-FAB0-DDE3-666172FA0507}"/>
          </ac:spMkLst>
        </pc:spChg>
        <pc:spChg chg="mod">
          <ac:chgData name="Alex Jordan" userId="30755697-3be4-4efa-ad5c-ca2e4102b45a" providerId="ADAL" clId="{FC76EA98-9B1A-4F2F-9A6E-876FE3C87E8A}" dt="2025-06-25T08:46:31.485" v="101329" actId="947"/>
          <ac:spMkLst>
            <pc:docMk/>
            <pc:sldMk cId="45937845" sldId="387"/>
            <ac:spMk id="81" creationId="{8A6B150A-7D80-015F-A4FB-7694251EB788}"/>
          </ac:spMkLst>
        </pc:spChg>
        <pc:spChg chg="mod">
          <ac:chgData name="Alex Jordan" userId="30755697-3be4-4efa-ad5c-ca2e4102b45a" providerId="ADAL" clId="{FC76EA98-9B1A-4F2F-9A6E-876FE3C87E8A}" dt="2025-06-25T08:46:31.482" v="101327" actId="947"/>
          <ac:spMkLst>
            <pc:docMk/>
            <pc:sldMk cId="45937845" sldId="387"/>
            <ac:spMk id="82" creationId="{6D88245A-87B2-DF56-B1E6-4FB9C6F5D94A}"/>
          </ac:spMkLst>
        </pc:spChg>
        <pc:spChg chg="add mod ord">
          <ac:chgData name="Alex Jordan" userId="30755697-3be4-4efa-ad5c-ca2e4102b45a" providerId="ADAL" clId="{FC76EA98-9B1A-4F2F-9A6E-876FE3C87E8A}" dt="2025-06-25T08:46:32.056" v="101958" actId="790"/>
          <ac:spMkLst>
            <pc:docMk/>
            <pc:sldMk cId="45937845" sldId="387"/>
            <ac:spMk id="87" creationId="{1DD36243-F599-0539-34C0-5A9085D354D3}"/>
          </ac:spMkLst>
        </pc:spChg>
        <pc:spChg chg="add mod">
          <ac:chgData name="Alex Jordan" userId="30755697-3be4-4efa-ad5c-ca2e4102b45a" providerId="ADAL" clId="{FC76EA98-9B1A-4F2F-9A6E-876FE3C87E8A}" dt="2025-06-25T08:46:31.516" v="101367" actId="947"/>
          <ac:spMkLst>
            <pc:docMk/>
            <pc:sldMk cId="45937845" sldId="387"/>
            <ac:spMk id="91" creationId="{1C3B618A-C492-C8FB-984C-D2058FE285AB}"/>
          </ac:spMkLst>
        </pc:spChg>
        <pc:spChg chg="add mod">
          <ac:chgData name="Alex Jordan" userId="30755697-3be4-4efa-ad5c-ca2e4102b45a" providerId="ADAL" clId="{FC76EA98-9B1A-4F2F-9A6E-876FE3C87E8A}" dt="2025-06-25T08:46:31.527" v="101369" actId="947"/>
          <ac:spMkLst>
            <pc:docMk/>
            <pc:sldMk cId="45937845" sldId="387"/>
            <ac:spMk id="92" creationId="{B4317FA4-CC59-B322-970B-00849F2148F0}"/>
          </ac:spMkLst>
        </pc:spChg>
        <pc:spChg chg="add mod">
          <ac:chgData name="Alex Jordan" userId="30755697-3be4-4efa-ad5c-ca2e4102b45a" providerId="ADAL" clId="{FC76EA98-9B1A-4F2F-9A6E-876FE3C87E8A}" dt="2025-06-25T08:46:31.527" v="101371" actId="947"/>
          <ac:spMkLst>
            <pc:docMk/>
            <pc:sldMk cId="45937845" sldId="387"/>
            <ac:spMk id="93" creationId="{97C59B86-F181-B744-E8B6-30E4DF69CE1F}"/>
          </ac:spMkLst>
        </pc:spChg>
        <pc:spChg chg="add mod">
          <ac:chgData name="Alex Jordan" userId="30755697-3be4-4efa-ad5c-ca2e4102b45a" providerId="ADAL" clId="{FC76EA98-9B1A-4F2F-9A6E-876FE3C87E8A}" dt="2025-06-25T08:46:31.527" v="101373" actId="947"/>
          <ac:spMkLst>
            <pc:docMk/>
            <pc:sldMk cId="45937845" sldId="387"/>
            <ac:spMk id="94" creationId="{C4AD73C8-ECD7-1043-2286-19C24BF8F034}"/>
          </ac:spMkLst>
        </pc:spChg>
        <pc:spChg chg="add mod">
          <ac:chgData name="Alex Jordan" userId="30755697-3be4-4efa-ad5c-ca2e4102b45a" providerId="ADAL" clId="{FC76EA98-9B1A-4F2F-9A6E-876FE3C87E8A}" dt="2025-06-25T08:46:32.056" v="101958" actId="790"/>
          <ac:spMkLst>
            <pc:docMk/>
            <pc:sldMk cId="45937845" sldId="387"/>
            <ac:spMk id="95" creationId="{FC147160-40CD-B70F-E0D3-D1A8C842C139}"/>
          </ac:spMkLst>
        </pc:spChg>
        <pc:spChg chg="add mod">
          <ac:chgData name="Alex Jordan" userId="30755697-3be4-4efa-ad5c-ca2e4102b45a" providerId="ADAL" clId="{FC76EA98-9B1A-4F2F-9A6E-876FE3C87E8A}" dt="2025-06-25T08:46:32.056" v="101958" actId="790"/>
          <ac:spMkLst>
            <pc:docMk/>
            <pc:sldMk cId="45937845" sldId="387"/>
            <ac:spMk id="97" creationId="{A9D31ED1-73C6-D3C1-1028-57E9B91B99ED}"/>
          </ac:spMkLst>
        </pc:spChg>
        <pc:grpChg chg="mod ord">
          <ac:chgData name="Alex Jordan" userId="30755697-3be4-4efa-ad5c-ca2e4102b45a" providerId="ADAL" clId="{FC76EA98-9B1A-4F2F-9A6E-876FE3C87E8A}" dt="2025-06-25T06:25:21.484" v="95523" actId="1038"/>
          <ac:grpSpMkLst>
            <pc:docMk/>
            <pc:sldMk cId="45937845" sldId="387"/>
            <ac:grpSpMk id="27" creationId="{94B605C9-DE5F-4395-80B1-FC5562DE6DD1}"/>
          </ac:grpSpMkLst>
        </pc:grpChg>
        <pc:grpChg chg="mod ord">
          <ac:chgData name="Alex Jordan" userId="30755697-3be4-4efa-ad5c-ca2e4102b45a" providerId="ADAL" clId="{FC76EA98-9B1A-4F2F-9A6E-876FE3C87E8A}" dt="2025-06-25T06:25:16.670" v="95499" actId="1037"/>
          <ac:grpSpMkLst>
            <pc:docMk/>
            <pc:sldMk cId="45937845" sldId="387"/>
            <ac:grpSpMk id="48" creationId="{1A99F779-6615-025C-CDCB-A3610363BEA8}"/>
          </ac:grpSpMkLst>
        </pc:grpChg>
        <pc:grpChg chg="mod ord">
          <ac:chgData name="Alex Jordan" userId="30755697-3be4-4efa-ad5c-ca2e4102b45a" providerId="ADAL" clId="{FC76EA98-9B1A-4F2F-9A6E-876FE3C87E8A}" dt="2025-06-25T06:24:50.316" v="95395"/>
          <ac:grpSpMkLst>
            <pc:docMk/>
            <pc:sldMk cId="45937845" sldId="387"/>
            <ac:grpSpMk id="56" creationId="{F30AAD47-8083-48E5-C8F4-8B9E8C4C4158}"/>
          </ac:grpSpMkLst>
        </pc:grpChg>
        <pc:grpChg chg="mod ord">
          <ac:chgData name="Alex Jordan" userId="30755697-3be4-4efa-ad5c-ca2e4102b45a" providerId="ADAL" clId="{FC76EA98-9B1A-4F2F-9A6E-876FE3C87E8A}" dt="2025-06-25T06:25:08.406" v="95470" actId="1037"/>
          <ac:grpSpMkLst>
            <pc:docMk/>
            <pc:sldMk cId="45937845" sldId="387"/>
            <ac:grpSpMk id="57" creationId="{995B78E0-BE59-DA61-A022-506399F249EA}"/>
          </ac:grpSpMkLst>
        </pc:grpChg>
        <pc:grpChg chg="mod ord">
          <ac:chgData name="Alex Jordan" userId="30755697-3be4-4efa-ad5c-ca2e4102b45a" providerId="ADAL" clId="{FC76EA98-9B1A-4F2F-9A6E-876FE3C87E8A}" dt="2025-06-25T06:25:08.406" v="95470" actId="1037"/>
          <ac:grpSpMkLst>
            <pc:docMk/>
            <pc:sldMk cId="45937845" sldId="387"/>
            <ac:grpSpMk id="58" creationId="{CB962062-57BF-4579-8528-F8C61391CB1C}"/>
          </ac:grpSpMkLst>
        </pc:grpChg>
        <pc:graphicFrameChg chg="mod">
          <ac:chgData name="Alex Jordan" userId="30755697-3be4-4efa-ad5c-ca2e4102b45a" providerId="ADAL" clId="{FC76EA98-9B1A-4F2F-9A6E-876FE3C87E8A}" dt="2025-06-25T08:46:35.013" v="104010"/>
          <ac:graphicFrameMkLst>
            <pc:docMk/>
            <pc:sldMk cId="45937845" sldId="387"/>
            <ac:graphicFrameMk id="7" creationId="{451D1A0C-292C-F53F-2F4D-D0DCD22C226C}"/>
          </ac:graphicFrameMkLst>
        </pc:graphicFrameChg>
      </pc:sldChg>
      <pc:sldChg chg="add del">
        <pc:chgData name="Alex Jordan" userId="30755697-3be4-4efa-ad5c-ca2e4102b45a" providerId="ADAL" clId="{FC76EA98-9B1A-4F2F-9A6E-876FE3C87E8A}" dt="2025-06-24T13:31:00.559" v="4382" actId="47"/>
        <pc:sldMkLst>
          <pc:docMk/>
          <pc:sldMk cId="2371765012" sldId="2147479831"/>
        </pc:sldMkLst>
      </pc:sldChg>
      <pc:sldMasterChg chg="addSp delSp modSp mod delSldLayout modSldLayout">
        <pc:chgData name="Alex Jordan" userId="30755697-3be4-4efa-ad5c-ca2e4102b45a" providerId="ADAL" clId="{FC76EA98-9B1A-4F2F-9A6E-876FE3C87E8A}" dt="2025-06-25T08:46:35.019" v="104022"/>
        <pc:sldMasterMkLst>
          <pc:docMk/>
          <pc:sldMasterMk cId="2342518050" sldId="2147483648"/>
        </pc:sldMasterMkLst>
        <pc:spChg chg="mod">
          <ac:chgData name="Alex Jordan" userId="30755697-3be4-4efa-ad5c-ca2e4102b45a" providerId="ADAL" clId="{FC76EA98-9B1A-4F2F-9A6E-876FE3C87E8A}" dt="2025-06-25T08:46:33.303" v="102481" actId="948"/>
          <ac:spMkLst>
            <pc:docMk/>
            <pc:sldMasterMk cId="2342518050" sldId="2147483648"/>
            <ac:spMk id="2" creationId="{A6453D33-6F43-C8EC-F45A-41452BE1EA24}"/>
          </ac:spMkLst>
        </pc:spChg>
        <pc:spChg chg="mod">
          <ac:chgData name="Alex Jordan" userId="30755697-3be4-4efa-ad5c-ca2e4102b45a" providerId="ADAL" clId="{FC76EA98-9B1A-4F2F-9A6E-876FE3C87E8A}" dt="2025-06-25T08:46:31.147" v="101081"/>
          <ac:spMkLst>
            <pc:docMk/>
            <pc:sldMasterMk cId="2342518050" sldId="2147483648"/>
            <ac:spMk id="3" creationId="{3AB59637-5012-26B7-7485-6DA85E8D3405}"/>
          </ac:spMkLst>
        </pc:spChg>
        <pc:spChg chg="mod">
          <ac:chgData name="Alex Jordan" userId="30755697-3be4-4efa-ad5c-ca2e4102b45a" providerId="ADAL" clId="{FC76EA98-9B1A-4F2F-9A6E-876FE3C87E8A}" dt="2025-06-25T08:46:31.160" v="101083"/>
          <ac:spMkLst>
            <pc:docMk/>
            <pc:sldMasterMk cId="2342518050" sldId="2147483648"/>
            <ac:spMk id="4" creationId="{D258279D-0A9C-98D3-4222-4991D8128C7C}"/>
          </ac:spMkLst>
        </pc:spChg>
        <pc:spChg chg="mod">
          <ac:chgData name="Alex Jordan" userId="30755697-3be4-4efa-ad5c-ca2e4102b45a" providerId="ADAL" clId="{FC76EA98-9B1A-4F2F-9A6E-876FE3C87E8A}" dt="2025-06-25T08:46:31.164" v="101085"/>
          <ac:spMkLst>
            <pc:docMk/>
            <pc:sldMasterMk cId="2342518050" sldId="2147483648"/>
            <ac:spMk id="5" creationId="{2D67F7DB-0C9A-39C8-406F-0D071CF401B1}"/>
          </ac:spMkLst>
        </pc:spChg>
        <pc:spChg chg="mod">
          <ac:chgData name="Alex Jordan" userId="30755697-3be4-4efa-ad5c-ca2e4102b45a" providerId="ADAL" clId="{FC76EA98-9B1A-4F2F-9A6E-876FE3C87E8A}" dt="2025-06-25T08:46:31.168" v="101087"/>
          <ac:spMkLst>
            <pc:docMk/>
            <pc:sldMasterMk cId="2342518050" sldId="2147483648"/>
            <ac:spMk id="6" creationId="{E98B73C5-E6C4-9F42-66A7-979833B4332F}"/>
          </ac:spMkLst>
        </pc:spChg>
        <pc:spChg chg="mod">
          <ac:chgData name="Alex Jordan" userId="30755697-3be4-4efa-ad5c-ca2e4102b45a" providerId="ADAL" clId="{FC76EA98-9B1A-4F2F-9A6E-876FE3C87E8A}" dt="2025-06-25T08:46:31.170" v="101089" actId="947"/>
          <ac:spMkLst>
            <pc:docMk/>
            <pc:sldMasterMk cId="2342518050" sldId="2147483648"/>
            <ac:spMk id="11" creationId="{9CED7A93-E3A9-324F-69B5-8BAC1A50D4EB}"/>
          </ac:spMkLst>
        </pc:spChg>
        <pc:graphicFrameChg chg="mod">
          <ac:chgData name="Alex Jordan" userId="30755697-3be4-4efa-ad5c-ca2e4102b45a" providerId="ADAL" clId="{FC76EA98-9B1A-4F2F-9A6E-876FE3C87E8A}" dt="2025-06-25T08:46:34.954" v="103964"/>
          <ac:graphicFrameMkLst>
            <pc:docMk/>
            <pc:sldMasterMk cId="2342518050" sldId="2147483648"/>
            <ac:graphicFrameMk id="8" creationId="{627C2093-6310-4EF9-9A7F-6BCFC2037EB8}"/>
          </ac:graphicFrameMkLst>
        </pc:graphicFrameChg>
        <pc:sldLayoutChg chg="addSp delSp modSp mod">
          <pc:chgData name="Alex Jordan" userId="30755697-3be4-4efa-ad5c-ca2e4102b45a" providerId="ADAL" clId="{FC76EA98-9B1A-4F2F-9A6E-876FE3C87E8A}" dt="2025-06-25T08:46:34.938" v="103952"/>
          <pc:sldLayoutMkLst>
            <pc:docMk/>
            <pc:sldMasterMk cId="2342518050" sldId="2147483648"/>
            <pc:sldLayoutMk cId="1151965975" sldId="2147483649"/>
          </pc:sldLayoutMkLst>
          <pc:spChg chg="mod">
            <ac:chgData name="Alex Jordan" userId="30755697-3be4-4efa-ad5c-ca2e4102b45a" providerId="ADAL" clId="{FC76EA98-9B1A-4F2F-9A6E-876FE3C87E8A}" dt="2025-06-25T08:46:33.223" v="102420" actId="948"/>
            <ac:spMkLst>
              <pc:docMk/>
              <pc:sldMasterMk cId="2342518050" sldId="2147483648"/>
              <pc:sldLayoutMk cId="1151965975" sldId="2147483649"/>
              <ac:spMk id="2" creationId="{1162356E-9102-A33D-C9A3-6F10F2E93764}"/>
            </ac:spMkLst>
          </pc:spChg>
          <pc:spChg chg="mod">
            <ac:chgData name="Alex Jordan" userId="30755697-3be4-4efa-ad5c-ca2e4102b45a" providerId="ADAL" clId="{FC76EA98-9B1A-4F2F-9A6E-876FE3C87E8A}" dt="2025-06-25T08:46:30.997" v="100957"/>
            <ac:spMkLst>
              <pc:docMk/>
              <pc:sldMasterMk cId="2342518050" sldId="2147483648"/>
              <pc:sldLayoutMk cId="1151965975" sldId="2147483649"/>
              <ac:spMk id="3" creationId="{1112D1E9-E242-0A02-84BC-8E046A97A27E}"/>
            </ac:spMkLst>
          </pc:spChg>
          <pc:spChg chg="mod">
            <ac:chgData name="Alex Jordan" userId="30755697-3be4-4efa-ad5c-ca2e4102b45a" providerId="ADAL" clId="{FC76EA98-9B1A-4F2F-9A6E-876FE3C87E8A}" dt="2025-06-25T08:46:31" v="100959"/>
            <ac:spMkLst>
              <pc:docMk/>
              <pc:sldMasterMk cId="2342518050" sldId="2147483648"/>
              <pc:sldLayoutMk cId="1151965975" sldId="2147483649"/>
              <ac:spMk id="4" creationId="{0D41CE57-B657-2C29-FD61-0698A670C336}"/>
            </ac:spMkLst>
          </pc:spChg>
          <pc:spChg chg="mod">
            <ac:chgData name="Alex Jordan" userId="30755697-3be4-4efa-ad5c-ca2e4102b45a" providerId="ADAL" clId="{FC76EA98-9B1A-4F2F-9A6E-876FE3C87E8A}" dt="2025-06-25T08:46:31.002" v="100961"/>
            <ac:spMkLst>
              <pc:docMk/>
              <pc:sldMasterMk cId="2342518050" sldId="2147483648"/>
              <pc:sldLayoutMk cId="1151965975" sldId="2147483649"/>
              <ac:spMk id="5" creationId="{59137F0A-4F06-B193-7FA7-AE9834B4B0A1}"/>
            </ac:spMkLst>
          </pc:spChg>
          <pc:spChg chg="mod">
            <ac:chgData name="Alex Jordan" userId="30755697-3be4-4efa-ad5c-ca2e4102b45a" providerId="ADAL" clId="{FC76EA98-9B1A-4F2F-9A6E-876FE3C87E8A}" dt="2025-06-25T08:46:31.006" v="100963"/>
            <ac:spMkLst>
              <pc:docMk/>
              <pc:sldMasterMk cId="2342518050" sldId="2147483648"/>
              <pc:sldLayoutMk cId="1151965975" sldId="2147483649"/>
              <ac:spMk id="6" creationId="{7293FB84-52C5-EF9D-2DB9-6699385242E9}"/>
            </ac:spMkLst>
          </pc:spChg>
          <pc:graphicFrameChg chg="mod">
            <ac:chgData name="Alex Jordan" userId="30755697-3be4-4efa-ad5c-ca2e4102b45a" providerId="ADAL" clId="{FC76EA98-9B1A-4F2F-9A6E-876FE3C87E8A}" dt="2025-06-25T08:46:34.938" v="103952"/>
            <ac:graphicFrameMkLst>
              <pc:docMk/>
              <pc:sldMasterMk cId="2342518050" sldId="2147483648"/>
              <pc:sldLayoutMk cId="1151965975" sldId="2147483649"/>
              <ac:graphicFrameMk id="8" creationId="{BE7B90FA-1D81-D24E-846E-84484F5D0A7B}"/>
            </ac:graphicFrameMkLst>
          </pc:graphicFrameChg>
        </pc:sldLayoutChg>
        <pc:sldLayoutChg chg="addSp delSp modSp mod">
          <pc:chgData name="Alex Jordan" userId="30755697-3be4-4efa-ad5c-ca2e4102b45a" providerId="ADAL" clId="{FC76EA98-9B1A-4F2F-9A6E-876FE3C87E8A}" dt="2025-06-25T08:46:34.949" v="103960"/>
          <pc:sldLayoutMkLst>
            <pc:docMk/>
            <pc:sldMasterMk cId="2342518050" sldId="2147483648"/>
            <pc:sldLayoutMk cId="4158031358" sldId="2147483650"/>
          </pc:sldLayoutMkLst>
          <pc:spChg chg="mod">
            <ac:chgData name="Alex Jordan" userId="30755697-3be4-4efa-ad5c-ca2e4102b45a" providerId="ADAL" clId="{FC76EA98-9B1A-4F2F-9A6E-876FE3C87E8A}" dt="2025-06-25T08:46:33.279" v="102461" actId="948"/>
            <ac:spMkLst>
              <pc:docMk/>
              <pc:sldMasterMk cId="2342518050" sldId="2147483648"/>
              <pc:sldLayoutMk cId="4158031358" sldId="2147483650"/>
              <ac:spMk id="2" creationId="{FF429B2D-5B7B-18C9-7861-1CC66E9BE08C}"/>
            </ac:spMkLst>
          </pc:spChg>
          <pc:spChg chg="mod">
            <ac:chgData name="Alex Jordan" userId="30755697-3be4-4efa-ad5c-ca2e4102b45a" providerId="ADAL" clId="{FC76EA98-9B1A-4F2F-9A6E-876FE3C87E8A}" dt="2025-06-25T08:46:31.127" v="101071"/>
            <ac:spMkLst>
              <pc:docMk/>
              <pc:sldMasterMk cId="2342518050" sldId="2147483648"/>
              <pc:sldLayoutMk cId="4158031358" sldId="2147483650"/>
              <ac:spMk id="3" creationId="{89AD6466-1560-1701-3D6B-9D540C12F49B}"/>
            </ac:spMkLst>
          </pc:spChg>
          <pc:spChg chg="mod">
            <ac:chgData name="Alex Jordan" userId="30755697-3be4-4efa-ad5c-ca2e4102b45a" providerId="ADAL" clId="{FC76EA98-9B1A-4F2F-9A6E-876FE3C87E8A}" dt="2025-06-25T08:46:31.127" v="101073"/>
            <ac:spMkLst>
              <pc:docMk/>
              <pc:sldMasterMk cId="2342518050" sldId="2147483648"/>
              <pc:sldLayoutMk cId="4158031358" sldId="2147483650"/>
              <ac:spMk id="4" creationId="{FB8FD672-9C52-3359-6CD9-962CB4247F71}"/>
            </ac:spMkLst>
          </pc:spChg>
          <pc:spChg chg="mod">
            <ac:chgData name="Alex Jordan" userId="30755697-3be4-4efa-ad5c-ca2e4102b45a" providerId="ADAL" clId="{FC76EA98-9B1A-4F2F-9A6E-876FE3C87E8A}" dt="2025-06-25T08:46:31.132" v="101075"/>
            <ac:spMkLst>
              <pc:docMk/>
              <pc:sldMasterMk cId="2342518050" sldId="2147483648"/>
              <pc:sldLayoutMk cId="4158031358" sldId="2147483650"/>
              <ac:spMk id="5" creationId="{9E9B7511-3272-B5E9-13FF-936866146258}"/>
            </ac:spMkLst>
          </pc:spChg>
          <pc:spChg chg="mod">
            <ac:chgData name="Alex Jordan" userId="30755697-3be4-4efa-ad5c-ca2e4102b45a" providerId="ADAL" clId="{FC76EA98-9B1A-4F2F-9A6E-876FE3C87E8A}" dt="2025-06-25T08:46:31.132" v="101077"/>
            <ac:spMkLst>
              <pc:docMk/>
              <pc:sldMasterMk cId="2342518050" sldId="2147483648"/>
              <pc:sldLayoutMk cId="4158031358" sldId="2147483650"/>
              <ac:spMk id="6" creationId="{38BB8EF6-6222-7665-3F8E-A6093D701149}"/>
            </ac:spMkLst>
          </pc:spChg>
          <pc:graphicFrameChg chg="mod">
            <ac:chgData name="Alex Jordan" userId="30755697-3be4-4efa-ad5c-ca2e4102b45a" providerId="ADAL" clId="{FC76EA98-9B1A-4F2F-9A6E-876FE3C87E8A}" dt="2025-06-25T08:46:34.949" v="103960"/>
            <ac:graphicFrameMkLst>
              <pc:docMk/>
              <pc:sldMasterMk cId="2342518050" sldId="2147483648"/>
              <pc:sldLayoutMk cId="4158031358" sldId="2147483650"/>
              <ac:graphicFrameMk id="8" creationId="{124ACD37-19F7-B258-024D-C10B633BFFF1}"/>
            </ac:graphicFrameMkLst>
          </pc:graphicFrameChg>
        </pc:sldLayoutChg>
        <pc:sldLayoutChg chg="addSp delSp modSp mod">
          <pc:chgData name="Alex Jordan" userId="30755697-3be4-4efa-ad5c-ca2e4102b45a" providerId="ADAL" clId="{FC76EA98-9B1A-4F2F-9A6E-876FE3C87E8A}" dt="2025-06-25T08:46:34.790" v="103860"/>
          <pc:sldLayoutMkLst>
            <pc:docMk/>
            <pc:sldMasterMk cId="2342518050" sldId="2147483648"/>
            <pc:sldLayoutMk cId="2186074118" sldId="2147483651"/>
          </pc:sldLayoutMkLst>
          <pc:spChg chg="mod">
            <ac:chgData name="Alex Jordan" userId="30755697-3be4-4efa-ad5c-ca2e4102b45a" providerId="ADAL" clId="{FC76EA98-9B1A-4F2F-9A6E-876FE3C87E8A}" dt="2025-06-25T08:46:32.698" v="101959" actId="948"/>
            <ac:spMkLst>
              <pc:docMk/>
              <pc:sldMasterMk cId="2342518050" sldId="2147483648"/>
              <pc:sldLayoutMk cId="2186074118" sldId="2147483651"/>
              <ac:spMk id="2" creationId="{029AF41C-714A-0EFA-21BB-AF5396CA4C76}"/>
            </ac:spMkLst>
          </pc:spChg>
          <pc:spChg chg="mod">
            <ac:chgData name="Alex Jordan" userId="30755697-3be4-4efa-ad5c-ca2e4102b45a" providerId="ADAL" clId="{FC76EA98-9B1A-4F2F-9A6E-876FE3C87E8A}" dt="2025-06-25T08:46:29.455" v="99137"/>
            <ac:spMkLst>
              <pc:docMk/>
              <pc:sldMasterMk cId="2342518050" sldId="2147483648"/>
              <pc:sldLayoutMk cId="2186074118" sldId="2147483651"/>
              <ac:spMk id="3" creationId="{AE27D273-8BC3-9814-6CEE-FCADC34531D7}"/>
            </ac:spMkLst>
          </pc:spChg>
          <pc:spChg chg="mod">
            <ac:chgData name="Alex Jordan" userId="30755697-3be4-4efa-ad5c-ca2e4102b45a" providerId="ADAL" clId="{FC76EA98-9B1A-4F2F-9A6E-876FE3C87E8A}" dt="2025-06-25T08:46:29.457" v="99139"/>
            <ac:spMkLst>
              <pc:docMk/>
              <pc:sldMasterMk cId="2342518050" sldId="2147483648"/>
              <pc:sldLayoutMk cId="2186074118" sldId="2147483651"/>
              <ac:spMk id="4" creationId="{D7B910DB-82BE-25BE-A479-8C82E75076EA}"/>
            </ac:spMkLst>
          </pc:spChg>
          <pc:spChg chg="mod">
            <ac:chgData name="Alex Jordan" userId="30755697-3be4-4efa-ad5c-ca2e4102b45a" providerId="ADAL" clId="{FC76EA98-9B1A-4F2F-9A6E-876FE3C87E8A}" dt="2025-06-25T08:46:29.461" v="99141"/>
            <ac:spMkLst>
              <pc:docMk/>
              <pc:sldMasterMk cId="2342518050" sldId="2147483648"/>
              <pc:sldLayoutMk cId="2186074118" sldId="2147483651"/>
              <ac:spMk id="5" creationId="{3BBCECB4-6B5A-E17A-A78A-2C19B3919A22}"/>
            </ac:spMkLst>
          </pc:spChg>
          <pc:spChg chg="mod">
            <ac:chgData name="Alex Jordan" userId="30755697-3be4-4efa-ad5c-ca2e4102b45a" providerId="ADAL" clId="{FC76EA98-9B1A-4F2F-9A6E-876FE3C87E8A}" dt="2025-06-25T08:46:29.465" v="99143"/>
            <ac:spMkLst>
              <pc:docMk/>
              <pc:sldMasterMk cId="2342518050" sldId="2147483648"/>
              <pc:sldLayoutMk cId="2186074118" sldId="2147483651"/>
              <ac:spMk id="6" creationId="{E5DD0249-7A6E-4BCB-CF41-D3AC61F9A9E5}"/>
            </ac:spMkLst>
          </pc:spChg>
          <pc:graphicFrameChg chg="mod">
            <ac:chgData name="Alex Jordan" userId="30755697-3be4-4efa-ad5c-ca2e4102b45a" providerId="ADAL" clId="{FC76EA98-9B1A-4F2F-9A6E-876FE3C87E8A}" dt="2025-06-25T08:46:34.790" v="103860"/>
            <ac:graphicFrameMkLst>
              <pc:docMk/>
              <pc:sldMasterMk cId="2342518050" sldId="2147483648"/>
              <pc:sldLayoutMk cId="2186074118" sldId="2147483651"/>
              <ac:graphicFrameMk id="8" creationId="{8892FBB6-BA93-E48A-E891-B0B30A4B8EEF}"/>
            </ac:graphicFrameMkLst>
          </pc:graphicFrameChg>
        </pc:sldLayoutChg>
        <pc:sldLayoutChg chg="addSp delSp modSp mod">
          <pc:chgData name="Alex Jordan" userId="30755697-3be4-4efa-ad5c-ca2e4102b45a" providerId="ADAL" clId="{FC76EA98-9B1A-4F2F-9A6E-876FE3C87E8A}" dt="2025-06-25T08:46:34.961" v="103968"/>
          <pc:sldLayoutMkLst>
            <pc:docMk/>
            <pc:sldMasterMk cId="2342518050" sldId="2147483648"/>
            <pc:sldLayoutMk cId="4080343952" sldId="2147483652"/>
          </pc:sldLayoutMkLst>
          <pc:spChg chg="mod">
            <ac:chgData name="Alex Jordan" userId="30755697-3be4-4efa-ad5c-ca2e4102b45a" providerId="ADAL" clId="{FC76EA98-9B1A-4F2F-9A6E-876FE3C87E8A}" dt="2025-06-25T08:46:33.330" v="102501" actId="948"/>
            <ac:spMkLst>
              <pc:docMk/>
              <pc:sldMasterMk cId="2342518050" sldId="2147483648"/>
              <pc:sldLayoutMk cId="4080343952" sldId="2147483652"/>
              <ac:spMk id="2" creationId="{E47B229F-4489-43AD-7FF3-2926C961E06E}"/>
            </ac:spMkLst>
          </pc:spChg>
          <pc:spChg chg="mod">
            <ac:chgData name="Alex Jordan" userId="30755697-3be4-4efa-ad5c-ca2e4102b45a" providerId="ADAL" clId="{FC76EA98-9B1A-4F2F-9A6E-876FE3C87E8A}" dt="2025-06-25T08:46:31.176" v="101093"/>
            <ac:spMkLst>
              <pc:docMk/>
              <pc:sldMasterMk cId="2342518050" sldId="2147483648"/>
              <pc:sldLayoutMk cId="4080343952" sldId="2147483652"/>
              <ac:spMk id="3" creationId="{401D123A-C81E-E491-2888-723947C363DE}"/>
            </ac:spMkLst>
          </pc:spChg>
          <pc:spChg chg="mod">
            <ac:chgData name="Alex Jordan" userId="30755697-3be4-4efa-ad5c-ca2e4102b45a" providerId="ADAL" clId="{FC76EA98-9B1A-4F2F-9A6E-876FE3C87E8A}" dt="2025-06-25T08:46:31.180" v="101095"/>
            <ac:spMkLst>
              <pc:docMk/>
              <pc:sldMasterMk cId="2342518050" sldId="2147483648"/>
              <pc:sldLayoutMk cId="4080343952" sldId="2147483652"/>
              <ac:spMk id="4" creationId="{F68DC563-59E6-1D9A-2768-1E4CEE2DD202}"/>
            </ac:spMkLst>
          </pc:spChg>
          <pc:spChg chg="mod">
            <ac:chgData name="Alex Jordan" userId="30755697-3be4-4efa-ad5c-ca2e4102b45a" providerId="ADAL" clId="{FC76EA98-9B1A-4F2F-9A6E-876FE3C87E8A}" dt="2025-06-25T08:46:31.180" v="101097"/>
            <ac:spMkLst>
              <pc:docMk/>
              <pc:sldMasterMk cId="2342518050" sldId="2147483648"/>
              <pc:sldLayoutMk cId="4080343952" sldId="2147483652"/>
              <ac:spMk id="5" creationId="{B05DF0F1-EEEE-C39D-7C9F-E7235CE2D1CE}"/>
            </ac:spMkLst>
          </pc:spChg>
          <pc:spChg chg="mod">
            <ac:chgData name="Alex Jordan" userId="30755697-3be4-4efa-ad5c-ca2e4102b45a" providerId="ADAL" clId="{FC76EA98-9B1A-4F2F-9A6E-876FE3C87E8A}" dt="2025-06-25T08:46:31.189" v="101099"/>
            <ac:spMkLst>
              <pc:docMk/>
              <pc:sldMasterMk cId="2342518050" sldId="2147483648"/>
              <pc:sldLayoutMk cId="4080343952" sldId="2147483652"/>
              <ac:spMk id="6" creationId="{6BE57CD6-3ED0-871A-0DBD-F4C67076B964}"/>
            </ac:spMkLst>
          </pc:spChg>
          <pc:spChg chg="mod">
            <ac:chgData name="Alex Jordan" userId="30755697-3be4-4efa-ad5c-ca2e4102b45a" providerId="ADAL" clId="{FC76EA98-9B1A-4F2F-9A6E-876FE3C87E8A}" dt="2025-06-25T08:46:31.189" v="101101"/>
            <ac:spMkLst>
              <pc:docMk/>
              <pc:sldMasterMk cId="2342518050" sldId="2147483648"/>
              <pc:sldLayoutMk cId="4080343952" sldId="2147483652"/>
              <ac:spMk id="7" creationId="{BB8FD6BB-484C-A580-BF52-7B6440B39541}"/>
            </ac:spMkLst>
          </pc:spChg>
          <pc:graphicFrameChg chg="mod">
            <ac:chgData name="Alex Jordan" userId="30755697-3be4-4efa-ad5c-ca2e4102b45a" providerId="ADAL" clId="{FC76EA98-9B1A-4F2F-9A6E-876FE3C87E8A}" dt="2025-06-25T08:46:34.961" v="103968"/>
            <ac:graphicFrameMkLst>
              <pc:docMk/>
              <pc:sldMasterMk cId="2342518050" sldId="2147483648"/>
              <pc:sldLayoutMk cId="4080343952" sldId="2147483652"/>
              <ac:graphicFrameMk id="9" creationId="{D20B9872-7C28-8DE0-5D2F-DD1AC6992989}"/>
            </ac:graphicFrameMkLst>
          </pc:graphicFrameChg>
        </pc:sldLayoutChg>
        <pc:sldLayoutChg chg="addSp delSp modSp mod">
          <pc:chgData name="Alex Jordan" userId="30755697-3be4-4efa-ad5c-ca2e4102b45a" providerId="ADAL" clId="{FC76EA98-9B1A-4F2F-9A6E-876FE3C87E8A}" dt="2025-06-25T08:46:34.965" v="103972"/>
          <pc:sldLayoutMkLst>
            <pc:docMk/>
            <pc:sldMasterMk cId="2342518050" sldId="2147483648"/>
            <pc:sldLayoutMk cId="3679905021" sldId="2147483653"/>
          </pc:sldLayoutMkLst>
          <pc:spChg chg="mod">
            <ac:chgData name="Alex Jordan" userId="30755697-3be4-4efa-ad5c-ca2e4102b45a" providerId="ADAL" clId="{FC76EA98-9B1A-4F2F-9A6E-876FE3C87E8A}" dt="2025-06-25T08:46:33.349" v="102521" actId="948"/>
            <ac:spMkLst>
              <pc:docMk/>
              <pc:sldMasterMk cId="2342518050" sldId="2147483648"/>
              <pc:sldLayoutMk cId="3679905021" sldId="2147483653"/>
              <ac:spMk id="2" creationId="{3FDFCF9A-F688-4810-5575-FEA50CCC69A1}"/>
            </ac:spMkLst>
          </pc:spChg>
          <pc:spChg chg="mod">
            <ac:chgData name="Alex Jordan" userId="30755697-3be4-4efa-ad5c-ca2e4102b45a" providerId="ADAL" clId="{FC76EA98-9B1A-4F2F-9A6E-876FE3C87E8A}" dt="2025-06-25T08:46:31.200" v="101105"/>
            <ac:spMkLst>
              <pc:docMk/>
              <pc:sldMasterMk cId="2342518050" sldId="2147483648"/>
              <pc:sldLayoutMk cId="3679905021" sldId="2147483653"/>
              <ac:spMk id="3" creationId="{D080867B-381B-0CA1-5BE3-20DB27F9790F}"/>
            </ac:spMkLst>
          </pc:spChg>
          <pc:spChg chg="mod">
            <ac:chgData name="Alex Jordan" userId="30755697-3be4-4efa-ad5c-ca2e4102b45a" providerId="ADAL" clId="{FC76EA98-9B1A-4F2F-9A6E-876FE3C87E8A}" dt="2025-06-25T08:46:31.204" v="101107"/>
            <ac:spMkLst>
              <pc:docMk/>
              <pc:sldMasterMk cId="2342518050" sldId="2147483648"/>
              <pc:sldLayoutMk cId="3679905021" sldId="2147483653"/>
              <ac:spMk id="4" creationId="{1BC9348F-926F-6E0D-7740-8B19C11DE409}"/>
            </ac:spMkLst>
          </pc:spChg>
          <pc:spChg chg="mod">
            <ac:chgData name="Alex Jordan" userId="30755697-3be4-4efa-ad5c-ca2e4102b45a" providerId="ADAL" clId="{FC76EA98-9B1A-4F2F-9A6E-876FE3C87E8A}" dt="2025-06-25T08:46:31.208" v="101109"/>
            <ac:spMkLst>
              <pc:docMk/>
              <pc:sldMasterMk cId="2342518050" sldId="2147483648"/>
              <pc:sldLayoutMk cId="3679905021" sldId="2147483653"/>
              <ac:spMk id="5" creationId="{F978CC2B-32DE-769B-6BF9-1F46FD80463F}"/>
            </ac:spMkLst>
          </pc:spChg>
          <pc:spChg chg="mod">
            <ac:chgData name="Alex Jordan" userId="30755697-3be4-4efa-ad5c-ca2e4102b45a" providerId="ADAL" clId="{FC76EA98-9B1A-4F2F-9A6E-876FE3C87E8A}" dt="2025-06-25T08:46:31.212" v="101111"/>
            <ac:spMkLst>
              <pc:docMk/>
              <pc:sldMasterMk cId="2342518050" sldId="2147483648"/>
              <pc:sldLayoutMk cId="3679905021" sldId="2147483653"/>
              <ac:spMk id="6" creationId="{614998D4-BE9E-D84F-27ED-BAD05836E97B}"/>
            </ac:spMkLst>
          </pc:spChg>
          <pc:spChg chg="mod">
            <ac:chgData name="Alex Jordan" userId="30755697-3be4-4efa-ad5c-ca2e4102b45a" providerId="ADAL" clId="{FC76EA98-9B1A-4F2F-9A6E-876FE3C87E8A}" dt="2025-06-25T08:46:31.212" v="101113"/>
            <ac:spMkLst>
              <pc:docMk/>
              <pc:sldMasterMk cId="2342518050" sldId="2147483648"/>
              <pc:sldLayoutMk cId="3679905021" sldId="2147483653"/>
              <ac:spMk id="7" creationId="{857DC6F4-8BB3-3910-2B48-660B670AFCAD}"/>
            </ac:spMkLst>
          </pc:spChg>
          <pc:spChg chg="mod">
            <ac:chgData name="Alex Jordan" userId="30755697-3be4-4efa-ad5c-ca2e4102b45a" providerId="ADAL" clId="{FC76EA98-9B1A-4F2F-9A6E-876FE3C87E8A}" dt="2025-06-25T08:46:31.220" v="101115"/>
            <ac:spMkLst>
              <pc:docMk/>
              <pc:sldMasterMk cId="2342518050" sldId="2147483648"/>
              <pc:sldLayoutMk cId="3679905021" sldId="2147483653"/>
              <ac:spMk id="8" creationId="{81BC6D97-0D00-ED14-5CD0-B2F263161465}"/>
            </ac:spMkLst>
          </pc:spChg>
          <pc:spChg chg="mod">
            <ac:chgData name="Alex Jordan" userId="30755697-3be4-4efa-ad5c-ca2e4102b45a" providerId="ADAL" clId="{FC76EA98-9B1A-4F2F-9A6E-876FE3C87E8A}" dt="2025-06-25T08:46:31.224" v="101117"/>
            <ac:spMkLst>
              <pc:docMk/>
              <pc:sldMasterMk cId="2342518050" sldId="2147483648"/>
              <pc:sldLayoutMk cId="3679905021" sldId="2147483653"/>
              <ac:spMk id="9" creationId="{6346A510-1829-02A4-B864-6BEA192B74BA}"/>
            </ac:spMkLst>
          </pc:spChg>
          <pc:graphicFrameChg chg="mod">
            <ac:chgData name="Alex Jordan" userId="30755697-3be4-4efa-ad5c-ca2e4102b45a" providerId="ADAL" clId="{FC76EA98-9B1A-4F2F-9A6E-876FE3C87E8A}" dt="2025-06-25T08:46:34.965" v="103972"/>
            <ac:graphicFrameMkLst>
              <pc:docMk/>
              <pc:sldMasterMk cId="2342518050" sldId="2147483648"/>
              <pc:sldLayoutMk cId="3679905021" sldId="2147483653"/>
              <ac:graphicFrameMk id="11" creationId="{D163B1B1-5F54-2480-3AA5-09BC484E2E31}"/>
            </ac:graphicFrameMkLst>
          </pc:graphicFrameChg>
        </pc:sldLayoutChg>
        <pc:sldLayoutChg chg="addSp delSp modSp mod">
          <pc:chgData name="Alex Jordan" userId="30755697-3be4-4efa-ad5c-ca2e4102b45a" providerId="ADAL" clId="{FC76EA98-9B1A-4F2F-9A6E-876FE3C87E8A}" dt="2025-06-25T08:46:34.970" v="103976"/>
          <pc:sldLayoutMkLst>
            <pc:docMk/>
            <pc:sldMasterMk cId="2342518050" sldId="2147483648"/>
            <pc:sldLayoutMk cId="3183188263" sldId="2147483654"/>
          </pc:sldLayoutMkLst>
          <pc:spChg chg="mod">
            <ac:chgData name="Alex Jordan" userId="30755697-3be4-4efa-ad5c-ca2e4102b45a" providerId="ADAL" clId="{FC76EA98-9B1A-4F2F-9A6E-876FE3C87E8A}" dt="2025-06-25T08:46:33.377" v="102541" actId="948"/>
            <ac:spMkLst>
              <pc:docMk/>
              <pc:sldMasterMk cId="2342518050" sldId="2147483648"/>
              <pc:sldLayoutMk cId="3183188263" sldId="2147483654"/>
              <ac:spMk id="2" creationId="{CFDEDE09-5EA7-9D35-22D6-94C76EB233D2}"/>
            </ac:spMkLst>
          </pc:spChg>
          <pc:spChg chg="mod">
            <ac:chgData name="Alex Jordan" userId="30755697-3be4-4efa-ad5c-ca2e4102b45a" providerId="ADAL" clId="{FC76EA98-9B1A-4F2F-9A6E-876FE3C87E8A}" dt="2025-06-25T08:46:31.230" v="101121"/>
            <ac:spMkLst>
              <pc:docMk/>
              <pc:sldMasterMk cId="2342518050" sldId="2147483648"/>
              <pc:sldLayoutMk cId="3183188263" sldId="2147483654"/>
              <ac:spMk id="3" creationId="{2B3689C9-FCD2-EF7B-1A32-5C241210087D}"/>
            </ac:spMkLst>
          </pc:spChg>
          <pc:spChg chg="mod">
            <ac:chgData name="Alex Jordan" userId="30755697-3be4-4efa-ad5c-ca2e4102b45a" providerId="ADAL" clId="{FC76EA98-9B1A-4F2F-9A6E-876FE3C87E8A}" dt="2025-06-25T08:46:31.234" v="101123"/>
            <ac:spMkLst>
              <pc:docMk/>
              <pc:sldMasterMk cId="2342518050" sldId="2147483648"/>
              <pc:sldLayoutMk cId="3183188263" sldId="2147483654"/>
              <ac:spMk id="4" creationId="{E2E20DD5-861D-BC5D-4A3A-D579067F0F8F}"/>
            </ac:spMkLst>
          </pc:spChg>
          <pc:spChg chg="mod">
            <ac:chgData name="Alex Jordan" userId="30755697-3be4-4efa-ad5c-ca2e4102b45a" providerId="ADAL" clId="{FC76EA98-9B1A-4F2F-9A6E-876FE3C87E8A}" dt="2025-06-25T08:46:31.236" v="101125"/>
            <ac:spMkLst>
              <pc:docMk/>
              <pc:sldMasterMk cId="2342518050" sldId="2147483648"/>
              <pc:sldLayoutMk cId="3183188263" sldId="2147483654"/>
              <ac:spMk id="5" creationId="{8BA80130-827A-FB0E-25DA-FFF79A0564E2}"/>
            </ac:spMkLst>
          </pc:spChg>
          <pc:graphicFrameChg chg="mod">
            <ac:chgData name="Alex Jordan" userId="30755697-3be4-4efa-ad5c-ca2e4102b45a" providerId="ADAL" clId="{FC76EA98-9B1A-4F2F-9A6E-876FE3C87E8A}" dt="2025-06-25T08:46:34.970" v="103976"/>
            <ac:graphicFrameMkLst>
              <pc:docMk/>
              <pc:sldMasterMk cId="2342518050" sldId="2147483648"/>
              <pc:sldLayoutMk cId="3183188263" sldId="2147483654"/>
              <ac:graphicFrameMk id="7" creationId="{40702A65-1F71-8026-5E52-80A06CF7B24D}"/>
            </ac:graphicFrameMkLst>
          </pc:graphicFrameChg>
        </pc:sldLayoutChg>
        <pc:sldLayoutChg chg="modSp mod">
          <pc:chgData name="Alex Jordan" userId="30755697-3be4-4efa-ad5c-ca2e4102b45a" providerId="ADAL" clId="{FC76EA98-9B1A-4F2F-9A6E-876FE3C87E8A}" dt="2025-06-25T08:46:34.973" v="103978"/>
          <pc:sldLayoutMkLst>
            <pc:docMk/>
            <pc:sldMasterMk cId="2342518050" sldId="2147483648"/>
            <pc:sldLayoutMk cId="217843775" sldId="2147483655"/>
          </pc:sldLayoutMkLst>
          <pc:spChg chg="mod">
            <ac:chgData name="Alex Jordan" userId="30755697-3be4-4efa-ad5c-ca2e4102b45a" providerId="ADAL" clId="{FC76EA98-9B1A-4F2F-9A6E-876FE3C87E8A}" dt="2025-06-25T08:46:31.238" v="101127"/>
            <ac:spMkLst>
              <pc:docMk/>
              <pc:sldMasterMk cId="2342518050" sldId="2147483648"/>
              <pc:sldLayoutMk cId="217843775" sldId="2147483655"/>
              <ac:spMk id="2" creationId="{65E48026-C3E7-73B7-0726-84ACB0AA432E}"/>
            </ac:spMkLst>
          </pc:spChg>
          <pc:spChg chg="mod">
            <ac:chgData name="Alex Jordan" userId="30755697-3be4-4efa-ad5c-ca2e4102b45a" providerId="ADAL" clId="{FC76EA98-9B1A-4F2F-9A6E-876FE3C87E8A}" dt="2025-06-25T08:46:31.245" v="101129"/>
            <ac:spMkLst>
              <pc:docMk/>
              <pc:sldMasterMk cId="2342518050" sldId="2147483648"/>
              <pc:sldLayoutMk cId="217843775" sldId="2147483655"/>
              <ac:spMk id="3" creationId="{8AE68746-518B-0A8C-30FE-3A52218B1684}"/>
            </ac:spMkLst>
          </pc:spChg>
          <pc:spChg chg="mod">
            <ac:chgData name="Alex Jordan" userId="30755697-3be4-4efa-ad5c-ca2e4102b45a" providerId="ADAL" clId="{FC76EA98-9B1A-4F2F-9A6E-876FE3C87E8A}" dt="2025-06-25T08:46:31.248" v="101131"/>
            <ac:spMkLst>
              <pc:docMk/>
              <pc:sldMasterMk cId="2342518050" sldId="2147483648"/>
              <pc:sldLayoutMk cId="217843775" sldId="2147483655"/>
              <ac:spMk id="4" creationId="{9DA504FB-072D-F6A7-D17D-2B5B8D677F94}"/>
            </ac:spMkLst>
          </pc:spChg>
          <pc:graphicFrameChg chg="mod">
            <ac:chgData name="Alex Jordan" userId="30755697-3be4-4efa-ad5c-ca2e4102b45a" providerId="ADAL" clId="{FC76EA98-9B1A-4F2F-9A6E-876FE3C87E8A}" dt="2025-06-25T08:46:34.973" v="103978"/>
            <ac:graphicFrameMkLst>
              <pc:docMk/>
              <pc:sldMasterMk cId="2342518050" sldId="2147483648"/>
              <pc:sldLayoutMk cId="217843775" sldId="2147483655"/>
              <ac:graphicFrameMk id="5" creationId="{2A817C83-4261-5EE9-BA50-774A71F5F818}"/>
            </ac:graphicFrameMkLst>
          </pc:graphicFrameChg>
        </pc:sldLayoutChg>
        <pc:sldLayoutChg chg="addSp delSp modSp mod">
          <pc:chgData name="Alex Jordan" userId="30755697-3be4-4efa-ad5c-ca2e4102b45a" providerId="ADAL" clId="{FC76EA98-9B1A-4F2F-9A6E-876FE3C87E8A}" dt="2025-06-25T08:46:34.988" v="103994"/>
          <pc:sldLayoutMkLst>
            <pc:docMk/>
            <pc:sldMasterMk cId="2342518050" sldId="2147483648"/>
            <pc:sldLayoutMk cId="3614546267" sldId="2147483656"/>
          </pc:sldLayoutMkLst>
          <pc:spChg chg="mod">
            <ac:chgData name="Alex Jordan" userId="30755697-3be4-4efa-ad5c-ca2e4102b45a" providerId="ADAL" clId="{FC76EA98-9B1A-4F2F-9A6E-876FE3C87E8A}" dt="2025-06-25T08:46:33.475" v="102624" actId="948"/>
            <ac:spMkLst>
              <pc:docMk/>
              <pc:sldMasterMk cId="2342518050" sldId="2147483648"/>
              <pc:sldLayoutMk cId="3614546267" sldId="2147483656"/>
              <ac:spMk id="2" creationId="{78B47DD5-819F-5B05-7036-0957BEBD0A66}"/>
            </ac:spMkLst>
          </pc:spChg>
          <pc:spChg chg="mod">
            <ac:chgData name="Alex Jordan" userId="30755697-3be4-4efa-ad5c-ca2e4102b45a" providerId="ADAL" clId="{FC76EA98-9B1A-4F2F-9A6E-876FE3C87E8A}" dt="2025-06-25T08:46:31.394" v="101269"/>
            <ac:spMkLst>
              <pc:docMk/>
              <pc:sldMasterMk cId="2342518050" sldId="2147483648"/>
              <pc:sldLayoutMk cId="3614546267" sldId="2147483656"/>
              <ac:spMk id="3" creationId="{F0DDA3EA-DA5A-233C-DA7C-10D234AE27C5}"/>
            </ac:spMkLst>
          </pc:spChg>
          <pc:spChg chg="mod">
            <ac:chgData name="Alex Jordan" userId="30755697-3be4-4efa-ad5c-ca2e4102b45a" providerId="ADAL" clId="{FC76EA98-9B1A-4F2F-9A6E-876FE3C87E8A}" dt="2025-06-25T08:46:31.399" v="101271"/>
            <ac:spMkLst>
              <pc:docMk/>
              <pc:sldMasterMk cId="2342518050" sldId="2147483648"/>
              <pc:sldLayoutMk cId="3614546267" sldId="2147483656"/>
              <ac:spMk id="4" creationId="{AAA00261-1333-391E-3B48-991236F2CBB9}"/>
            </ac:spMkLst>
          </pc:spChg>
          <pc:spChg chg="mod">
            <ac:chgData name="Alex Jordan" userId="30755697-3be4-4efa-ad5c-ca2e4102b45a" providerId="ADAL" clId="{FC76EA98-9B1A-4F2F-9A6E-876FE3C87E8A}" dt="2025-06-25T08:46:31.403" v="101273"/>
            <ac:spMkLst>
              <pc:docMk/>
              <pc:sldMasterMk cId="2342518050" sldId="2147483648"/>
              <pc:sldLayoutMk cId="3614546267" sldId="2147483656"/>
              <ac:spMk id="5" creationId="{EC0DF5DD-7294-8932-3BD3-7084FB0B0931}"/>
            </ac:spMkLst>
          </pc:spChg>
          <pc:spChg chg="mod">
            <ac:chgData name="Alex Jordan" userId="30755697-3be4-4efa-ad5c-ca2e4102b45a" providerId="ADAL" clId="{FC76EA98-9B1A-4F2F-9A6E-876FE3C87E8A}" dt="2025-06-25T08:46:31.403" v="101275"/>
            <ac:spMkLst>
              <pc:docMk/>
              <pc:sldMasterMk cId="2342518050" sldId="2147483648"/>
              <pc:sldLayoutMk cId="3614546267" sldId="2147483656"/>
              <ac:spMk id="6" creationId="{3263E19F-3B5A-FC03-E586-CE49E3CA2F9A}"/>
            </ac:spMkLst>
          </pc:spChg>
          <pc:spChg chg="mod">
            <ac:chgData name="Alex Jordan" userId="30755697-3be4-4efa-ad5c-ca2e4102b45a" providerId="ADAL" clId="{FC76EA98-9B1A-4F2F-9A6E-876FE3C87E8A}" dt="2025-06-25T08:46:31.409" v="101277"/>
            <ac:spMkLst>
              <pc:docMk/>
              <pc:sldMasterMk cId="2342518050" sldId="2147483648"/>
              <pc:sldLayoutMk cId="3614546267" sldId="2147483656"/>
              <ac:spMk id="7" creationId="{22EFEDE0-EFCA-D2F2-624E-AB2AE9543265}"/>
            </ac:spMkLst>
          </pc:spChg>
          <pc:graphicFrameChg chg="mod">
            <ac:chgData name="Alex Jordan" userId="30755697-3be4-4efa-ad5c-ca2e4102b45a" providerId="ADAL" clId="{FC76EA98-9B1A-4F2F-9A6E-876FE3C87E8A}" dt="2025-06-25T08:46:34.988" v="103994"/>
            <ac:graphicFrameMkLst>
              <pc:docMk/>
              <pc:sldMasterMk cId="2342518050" sldId="2147483648"/>
              <pc:sldLayoutMk cId="3614546267" sldId="2147483656"/>
              <ac:graphicFrameMk id="9" creationId="{4FBE11DA-8CA6-A2C9-532B-D58E26FD1A9A}"/>
            </ac:graphicFrameMkLst>
          </pc:graphicFrameChg>
        </pc:sldLayoutChg>
        <pc:sldLayoutChg chg="addSp delSp modSp mod">
          <pc:chgData name="Alex Jordan" userId="30755697-3be4-4efa-ad5c-ca2e4102b45a" providerId="ADAL" clId="{FC76EA98-9B1A-4F2F-9A6E-876FE3C87E8A}" dt="2025-06-25T08:46:34.999" v="103998"/>
          <pc:sldLayoutMkLst>
            <pc:docMk/>
            <pc:sldMasterMk cId="2342518050" sldId="2147483648"/>
            <pc:sldLayoutMk cId="3978811354" sldId="2147483657"/>
          </pc:sldLayoutMkLst>
          <pc:spChg chg="mod">
            <ac:chgData name="Alex Jordan" userId="30755697-3be4-4efa-ad5c-ca2e4102b45a" providerId="ADAL" clId="{FC76EA98-9B1A-4F2F-9A6E-876FE3C87E8A}" dt="2025-06-25T08:46:33.502" v="102644" actId="948"/>
            <ac:spMkLst>
              <pc:docMk/>
              <pc:sldMasterMk cId="2342518050" sldId="2147483648"/>
              <pc:sldLayoutMk cId="3978811354" sldId="2147483657"/>
              <ac:spMk id="2" creationId="{49C1EA3D-987F-CBAA-15F5-4E4213B6B95A}"/>
            </ac:spMkLst>
          </pc:spChg>
          <pc:spChg chg="mod">
            <ac:chgData name="Alex Jordan" userId="30755697-3be4-4efa-ad5c-ca2e4102b45a" providerId="ADAL" clId="{FC76EA98-9B1A-4F2F-9A6E-876FE3C87E8A}" dt="2025-06-25T08:46:31.409" v="101281"/>
            <ac:spMkLst>
              <pc:docMk/>
              <pc:sldMasterMk cId="2342518050" sldId="2147483648"/>
              <pc:sldLayoutMk cId="3978811354" sldId="2147483657"/>
              <ac:spMk id="4" creationId="{034C3DE9-45B7-CB8B-15F0-DCB77CE41E06}"/>
            </ac:spMkLst>
          </pc:spChg>
          <pc:spChg chg="mod">
            <ac:chgData name="Alex Jordan" userId="30755697-3be4-4efa-ad5c-ca2e4102b45a" providerId="ADAL" clId="{FC76EA98-9B1A-4F2F-9A6E-876FE3C87E8A}" dt="2025-06-25T08:46:31.419" v="101283"/>
            <ac:spMkLst>
              <pc:docMk/>
              <pc:sldMasterMk cId="2342518050" sldId="2147483648"/>
              <pc:sldLayoutMk cId="3978811354" sldId="2147483657"/>
              <ac:spMk id="5" creationId="{0C05A8D0-B76A-96D9-D519-712562B27885}"/>
            </ac:spMkLst>
          </pc:spChg>
          <pc:spChg chg="mod">
            <ac:chgData name="Alex Jordan" userId="30755697-3be4-4efa-ad5c-ca2e4102b45a" providerId="ADAL" clId="{FC76EA98-9B1A-4F2F-9A6E-876FE3C87E8A}" dt="2025-06-25T08:46:31.419" v="101285"/>
            <ac:spMkLst>
              <pc:docMk/>
              <pc:sldMasterMk cId="2342518050" sldId="2147483648"/>
              <pc:sldLayoutMk cId="3978811354" sldId="2147483657"/>
              <ac:spMk id="6" creationId="{1D75375B-7F6F-64FA-80AF-EA2F4EC1EAD3}"/>
            </ac:spMkLst>
          </pc:spChg>
          <pc:spChg chg="mod">
            <ac:chgData name="Alex Jordan" userId="30755697-3be4-4efa-ad5c-ca2e4102b45a" providerId="ADAL" clId="{FC76EA98-9B1A-4F2F-9A6E-876FE3C87E8A}" dt="2025-06-25T08:46:31.419" v="101287"/>
            <ac:spMkLst>
              <pc:docMk/>
              <pc:sldMasterMk cId="2342518050" sldId="2147483648"/>
              <pc:sldLayoutMk cId="3978811354" sldId="2147483657"/>
              <ac:spMk id="7" creationId="{50C844A4-DA06-B4B4-34C0-D66D9BE6E054}"/>
            </ac:spMkLst>
          </pc:spChg>
          <pc:graphicFrameChg chg="mod">
            <ac:chgData name="Alex Jordan" userId="30755697-3be4-4efa-ad5c-ca2e4102b45a" providerId="ADAL" clId="{FC76EA98-9B1A-4F2F-9A6E-876FE3C87E8A}" dt="2025-06-25T08:46:34.999" v="103998"/>
            <ac:graphicFrameMkLst>
              <pc:docMk/>
              <pc:sldMasterMk cId="2342518050" sldId="2147483648"/>
              <pc:sldLayoutMk cId="3978811354" sldId="2147483657"/>
              <ac:graphicFrameMk id="9" creationId="{039A3FE0-4698-AD1B-772F-821F598CBC61}"/>
            </ac:graphicFrameMkLst>
          </pc:graphicFrameChg>
        </pc:sldLayoutChg>
        <pc:sldLayoutChg chg="addSp delSp modSp mod">
          <pc:chgData name="Alex Jordan" userId="30755697-3be4-4efa-ad5c-ca2e4102b45a" providerId="ADAL" clId="{FC76EA98-9B1A-4F2F-9A6E-876FE3C87E8A}" dt="2025-06-25T08:46:35.005" v="104002"/>
          <pc:sldLayoutMkLst>
            <pc:docMk/>
            <pc:sldMasterMk cId="2342518050" sldId="2147483648"/>
            <pc:sldLayoutMk cId="2779002813" sldId="2147483658"/>
          </pc:sldLayoutMkLst>
          <pc:spChg chg="mod">
            <ac:chgData name="Alex Jordan" userId="30755697-3be4-4efa-ad5c-ca2e4102b45a" providerId="ADAL" clId="{FC76EA98-9B1A-4F2F-9A6E-876FE3C87E8A}" dt="2025-06-25T08:46:33.527" v="102664" actId="948"/>
            <ac:spMkLst>
              <pc:docMk/>
              <pc:sldMasterMk cId="2342518050" sldId="2147483648"/>
              <pc:sldLayoutMk cId="2779002813" sldId="2147483658"/>
              <ac:spMk id="2" creationId="{36E610AE-2F62-2F9F-76AF-6E96C7A76B8D}"/>
            </ac:spMkLst>
          </pc:spChg>
          <pc:spChg chg="mod">
            <ac:chgData name="Alex Jordan" userId="30755697-3be4-4efa-ad5c-ca2e4102b45a" providerId="ADAL" clId="{FC76EA98-9B1A-4F2F-9A6E-876FE3C87E8A}" dt="2025-06-25T08:46:31.433" v="101291"/>
            <ac:spMkLst>
              <pc:docMk/>
              <pc:sldMasterMk cId="2342518050" sldId="2147483648"/>
              <pc:sldLayoutMk cId="2779002813" sldId="2147483658"/>
              <ac:spMk id="3" creationId="{2434422D-ABC2-28ED-C72D-27BE80FFF647}"/>
            </ac:spMkLst>
          </pc:spChg>
          <pc:spChg chg="mod">
            <ac:chgData name="Alex Jordan" userId="30755697-3be4-4efa-ad5c-ca2e4102b45a" providerId="ADAL" clId="{FC76EA98-9B1A-4F2F-9A6E-876FE3C87E8A}" dt="2025-06-25T08:46:31.433" v="101293"/>
            <ac:spMkLst>
              <pc:docMk/>
              <pc:sldMasterMk cId="2342518050" sldId="2147483648"/>
              <pc:sldLayoutMk cId="2779002813" sldId="2147483658"/>
              <ac:spMk id="4" creationId="{27E39775-AD97-F1BE-923B-125C7E2E95FC}"/>
            </ac:spMkLst>
          </pc:spChg>
          <pc:spChg chg="mod">
            <ac:chgData name="Alex Jordan" userId="30755697-3be4-4efa-ad5c-ca2e4102b45a" providerId="ADAL" clId="{FC76EA98-9B1A-4F2F-9A6E-876FE3C87E8A}" dt="2025-06-25T08:46:31.433" v="101295"/>
            <ac:spMkLst>
              <pc:docMk/>
              <pc:sldMasterMk cId="2342518050" sldId="2147483648"/>
              <pc:sldLayoutMk cId="2779002813" sldId="2147483658"/>
              <ac:spMk id="5" creationId="{1D78FB25-B973-3EAF-336C-5B50BB532B2A}"/>
            </ac:spMkLst>
          </pc:spChg>
          <pc:spChg chg="mod">
            <ac:chgData name="Alex Jordan" userId="30755697-3be4-4efa-ad5c-ca2e4102b45a" providerId="ADAL" clId="{FC76EA98-9B1A-4F2F-9A6E-876FE3C87E8A}" dt="2025-06-25T08:46:31.444" v="101297"/>
            <ac:spMkLst>
              <pc:docMk/>
              <pc:sldMasterMk cId="2342518050" sldId="2147483648"/>
              <pc:sldLayoutMk cId="2779002813" sldId="2147483658"/>
              <ac:spMk id="6" creationId="{C6479ABF-434D-5506-947B-E8D679C5098E}"/>
            </ac:spMkLst>
          </pc:spChg>
          <pc:graphicFrameChg chg="mod">
            <ac:chgData name="Alex Jordan" userId="30755697-3be4-4efa-ad5c-ca2e4102b45a" providerId="ADAL" clId="{FC76EA98-9B1A-4F2F-9A6E-876FE3C87E8A}" dt="2025-06-25T08:46:35.005" v="104002"/>
            <ac:graphicFrameMkLst>
              <pc:docMk/>
              <pc:sldMasterMk cId="2342518050" sldId="2147483648"/>
              <pc:sldLayoutMk cId="2779002813" sldId="2147483658"/>
              <ac:graphicFrameMk id="8" creationId="{454E5BE0-298A-7AF7-8A7D-DC2127CD34C4}"/>
            </ac:graphicFrameMkLst>
          </pc:graphicFrameChg>
        </pc:sldLayoutChg>
        <pc:sldLayoutChg chg="addSp delSp modSp mod">
          <pc:chgData name="Alex Jordan" userId="30755697-3be4-4efa-ad5c-ca2e4102b45a" providerId="ADAL" clId="{FC76EA98-9B1A-4F2F-9A6E-876FE3C87E8A}" dt="2025-06-25T08:46:35.011" v="104006"/>
          <pc:sldLayoutMkLst>
            <pc:docMk/>
            <pc:sldMasterMk cId="2342518050" sldId="2147483648"/>
            <pc:sldLayoutMk cId="533632924" sldId="2147483659"/>
          </pc:sldLayoutMkLst>
          <pc:spChg chg="mod">
            <ac:chgData name="Alex Jordan" userId="30755697-3be4-4efa-ad5c-ca2e4102b45a" providerId="ADAL" clId="{FC76EA98-9B1A-4F2F-9A6E-876FE3C87E8A}" dt="2025-06-25T08:46:33.550" v="102684" actId="948"/>
            <ac:spMkLst>
              <pc:docMk/>
              <pc:sldMasterMk cId="2342518050" sldId="2147483648"/>
              <pc:sldLayoutMk cId="533632924" sldId="2147483659"/>
              <ac:spMk id="2" creationId="{F76ED804-9E24-2ADF-F081-A2E1786D0EC1}"/>
            </ac:spMkLst>
          </pc:spChg>
          <pc:spChg chg="mod">
            <ac:chgData name="Alex Jordan" userId="30755697-3be4-4efa-ad5c-ca2e4102b45a" providerId="ADAL" clId="{FC76EA98-9B1A-4F2F-9A6E-876FE3C87E8A}" dt="2025-06-25T08:46:31.448" v="101301"/>
            <ac:spMkLst>
              <pc:docMk/>
              <pc:sldMasterMk cId="2342518050" sldId="2147483648"/>
              <pc:sldLayoutMk cId="533632924" sldId="2147483659"/>
              <ac:spMk id="3" creationId="{7E188F01-1DCC-FB7A-F9DD-C495208C6F0A}"/>
            </ac:spMkLst>
          </pc:spChg>
          <pc:spChg chg="mod">
            <ac:chgData name="Alex Jordan" userId="30755697-3be4-4efa-ad5c-ca2e4102b45a" providerId="ADAL" clId="{FC76EA98-9B1A-4F2F-9A6E-876FE3C87E8A}" dt="2025-06-25T08:46:31.455" v="101303"/>
            <ac:spMkLst>
              <pc:docMk/>
              <pc:sldMasterMk cId="2342518050" sldId="2147483648"/>
              <pc:sldLayoutMk cId="533632924" sldId="2147483659"/>
              <ac:spMk id="4" creationId="{368838CC-498E-0743-4F06-A978B437635D}"/>
            </ac:spMkLst>
          </pc:spChg>
          <pc:spChg chg="mod">
            <ac:chgData name="Alex Jordan" userId="30755697-3be4-4efa-ad5c-ca2e4102b45a" providerId="ADAL" clId="{FC76EA98-9B1A-4F2F-9A6E-876FE3C87E8A}" dt="2025-06-25T08:46:31.455" v="101305"/>
            <ac:spMkLst>
              <pc:docMk/>
              <pc:sldMasterMk cId="2342518050" sldId="2147483648"/>
              <pc:sldLayoutMk cId="533632924" sldId="2147483659"/>
              <ac:spMk id="5" creationId="{7F4E1C8B-3883-7665-7457-593F7D10D32E}"/>
            </ac:spMkLst>
          </pc:spChg>
          <pc:spChg chg="mod">
            <ac:chgData name="Alex Jordan" userId="30755697-3be4-4efa-ad5c-ca2e4102b45a" providerId="ADAL" clId="{FC76EA98-9B1A-4F2F-9A6E-876FE3C87E8A}" dt="2025-06-25T08:46:31.455" v="101307"/>
            <ac:spMkLst>
              <pc:docMk/>
              <pc:sldMasterMk cId="2342518050" sldId="2147483648"/>
              <pc:sldLayoutMk cId="533632924" sldId="2147483659"/>
              <ac:spMk id="6" creationId="{5C9F9629-C7DF-FE6E-5BA8-E6E9F093DA62}"/>
            </ac:spMkLst>
          </pc:spChg>
          <pc:graphicFrameChg chg="mod">
            <ac:chgData name="Alex Jordan" userId="30755697-3be4-4efa-ad5c-ca2e4102b45a" providerId="ADAL" clId="{FC76EA98-9B1A-4F2F-9A6E-876FE3C87E8A}" dt="2025-06-25T08:46:35.011" v="104006"/>
            <ac:graphicFrameMkLst>
              <pc:docMk/>
              <pc:sldMasterMk cId="2342518050" sldId="2147483648"/>
              <pc:sldLayoutMk cId="533632924" sldId="2147483659"/>
              <ac:graphicFrameMk id="8" creationId="{8C53EA9E-0EA3-1676-EB44-15777752F46B}"/>
            </ac:graphicFrameMkLst>
          </pc:graphicFrameChg>
        </pc:sldLayoutChg>
        <pc:sldLayoutChg chg="modSp mod">
          <pc:chgData name="Alex Jordan" userId="30755697-3be4-4efa-ad5c-ca2e4102b45a" providerId="ADAL" clId="{FC76EA98-9B1A-4F2F-9A6E-876FE3C87E8A}" dt="2025-06-24T21:44:54.059" v="92016"/>
          <pc:sldLayoutMkLst>
            <pc:docMk/>
            <pc:sldMasterMk cId="2342518050" sldId="2147483648"/>
            <pc:sldLayoutMk cId="2793167446" sldId="2147483664"/>
          </pc:sldLayoutMkLst>
          <pc:spChg chg="mod">
            <ac:chgData name="Alex Jordan" userId="30755697-3be4-4efa-ad5c-ca2e4102b45a" providerId="ADAL" clId="{FC76EA98-9B1A-4F2F-9A6E-876FE3C87E8A}" dt="2025-06-25T08:46:31.589" v="101401" actId="947"/>
            <ac:spMkLst>
              <pc:docMk/>
              <pc:sldMasterMk cId="2342518050" sldId="2147483648"/>
              <pc:sldLayoutMk cId="2793167446" sldId="2147483664"/>
              <ac:spMk id="3" creationId="{9251C274-B545-EF4E-22D2-8CB98DA8268C}"/>
            </ac:spMkLst>
          </pc:spChg>
          <pc:spChg chg="mod">
            <ac:chgData name="Alex Jordan" userId="30755697-3be4-4efa-ad5c-ca2e4102b45a" providerId="ADAL" clId="{FC76EA98-9B1A-4F2F-9A6E-876FE3C87E8A}" dt="2025-06-25T08:46:31.610" v="101409"/>
            <ac:spMkLst>
              <pc:docMk/>
              <pc:sldMasterMk cId="2342518050" sldId="2147483648"/>
              <pc:sldLayoutMk cId="2793167446" sldId="2147483664"/>
              <ac:spMk id="4" creationId="{5D539B5C-6F85-2895-6F71-072534060200}"/>
            </ac:spMkLst>
          </pc:spChg>
          <pc:spChg chg="mod">
            <ac:chgData name="Alex Jordan" userId="30755697-3be4-4efa-ad5c-ca2e4102b45a" providerId="ADAL" clId="{FC76EA98-9B1A-4F2F-9A6E-876FE3C87E8A}" dt="2025-06-25T08:46:31.610" v="101411" actId="947"/>
            <ac:spMkLst>
              <pc:docMk/>
              <pc:sldMasterMk cId="2342518050" sldId="2147483648"/>
              <pc:sldLayoutMk cId="2793167446" sldId="2147483664"/>
              <ac:spMk id="5" creationId="{49AB9A1D-FA9C-AC15-C080-21ED151C3437}"/>
            </ac:spMkLst>
          </pc:spChg>
          <pc:spChg chg="mod">
            <ac:chgData name="Alex Jordan" userId="30755697-3be4-4efa-ad5c-ca2e4102b45a" providerId="ADAL" clId="{FC76EA98-9B1A-4F2F-9A6E-876FE3C87E8A}" dt="2025-06-25T08:46:31.589" v="101403" actId="947"/>
            <ac:spMkLst>
              <pc:docMk/>
              <pc:sldMasterMk cId="2342518050" sldId="2147483648"/>
              <pc:sldLayoutMk cId="2793167446" sldId="2147483664"/>
              <ac:spMk id="16" creationId="{F80B57B7-1CEF-E718-96CF-DFD6E81D1082}"/>
            </ac:spMkLst>
          </pc:spChg>
          <pc:spChg chg="mod">
            <ac:chgData name="Alex Jordan" userId="30755697-3be4-4efa-ad5c-ca2e4102b45a" providerId="ADAL" clId="{FC76EA98-9B1A-4F2F-9A6E-876FE3C87E8A}" dt="2025-06-25T08:46:31.600" v="101405"/>
            <ac:spMkLst>
              <pc:docMk/>
              <pc:sldMasterMk cId="2342518050" sldId="2147483648"/>
              <pc:sldLayoutMk cId="2793167446" sldId="2147483664"/>
              <ac:spMk id="21" creationId="{9545227B-86FA-55FB-807C-3D5C15621F1E}"/>
            </ac:spMkLst>
          </pc:spChg>
          <pc:spChg chg="mod">
            <ac:chgData name="Alex Jordan" userId="30755697-3be4-4efa-ad5c-ca2e4102b45a" providerId="ADAL" clId="{FC76EA98-9B1A-4F2F-9A6E-876FE3C87E8A}" dt="2025-06-25T08:46:31.605" v="101407"/>
            <ac:spMkLst>
              <pc:docMk/>
              <pc:sldMasterMk cId="2342518050" sldId="2147483648"/>
              <pc:sldLayoutMk cId="2793167446" sldId="2147483664"/>
              <ac:spMk id="26" creationId="{B7F18409-3C3F-4B2C-3E70-3C2270678ADD}"/>
            </ac:spMkLst>
          </pc:spChg>
          <pc:graphicFrameChg chg="mod">
            <ac:chgData name="Alex Jordan" userId="30755697-3be4-4efa-ad5c-ca2e4102b45a" providerId="ADAL" clId="{FC76EA98-9B1A-4F2F-9A6E-876FE3C87E8A}" dt="2025-06-25T08:46:35.019" v="104018"/>
            <ac:graphicFrameMkLst>
              <pc:docMk/>
              <pc:sldMasterMk cId="2342518050" sldId="2147483648"/>
              <pc:sldLayoutMk cId="2793167446" sldId="2147483664"/>
              <ac:graphicFrameMk id="7" creationId="{EA12A279-00C9-CA85-0674-D272ACD06E23}"/>
            </ac:graphicFrameMkLst>
          </pc:graphicFrameChg>
        </pc:sldLayoutChg>
        <pc:sldLayoutChg chg="del">
          <pc:chgData name="Alex Jordan" userId="30755697-3be4-4efa-ad5c-ca2e4102b45a" providerId="ADAL" clId="{FC76EA98-9B1A-4F2F-9A6E-876FE3C87E8A}" dt="2025-06-24T13:31:00.559" v="4382" actId="47"/>
          <pc:sldLayoutMkLst>
            <pc:docMk/>
            <pc:sldMasterMk cId="2342518050" sldId="2147483648"/>
            <pc:sldLayoutMk cId="3662470805" sldId="2147483664"/>
          </pc:sldLayoutMkLst>
        </pc:sldLayoutChg>
        <pc:sldLayoutChg chg="addSp delSp modSp mod">
          <pc:chgData name="Alex Jordan" userId="30755697-3be4-4efa-ad5c-ca2e4102b45a" providerId="ADAL" clId="{FC76EA98-9B1A-4F2F-9A6E-876FE3C87E8A}" dt="2025-06-25T08:46:35.019" v="104022"/>
          <pc:sldLayoutMkLst>
            <pc:docMk/>
            <pc:sldMasterMk cId="2342518050" sldId="2147483648"/>
            <pc:sldLayoutMk cId="3346693647" sldId="2147483665"/>
          </pc:sldLayoutMkLst>
          <pc:spChg chg="mod">
            <ac:chgData name="Alex Jordan" userId="30755697-3be4-4efa-ad5c-ca2e4102b45a" providerId="ADAL" clId="{FC76EA98-9B1A-4F2F-9A6E-876FE3C87E8A}" dt="2025-06-25T08:46:31.618" v="101413" actId="947"/>
            <ac:spMkLst>
              <pc:docMk/>
              <pc:sldMasterMk cId="2342518050" sldId="2147483648"/>
              <pc:sldLayoutMk cId="3346693647" sldId="2147483665"/>
              <ac:spMk id="2" creationId="{EB379DF0-6908-7435-F60B-5ADBE5CB4850}"/>
            </ac:spMkLst>
          </pc:spChg>
          <pc:spChg chg="mod">
            <ac:chgData name="Alex Jordan" userId="30755697-3be4-4efa-ad5c-ca2e4102b45a" providerId="ADAL" clId="{FC76EA98-9B1A-4F2F-9A6E-876FE3C87E8A}" dt="2025-06-25T08:46:33.621" v="102746" actId="948"/>
            <ac:spMkLst>
              <pc:docMk/>
              <pc:sldMasterMk cId="2342518050" sldId="2147483648"/>
              <pc:sldLayoutMk cId="3346693647" sldId="2147483665"/>
              <ac:spMk id="6" creationId="{8AE5FAF2-CBEC-86F3-45ED-489F8A21D98D}"/>
            </ac:spMkLst>
          </pc:spChg>
          <pc:spChg chg="mod">
            <ac:chgData name="Alex Jordan" userId="30755697-3be4-4efa-ad5c-ca2e4102b45a" providerId="ADAL" clId="{FC76EA98-9B1A-4F2F-9A6E-876FE3C87E8A}" dt="2025-06-25T08:46:31.625" v="101417" actId="947"/>
            <ac:spMkLst>
              <pc:docMk/>
              <pc:sldMasterMk cId="2342518050" sldId="2147483648"/>
              <pc:sldLayoutMk cId="3346693647" sldId="2147483665"/>
              <ac:spMk id="8" creationId="{37CC45D0-5826-29C0-110D-3A04F7BFB3DE}"/>
            </ac:spMkLst>
          </pc:spChg>
          <pc:graphicFrameChg chg="mod">
            <ac:chgData name="Alex Jordan" userId="30755697-3be4-4efa-ad5c-ca2e4102b45a" providerId="ADAL" clId="{FC76EA98-9B1A-4F2F-9A6E-876FE3C87E8A}" dt="2025-06-25T08:46:35.019" v="104022"/>
            <ac:graphicFrameMkLst>
              <pc:docMk/>
              <pc:sldMasterMk cId="2342518050" sldId="2147483648"/>
              <pc:sldLayoutMk cId="3346693647" sldId="2147483665"/>
              <ac:graphicFrameMk id="5" creationId="{0EE2F682-1F14-4462-8E43-B909FCFBCF44}"/>
            </ac:graphicFrameMkLst>
          </pc:graphicFrameChg>
        </pc:sldLayoutChg>
        <pc:sldLayoutChg chg="modSp mod">
          <pc:chgData name="Alex Jordan" userId="30755697-3be4-4efa-ad5c-ca2e4102b45a" providerId="ADAL" clId="{FC76EA98-9B1A-4F2F-9A6E-876FE3C87E8A}" dt="2025-06-24T21:44:54.062" v="92018"/>
          <pc:sldLayoutMkLst>
            <pc:docMk/>
            <pc:sldMasterMk cId="2342518050" sldId="2147483648"/>
            <pc:sldLayoutMk cId="117336935" sldId="2147483666"/>
          </pc:sldLayoutMkLst>
          <pc:spChg chg="mod">
            <ac:chgData name="Alex Jordan" userId="30755697-3be4-4efa-ad5c-ca2e4102b45a" providerId="ADAL" clId="{FC76EA98-9B1A-4F2F-9A6E-876FE3C87E8A}" dt="2025-06-25T08:46:31.576" v="101389" actId="947"/>
            <ac:spMkLst>
              <pc:docMk/>
              <pc:sldMasterMk cId="2342518050" sldId="2147483648"/>
              <pc:sldLayoutMk cId="117336935" sldId="2147483666"/>
              <ac:spMk id="2" creationId="{0533B30A-1AE5-8EE3-B268-26D227898ACA}"/>
            </ac:spMkLst>
          </pc:spChg>
          <pc:spChg chg="mod">
            <ac:chgData name="Alex Jordan" userId="30755697-3be4-4efa-ad5c-ca2e4102b45a" providerId="ADAL" clId="{FC76EA98-9B1A-4F2F-9A6E-876FE3C87E8A}" dt="2025-06-25T08:46:31.579" v="101399" actId="947"/>
            <ac:spMkLst>
              <pc:docMk/>
              <pc:sldMasterMk cId="2342518050" sldId="2147483648"/>
              <pc:sldLayoutMk cId="117336935" sldId="2147483666"/>
              <ac:spMk id="5" creationId="{79C6570C-5891-5E38-7FD7-D577FA1D10A7}"/>
            </ac:spMkLst>
          </pc:spChg>
          <pc:spChg chg="mod">
            <ac:chgData name="Alex Jordan" userId="30755697-3be4-4efa-ad5c-ca2e4102b45a" providerId="ADAL" clId="{FC76EA98-9B1A-4F2F-9A6E-876FE3C87E8A}" dt="2025-06-25T08:46:31.579" v="101397" actId="947"/>
            <ac:spMkLst>
              <pc:docMk/>
              <pc:sldMasterMk cId="2342518050" sldId="2147483648"/>
              <pc:sldLayoutMk cId="117336935" sldId="2147483666"/>
              <ac:spMk id="6" creationId="{9CF1C927-2737-D92D-2EF8-1DFABB85DECD}"/>
            </ac:spMkLst>
          </pc:spChg>
          <pc:spChg chg="mod">
            <ac:chgData name="Alex Jordan" userId="30755697-3be4-4efa-ad5c-ca2e4102b45a" providerId="ADAL" clId="{FC76EA98-9B1A-4F2F-9A6E-876FE3C87E8A}" dt="2025-06-25T08:46:31.579" v="101395" actId="947"/>
            <ac:spMkLst>
              <pc:docMk/>
              <pc:sldMasterMk cId="2342518050" sldId="2147483648"/>
              <pc:sldLayoutMk cId="117336935" sldId="2147483666"/>
              <ac:spMk id="9" creationId="{4B484DA7-3685-3A35-DF47-A862A7FD22C4}"/>
            </ac:spMkLst>
          </pc:spChg>
          <pc:spChg chg="mod">
            <ac:chgData name="Alex Jordan" userId="30755697-3be4-4efa-ad5c-ca2e4102b45a" providerId="ADAL" clId="{FC76EA98-9B1A-4F2F-9A6E-876FE3C87E8A}" dt="2025-06-25T08:46:31.576" v="101391" actId="947"/>
            <ac:spMkLst>
              <pc:docMk/>
              <pc:sldMasterMk cId="2342518050" sldId="2147483648"/>
              <pc:sldLayoutMk cId="117336935" sldId="2147483666"/>
              <ac:spMk id="11" creationId="{6C788C7D-5A20-BFCD-5F73-964CB1BB3542}"/>
            </ac:spMkLst>
          </pc:spChg>
          <pc:spChg chg="mod">
            <ac:chgData name="Alex Jordan" userId="30755697-3be4-4efa-ad5c-ca2e4102b45a" providerId="ADAL" clId="{FC76EA98-9B1A-4F2F-9A6E-876FE3C87E8A}" dt="2025-06-25T08:46:31.579" v="101393" actId="947"/>
            <ac:spMkLst>
              <pc:docMk/>
              <pc:sldMasterMk cId="2342518050" sldId="2147483648"/>
              <pc:sldLayoutMk cId="117336935" sldId="2147483666"/>
              <ac:spMk id="12" creationId="{F52E57DA-F389-BD8A-595F-32F90C788D65}"/>
            </ac:spMkLst>
          </pc:spChg>
          <pc:graphicFrameChg chg="mod">
            <ac:chgData name="Alex Jordan" userId="30755697-3be4-4efa-ad5c-ca2e4102b45a" providerId="ADAL" clId="{FC76EA98-9B1A-4F2F-9A6E-876FE3C87E8A}" dt="2025-06-25T08:46:35.019" v="104016"/>
            <ac:graphicFrameMkLst>
              <pc:docMk/>
              <pc:sldMasterMk cId="2342518050" sldId="2147483648"/>
              <pc:sldLayoutMk cId="117336935" sldId="2147483666"/>
              <ac:graphicFrameMk id="3" creationId="{84FAB623-4AE9-71F2-22D6-52C5B2B9E02A}"/>
            </ac:graphicFrameMkLst>
          </pc:graphicFrameChg>
        </pc:sldLayoutChg>
        <pc:sldLayoutChg chg="addSp delSp modSp mod">
          <pc:chgData name="Alex Jordan" userId="30755697-3be4-4efa-ad5c-ca2e4102b45a" providerId="ADAL" clId="{FC76EA98-9B1A-4F2F-9A6E-876FE3C87E8A}" dt="2025-06-25T08:46:35.019" v="104014"/>
          <pc:sldLayoutMkLst>
            <pc:docMk/>
            <pc:sldMasterMk cId="2342518050" sldId="2147483648"/>
            <pc:sldLayoutMk cId="3833913249" sldId="2147483667"/>
          </pc:sldLayoutMkLst>
          <pc:spChg chg="mod">
            <ac:chgData name="Alex Jordan" userId="30755697-3be4-4efa-ad5c-ca2e4102b45a" providerId="ADAL" clId="{FC76EA98-9B1A-4F2F-9A6E-876FE3C87E8A}" dt="2025-06-25T08:46:31.554" v="101379" actId="947"/>
            <ac:spMkLst>
              <pc:docMk/>
              <pc:sldMasterMk cId="2342518050" sldId="2147483648"/>
              <pc:sldLayoutMk cId="3833913249" sldId="2147483667"/>
              <ac:spMk id="2" creationId="{5D2EFDEA-CB56-5C18-B1F9-01169FACDA2F}"/>
            </ac:spMkLst>
          </pc:spChg>
          <pc:spChg chg="mod">
            <ac:chgData name="Alex Jordan" userId="30755697-3be4-4efa-ad5c-ca2e4102b45a" providerId="ADAL" clId="{FC76EA98-9B1A-4F2F-9A6E-876FE3C87E8A}" dt="2025-06-25T08:46:31.558" v="101387"/>
            <ac:spMkLst>
              <pc:docMk/>
              <pc:sldMasterMk cId="2342518050" sldId="2147483648"/>
              <pc:sldLayoutMk cId="3833913249" sldId="2147483667"/>
              <ac:spMk id="7" creationId="{B4CE4123-8538-3E69-C9D5-A37501C101A1}"/>
            </ac:spMkLst>
          </pc:spChg>
          <pc:spChg chg="mod">
            <ac:chgData name="Alex Jordan" userId="30755697-3be4-4efa-ad5c-ca2e4102b45a" providerId="ADAL" clId="{FC76EA98-9B1A-4F2F-9A6E-876FE3C87E8A}" dt="2025-06-25T08:46:31.558" v="101385" actId="947"/>
            <ac:spMkLst>
              <pc:docMk/>
              <pc:sldMasterMk cId="2342518050" sldId="2147483648"/>
              <pc:sldLayoutMk cId="3833913249" sldId="2147483667"/>
              <ac:spMk id="8" creationId="{8D2CBB94-30CA-0548-ADC3-AF130F79B6CF}"/>
            </ac:spMkLst>
          </pc:spChg>
          <pc:spChg chg="mod">
            <ac:chgData name="Alex Jordan" userId="30755697-3be4-4efa-ad5c-ca2e4102b45a" providerId="ADAL" clId="{FC76EA98-9B1A-4F2F-9A6E-876FE3C87E8A}" dt="2025-06-25T08:46:33.595" v="102726" actId="948"/>
            <ac:spMkLst>
              <pc:docMk/>
              <pc:sldMasterMk cId="2342518050" sldId="2147483648"/>
              <pc:sldLayoutMk cId="3833913249" sldId="2147483667"/>
              <ac:spMk id="14" creationId="{30AA3B7F-B2BD-05DE-962E-D93311C83582}"/>
            </ac:spMkLst>
          </pc:spChg>
          <pc:spChg chg="mod">
            <ac:chgData name="Alex Jordan" userId="30755697-3be4-4efa-ad5c-ca2e4102b45a" providerId="ADAL" clId="{FC76EA98-9B1A-4F2F-9A6E-876FE3C87E8A}" dt="2025-06-25T08:46:31.558" v="101381" actId="947"/>
            <ac:spMkLst>
              <pc:docMk/>
              <pc:sldMasterMk cId="2342518050" sldId="2147483648"/>
              <pc:sldLayoutMk cId="3833913249" sldId="2147483667"/>
              <ac:spMk id="15" creationId="{451E2594-B6E1-7B0D-F61F-CC7C31613065}"/>
            </ac:spMkLst>
          </pc:spChg>
          <pc:graphicFrameChg chg="mod">
            <ac:chgData name="Alex Jordan" userId="30755697-3be4-4efa-ad5c-ca2e4102b45a" providerId="ADAL" clId="{FC76EA98-9B1A-4F2F-9A6E-876FE3C87E8A}" dt="2025-06-25T08:46:35.019" v="104014"/>
            <ac:graphicFrameMkLst>
              <pc:docMk/>
              <pc:sldMasterMk cId="2342518050" sldId="2147483648"/>
              <pc:sldLayoutMk cId="3833913249" sldId="2147483667"/>
              <ac:graphicFrameMk id="5" creationId="{0EE2F682-1F14-4462-8E43-B909FCFBCF44}"/>
            </ac:graphicFrameMkLst>
          </pc:graphicFrameChg>
        </pc:sldLayoutChg>
      </pc:sldMasterChg>
    </pc:docChg>
  </pc:docChgLst>
  <pc:docChgLst>
    <pc:chgData name="Roberto Quaglia" userId="f5de4d48-66d1-4d0a-91bb-8640e8e40940" providerId="ADAL" clId="{4990506D-2073-4033-8D76-7A11465C5D3A}"/>
    <pc:docChg chg="undo custSel modSld">
      <pc:chgData name="Roberto Quaglia" userId="f5de4d48-66d1-4d0a-91bb-8640e8e40940" providerId="ADAL" clId="{4990506D-2073-4033-8D76-7A11465C5D3A}" dt="2025-06-23T15:08:57.491" v="105" actId="1076"/>
      <pc:docMkLst>
        <pc:docMk/>
      </pc:docMkLst>
      <pc:sldChg chg="addSp delSp modSp mod">
        <pc:chgData name="Roberto Quaglia" userId="f5de4d48-66d1-4d0a-91bb-8640e8e40940" providerId="ADAL" clId="{4990506D-2073-4033-8D76-7A11465C5D3A}" dt="2025-06-23T15:08:57.491" v="105" actId="1076"/>
        <pc:sldMkLst>
          <pc:docMk/>
          <pc:sldMk cId="3996541464" sldId="349"/>
        </pc:sldMkLst>
        <pc:spChg chg="mod">
          <ac:chgData name="Roberto Quaglia" userId="f5de4d48-66d1-4d0a-91bb-8640e8e40940" providerId="ADAL" clId="{4990506D-2073-4033-8D76-7A11465C5D3A}" dt="2025-06-23T15:08:51.866" v="104" actId="6549"/>
          <ac:spMkLst>
            <pc:docMk/>
            <pc:sldMk cId="3996541464" sldId="349"/>
            <ac:spMk id="48" creationId="{2DCF2928-61A8-50FE-F34F-183EDEE66CB7}"/>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17A_A0154A5D.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17C_EB8AC77C.xlsb"/></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_17D_52957355.xlsx"/><Relationship Id="rId2" Type="http://schemas.microsoft.com/office/2011/relationships/chartColorStyle" Target="colors6.xml"/><Relationship Id="rId1" Type="http://schemas.microsoft.com/office/2011/relationships/chartStyle" Target="style6.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17D_52957355.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17A_A0154A5D.xlsb"/></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_17B_119BB746.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17B_119BB746.xlsb"/></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_178_86316AFA.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178_86316AFA.xlsb"/></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_179_E51A384A.xlsx"/><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179_E51A384A.xlsb"/></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_17C_EB8AC77C.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178006862674072E-2"/>
          <c:y val="9.2706837523411509E-2"/>
          <c:w val="0.89459276574803148"/>
          <c:h val="0.62372834709629377"/>
        </c:manualLayout>
      </c:layout>
      <c:lineChart>
        <c:grouping val="standard"/>
        <c:varyColors val="0"/>
        <c:ser>
          <c:idx val="0"/>
          <c:order val="0"/>
          <c:tx>
            <c:strRef>
              <c:f>Sheet1!$B$1</c:f>
              <c:strCache>
                <c:ptCount val="1"/>
                <c:pt idx="0">
                  <c:v>Organisation 1</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f>Sheet1!$A$2:$A$8</c:f>
              <c:strCache>
                <c:ptCount val="7"/>
                <c:pt idx="0">
                  <c:v>Value Attribute 1</c:v>
                </c:pt>
                <c:pt idx="1">
                  <c:v>Value Attribute 2</c:v>
                </c:pt>
                <c:pt idx="2">
                  <c:v>Value Attribute 3</c:v>
                </c:pt>
                <c:pt idx="3">
                  <c:v>Value Attribute 4</c:v>
                </c:pt>
                <c:pt idx="4">
                  <c:v>Value Attribute 5</c:v>
                </c:pt>
                <c:pt idx="5">
                  <c:v>Value Attribute 6</c:v>
                </c:pt>
                <c:pt idx="6">
                  <c:v>Value Attribute 7</c:v>
                </c:pt>
              </c:strCache>
            </c:strRef>
          </c:cat>
          <c:val>
            <c:numRef>
              <c:f>Sheet1!$B$2:$B$8</c:f>
              <c:numCache>
                <c:formatCode>#,##0.0</c:formatCode>
                <c:ptCount val="7"/>
                <c:pt idx="0">
                  <c:v>2.9</c:v>
                </c:pt>
                <c:pt idx="1">
                  <c:v>4</c:v>
                </c:pt>
                <c:pt idx="2">
                  <c:v>3.5</c:v>
                </c:pt>
                <c:pt idx="3">
                  <c:v>4.5</c:v>
                </c:pt>
                <c:pt idx="4">
                  <c:v>4.5</c:v>
                </c:pt>
                <c:pt idx="5">
                  <c:v>3.5</c:v>
                </c:pt>
                <c:pt idx="6">
                  <c:v>3.8</c:v>
                </c:pt>
              </c:numCache>
            </c:numRef>
          </c:val>
          <c:smooth val="0"/>
          <c:extLst>
            <c:ext xmlns:c16="http://schemas.microsoft.com/office/drawing/2014/chart" uri="{C3380CC4-5D6E-409C-BE32-E72D297353CC}">
              <c16:uniqueId val="{00000000-1754-4841-888B-ECF66BDB0387}"/>
            </c:ext>
          </c:extLst>
        </c:ser>
        <c:ser>
          <c:idx val="1"/>
          <c:order val="1"/>
          <c:tx>
            <c:strRef>
              <c:f>Sheet1!$C$1</c:f>
              <c:strCache>
                <c:ptCount val="1"/>
                <c:pt idx="0">
                  <c:v>Organisation 2</c:v>
                </c:pt>
              </c:strCache>
            </c:strRef>
          </c:tx>
          <c:spPr>
            <a:ln w="28575" cap="rnd">
              <a:solidFill>
                <a:srgbClr val="3C8051"/>
              </a:solidFill>
              <a:round/>
            </a:ln>
            <a:effectLst/>
          </c:spPr>
          <c:marker>
            <c:symbol val="circle"/>
            <c:size val="5"/>
            <c:spPr>
              <a:solidFill>
                <a:srgbClr val="3C8051"/>
              </a:solidFill>
              <a:ln w="9525">
                <a:solidFill>
                  <a:srgbClr val="3C8051"/>
                </a:solidFill>
              </a:ln>
              <a:effectLst/>
            </c:spPr>
          </c:marker>
          <c:cat>
            <c:strRef>
              <c:f>Sheet1!$A$2:$A$8</c:f>
              <c:strCache>
                <c:ptCount val="7"/>
                <c:pt idx="0">
                  <c:v>Value Attribute 1</c:v>
                </c:pt>
                <c:pt idx="1">
                  <c:v>Value Attribute 2</c:v>
                </c:pt>
                <c:pt idx="2">
                  <c:v>Value Attribute 3</c:v>
                </c:pt>
                <c:pt idx="3">
                  <c:v>Value Attribute 4</c:v>
                </c:pt>
                <c:pt idx="4">
                  <c:v>Value Attribute 5</c:v>
                </c:pt>
                <c:pt idx="5">
                  <c:v>Value Attribute 6</c:v>
                </c:pt>
                <c:pt idx="6">
                  <c:v>Value Attribute 7</c:v>
                </c:pt>
              </c:strCache>
            </c:strRef>
          </c:cat>
          <c:val>
            <c:numRef>
              <c:f>Sheet1!$C$2:$C$8</c:f>
              <c:numCache>
                <c:formatCode>#,##0.0</c:formatCode>
                <c:ptCount val="7"/>
                <c:pt idx="0">
                  <c:v>1.8</c:v>
                </c:pt>
                <c:pt idx="1">
                  <c:v>3.8</c:v>
                </c:pt>
                <c:pt idx="2">
                  <c:v>2.5</c:v>
                </c:pt>
                <c:pt idx="3">
                  <c:v>0.5</c:v>
                </c:pt>
                <c:pt idx="4">
                  <c:v>1</c:v>
                </c:pt>
                <c:pt idx="5">
                  <c:v>2</c:v>
                </c:pt>
                <c:pt idx="6">
                  <c:v>2.5</c:v>
                </c:pt>
              </c:numCache>
            </c:numRef>
          </c:val>
          <c:smooth val="0"/>
          <c:extLst>
            <c:ext xmlns:c16="http://schemas.microsoft.com/office/drawing/2014/chart" uri="{C3380CC4-5D6E-409C-BE32-E72D297353CC}">
              <c16:uniqueId val="{00000001-1754-4841-888B-ECF66BDB0387}"/>
            </c:ext>
          </c:extLst>
        </c:ser>
        <c:ser>
          <c:idx val="2"/>
          <c:order val="2"/>
          <c:tx>
            <c:strRef>
              <c:f>Sheet1!$D$1</c:f>
              <c:strCache>
                <c:ptCount val="1"/>
                <c:pt idx="0">
                  <c:v>Organisation 3</c:v>
                </c:pt>
              </c:strCache>
            </c:strRef>
          </c:tx>
          <c:spPr>
            <a:ln w="28575" cap="rnd">
              <a:solidFill>
                <a:srgbClr val="0F9ED5"/>
              </a:solidFill>
              <a:round/>
            </a:ln>
            <a:effectLst/>
          </c:spPr>
          <c:marker>
            <c:symbol val="circle"/>
            <c:size val="5"/>
            <c:spPr>
              <a:solidFill>
                <a:srgbClr val="0F9ED5"/>
              </a:solidFill>
              <a:ln w="9525">
                <a:solidFill>
                  <a:srgbClr val="0F9ED5"/>
                </a:solidFill>
              </a:ln>
              <a:effectLst/>
            </c:spPr>
          </c:marker>
          <c:cat>
            <c:strRef>
              <c:f>Sheet1!$A$2:$A$8</c:f>
              <c:strCache>
                <c:ptCount val="7"/>
                <c:pt idx="0">
                  <c:v>Value Attribute 1</c:v>
                </c:pt>
                <c:pt idx="1">
                  <c:v>Value Attribute 2</c:v>
                </c:pt>
                <c:pt idx="2">
                  <c:v>Value Attribute 3</c:v>
                </c:pt>
                <c:pt idx="3">
                  <c:v>Value Attribute 4</c:v>
                </c:pt>
                <c:pt idx="4">
                  <c:v>Value Attribute 5</c:v>
                </c:pt>
                <c:pt idx="5">
                  <c:v>Value Attribute 6</c:v>
                </c:pt>
                <c:pt idx="6">
                  <c:v>Value Attribute 7</c:v>
                </c:pt>
              </c:strCache>
            </c:strRef>
          </c:cat>
          <c:val>
            <c:numRef>
              <c:f>Sheet1!$D$2:$D$8</c:f>
              <c:numCache>
                <c:formatCode>#,##0.0</c:formatCode>
                <c:ptCount val="7"/>
                <c:pt idx="0">
                  <c:v>5</c:v>
                </c:pt>
                <c:pt idx="1">
                  <c:v>5</c:v>
                </c:pt>
                <c:pt idx="2">
                  <c:v>2</c:v>
                </c:pt>
                <c:pt idx="3">
                  <c:v>0.5</c:v>
                </c:pt>
                <c:pt idx="4">
                  <c:v>0.5</c:v>
                </c:pt>
                <c:pt idx="5">
                  <c:v>0.5</c:v>
                </c:pt>
                <c:pt idx="6">
                  <c:v>0.5</c:v>
                </c:pt>
              </c:numCache>
            </c:numRef>
          </c:val>
          <c:smooth val="0"/>
          <c:extLst>
            <c:ext xmlns:c16="http://schemas.microsoft.com/office/drawing/2014/chart" uri="{C3380CC4-5D6E-409C-BE32-E72D297353CC}">
              <c16:uniqueId val="{00000002-1754-4841-888B-ECF66BDB0387}"/>
            </c:ext>
          </c:extLst>
        </c:ser>
        <c:dLbls>
          <c:showLegendKey val="0"/>
          <c:showVal val="0"/>
          <c:showCatName val="0"/>
          <c:showSerName val="0"/>
          <c:showPercent val="0"/>
          <c:showBubbleSize val="0"/>
        </c:dLbls>
        <c:marker val="1"/>
        <c:smooth val="0"/>
        <c:axId val="526941487"/>
        <c:axId val="526940527"/>
      </c:lineChart>
      <c:catAx>
        <c:axId val="52694148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mj-lt"/>
                <a:ea typeface="+mn-ea"/>
                <a:cs typeface="+mn-cs"/>
              </a:defRPr>
            </a:pPr>
            <a:endParaRPr lang="en-US"/>
          </a:p>
        </c:txPr>
        <c:crossAx val="526940527"/>
        <c:crosses val="autoZero"/>
        <c:auto val="1"/>
        <c:lblAlgn val="ctr"/>
        <c:lblOffset val="100"/>
        <c:noMultiLvlLbl val="0"/>
      </c:catAx>
      <c:valAx>
        <c:axId val="526940527"/>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526941487"/>
        <c:crosses val="autoZero"/>
        <c:crossBetween val="between"/>
      </c:valAx>
      <c:spPr>
        <a:noFill/>
        <a:ln>
          <a:noFill/>
        </a:ln>
        <a:effectLst/>
      </c:spPr>
    </c:plotArea>
    <c:legend>
      <c:legendPos val="b"/>
      <c:layout>
        <c:manualLayout>
          <c:xMode val="edge"/>
          <c:yMode val="edge"/>
          <c:x val="6.3325639208098805E-2"/>
          <c:y val="2.9388123030809107E-2"/>
          <c:w val="0.87346249244029184"/>
          <c:h val="3.265341903709032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77519379844961"/>
          <c:y val="2.9782359679266894E-2"/>
          <c:w val="0.79844961240310075"/>
          <c:h val="0.9404352806414662"/>
        </c:manualLayout>
      </c:layout>
      <c:scatterChart>
        <c:scatterStyle val="lineMarker"/>
        <c:varyColors val="0"/>
        <c:ser>
          <c:idx val="0"/>
          <c:order val="0"/>
          <c:spPr>
            <a:ln>
              <a:noFill/>
            </a:ln>
          </c:spPr>
          <c:marker>
            <c:symbol val="circle"/>
            <c:size val="6"/>
            <c:spPr>
              <a:solidFill>
                <a:srgbClr val="90CD54"/>
              </a:solidFill>
              <a:ln w="9525" cmpd="sng" algn="ctr">
                <a:solidFill>
                  <a:srgbClr val="90CD54"/>
                </a:solidFill>
                <a:prstDash val="solid"/>
              </a:ln>
            </c:spPr>
          </c:marker>
          <c:dPt>
            <c:idx val="0"/>
            <c:marker>
              <c:spPr>
                <a:solidFill>
                  <a:srgbClr val="A8B0BF"/>
                </a:solidFill>
                <a:ln w="9525" cmpd="sng" algn="ctr">
                  <a:solidFill>
                    <a:srgbClr val="A8B0BF"/>
                  </a:solidFill>
                  <a:prstDash val="solid"/>
                </a:ln>
              </c:spPr>
            </c:marker>
            <c:bubble3D val="0"/>
            <c:extLst>
              <c:ext xmlns:c16="http://schemas.microsoft.com/office/drawing/2014/chart" uri="{C3380CC4-5D6E-409C-BE32-E72D297353CC}">
                <c16:uniqueId val="{00000000-CBC0-425D-AFA1-B4A3A653E8A3}"/>
              </c:ext>
            </c:extLst>
          </c:dPt>
          <c:dPt>
            <c:idx val="1"/>
            <c:marker>
              <c:spPr>
                <a:solidFill>
                  <a:srgbClr val="28338A"/>
                </a:solidFill>
                <a:ln w="9525" cmpd="sng" algn="ctr">
                  <a:solidFill>
                    <a:srgbClr val="28338A"/>
                  </a:solidFill>
                  <a:prstDash val="solid"/>
                </a:ln>
              </c:spPr>
            </c:marker>
            <c:bubble3D val="0"/>
            <c:extLst>
              <c:ext xmlns:c16="http://schemas.microsoft.com/office/drawing/2014/chart" uri="{C3380CC4-5D6E-409C-BE32-E72D297353CC}">
                <c16:uniqueId val="{00000001-CBC0-425D-AFA1-B4A3A653E8A3}"/>
              </c:ext>
            </c:extLst>
          </c:dPt>
          <c:xVal>
            <c:numRef>
              <c:f>Sheet1!$A$1:$A$3</c:f>
              <c:numCache>
                <c:formatCode>General</c:formatCode>
                <c:ptCount val="3"/>
                <c:pt idx="0">
                  <c:v>1</c:v>
                </c:pt>
                <c:pt idx="1">
                  <c:v>1</c:v>
                </c:pt>
                <c:pt idx="2">
                  <c:v>1</c:v>
                </c:pt>
              </c:numCache>
            </c:numRef>
          </c:xVal>
          <c:yVal>
            <c:numRef>
              <c:f>Sheet1!$B$1:$B$3</c:f>
              <c:numCache>
                <c:formatCode>General</c:formatCode>
                <c:ptCount val="3"/>
                <c:pt idx="0">
                  <c:v>4</c:v>
                </c:pt>
                <c:pt idx="1">
                  <c:v>2</c:v>
                </c:pt>
                <c:pt idx="2">
                  <c:v>3.8</c:v>
                </c:pt>
              </c:numCache>
            </c:numRef>
          </c:yVal>
          <c:smooth val="0"/>
          <c:extLst>
            <c:ext xmlns:c16="http://schemas.microsoft.com/office/drawing/2014/chart" uri="{C3380CC4-5D6E-409C-BE32-E72D297353CC}">
              <c16:uniqueId val="{00000002-CBC0-425D-AFA1-B4A3A653E8A3}"/>
            </c:ext>
          </c:extLst>
        </c:ser>
        <c:dLbls>
          <c:showLegendKey val="0"/>
          <c:showVal val="0"/>
          <c:showCatName val="0"/>
          <c:showSerName val="0"/>
          <c:showPercent val="0"/>
          <c:showBubbleSize val="0"/>
        </c:dLbls>
        <c:axId val="1875597135"/>
        <c:axId val="1"/>
      </c:scatterChart>
      <c:valAx>
        <c:axId val="1875597135"/>
        <c:scaling>
          <c:orientation val="minMax"/>
          <c:max val="2"/>
          <c:min val="0"/>
        </c:scaling>
        <c:delete val="0"/>
        <c:axPos val="b"/>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1"/>
        <c:crosses val="min"/>
        <c:crossBetween val="midCat"/>
        <c:majorUnit val="1"/>
      </c:valAx>
      <c:valAx>
        <c:axId val="1"/>
        <c:scaling>
          <c:orientation val="minMax"/>
          <c:max val="5"/>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1875597135"/>
        <c:crosses val="min"/>
        <c:crossBetween val="midCat"/>
        <c:majorUnit val="0.5"/>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178006862674072E-2"/>
          <c:y val="9.2706837523411509E-2"/>
          <c:w val="0.89459276574803148"/>
          <c:h val="0.62372834709629377"/>
        </c:manualLayout>
      </c:layout>
      <c:lineChart>
        <c:grouping val="standard"/>
        <c:varyColors val="0"/>
        <c:ser>
          <c:idx val="0"/>
          <c:order val="0"/>
          <c:tx>
            <c:strRef>
              <c:f>Sheet1!$B$1</c:f>
              <c:strCache>
                <c:ptCount val="1"/>
                <c:pt idx="0">
                  <c:v>IKEA</c:v>
                </c:pt>
              </c:strCache>
            </c:strRef>
          </c:tx>
          <c:spPr>
            <a:ln w="28575" cap="rnd">
              <a:solidFill>
                <a:srgbClr val="0057A4"/>
              </a:solidFill>
              <a:round/>
            </a:ln>
            <a:effectLst/>
          </c:spPr>
          <c:marker>
            <c:symbol val="circle"/>
            <c:size val="5"/>
            <c:spPr>
              <a:solidFill>
                <a:srgbClr val="0057A4"/>
              </a:solidFill>
              <a:ln w="9525">
                <a:solidFill>
                  <a:srgbClr val="0057A4"/>
                </a:solidFill>
              </a:ln>
              <a:effectLst/>
            </c:spPr>
          </c:marker>
          <c:cat>
            <c:strRef>
              <c:f>Sheet1!$A$2:$A$11</c:f>
              <c:strCache>
                <c:ptCount val="10"/>
                <c:pt idx="0">
                  <c:v>Style-for-price ratio</c:v>
                </c:pt>
                <c:pt idx="1">
                  <c:v>Immediate availability</c:v>
                </c:pt>
                <c:pt idx="2">
                  <c:v>Showroom display quality</c:v>
                </c:pt>
                <c:pt idx="3">
                  <c:v>Modular design</c:v>
                </c:pt>
                <c:pt idx="4">
                  <c:v>Complementary services</c:v>
                </c:pt>
                <c:pt idx="5">
                  <c:v>Range of products</c:v>
                </c:pt>
                <c:pt idx="6">
                  <c:v>Product quality</c:v>
                </c:pt>
                <c:pt idx="7">
                  <c:v>Durability</c:v>
                </c:pt>
                <c:pt idx="8">
                  <c:v>Home delivery</c:v>
                </c:pt>
                <c:pt idx="9">
                  <c:v>Pre-assembled products</c:v>
                </c:pt>
              </c:strCache>
            </c:strRef>
          </c:cat>
          <c:val>
            <c:numRef>
              <c:f>Sheet1!$B$2:$B$11</c:f>
              <c:numCache>
                <c:formatCode>#,##0.0</c:formatCode>
                <c:ptCount val="10"/>
                <c:pt idx="0">
                  <c:v>5</c:v>
                </c:pt>
                <c:pt idx="1">
                  <c:v>5</c:v>
                </c:pt>
                <c:pt idx="2">
                  <c:v>5</c:v>
                </c:pt>
                <c:pt idx="3">
                  <c:v>5</c:v>
                </c:pt>
                <c:pt idx="4">
                  <c:v>4</c:v>
                </c:pt>
                <c:pt idx="5">
                  <c:v>4</c:v>
                </c:pt>
                <c:pt idx="6">
                  <c:v>3</c:v>
                </c:pt>
                <c:pt idx="7">
                  <c:v>3</c:v>
                </c:pt>
                <c:pt idx="8">
                  <c:v>1</c:v>
                </c:pt>
                <c:pt idx="9">
                  <c:v>1</c:v>
                </c:pt>
              </c:numCache>
            </c:numRef>
          </c:val>
          <c:smooth val="0"/>
          <c:extLst>
            <c:ext xmlns:c16="http://schemas.microsoft.com/office/drawing/2014/chart" uri="{C3380CC4-5D6E-409C-BE32-E72D297353CC}">
              <c16:uniqueId val="{00000000-964C-4169-B551-03F8859892F1}"/>
            </c:ext>
          </c:extLst>
        </c:ser>
        <c:ser>
          <c:idx val="1"/>
          <c:order val="1"/>
          <c:tx>
            <c:strRef>
              <c:f>Sheet1!$C$1</c:f>
              <c:strCache>
                <c:ptCount val="1"/>
                <c:pt idx="0">
                  <c:v>Baselin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A$2:$A$11</c:f>
              <c:strCache>
                <c:ptCount val="10"/>
                <c:pt idx="0">
                  <c:v>Style-for-price ratio</c:v>
                </c:pt>
                <c:pt idx="1">
                  <c:v>Immediate availability</c:v>
                </c:pt>
                <c:pt idx="2">
                  <c:v>Showroom display quality</c:v>
                </c:pt>
                <c:pt idx="3">
                  <c:v>Modular design</c:v>
                </c:pt>
                <c:pt idx="4">
                  <c:v>Complementary services</c:v>
                </c:pt>
                <c:pt idx="5">
                  <c:v>Range of products</c:v>
                </c:pt>
                <c:pt idx="6">
                  <c:v>Product quality</c:v>
                </c:pt>
                <c:pt idx="7">
                  <c:v>Durability</c:v>
                </c:pt>
                <c:pt idx="8">
                  <c:v>Home delivery</c:v>
                </c:pt>
                <c:pt idx="9">
                  <c:v>Pre-assembled products</c:v>
                </c:pt>
              </c:strCache>
            </c:strRef>
          </c:cat>
          <c:val>
            <c:numRef>
              <c:f>Sheet1!$C$2:$C$11</c:f>
              <c:numCache>
                <c:formatCode>General</c:formatCode>
                <c:ptCount val="10"/>
                <c:pt idx="0">
                  <c:v>3</c:v>
                </c:pt>
                <c:pt idx="1">
                  <c:v>3</c:v>
                </c:pt>
                <c:pt idx="2">
                  <c:v>3</c:v>
                </c:pt>
                <c:pt idx="3">
                  <c:v>3</c:v>
                </c:pt>
                <c:pt idx="4">
                  <c:v>3</c:v>
                </c:pt>
                <c:pt idx="5">
                  <c:v>3</c:v>
                </c:pt>
                <c:pt idx="6">
                  <c:v>3</c:v>
                </c:pt>
                <c:pt idx="7">
                  <c:v>3</c:v>
                </c:pt>
                <c:pt idx="8">
                  <c:v>3</c:v>
                </c:pt>
                <c:pt idx="9">
                  <c:v>3</c:v>
                </c:pt>
              </c:numCache>
            </c:numRef>
          </c:val>
          <c:smooth val="0"/>
          <c:extLst>
            <c:ext xmlns:c16="http://schemas.microsoft.com/office/drawing/2014/chart" uri="{C3380CC4-5D6E-409C-BE32-E72D297353CC}">
              <c16:uniqueId val="{00000003-964C-4169-B551-03F8859892F1}"/>
            </c:ext>
          </c:extLst>
        </c:ser>
        <c:dLbls>
          <c:showLegendKey val="0"/>
          <c:showVal val="0"/>
          <c:showCatName val="0"/>
          <c:showSerName val="0"/>
          <c:showPercent val="0"/>
          <c:showBubbleSize val="0"/>
        </c:dLbls>
        <c:marker val="1"/>
        <c:smooth val="0"/>
        <c:axId val="526941487"/>
        <c:axId val="526940527"/>
      </c:lineChart>
      <c:catAx>
        <c:axId val="52694148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1" i="0" u="none" strike="noStrike" kern="1200" baseline="0">
                <a:solidFill>
                  <a:schemeClr val="tx1"/>
                </a:solidFill>
                <a:latin typeface="+mj-lt"/>
                <a:ea typeface="+mn-ea"/>
                <a:cs typeface="+mn-cs"/>
              </a:defRPr>
            </a:pPr>
            <a:endParaRPr lang="en-US"/>
          </a:p>
        </c:txPr>
        <c:crossAx val="526940527"/>
        <c:crosses val="autoZero"/>
        <c:auto val="1"/>
        <c:lblAlgn val="ctr"/>
        <c:lblOffset val="100"/>
        <c:noMultiLvlLbl val="0"/>
      </c:catAx>
      <c:valAx>
        <c:axId val="526940527"/>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526941487"/>
        <c:crosses val="autoZero"/>
        <c:crossBetween val="between"/>
      </c:valAx>
      <c:spPr>
        <a:noFill/>
        <a:ln>
          <a:noFill/>
        </a:ln>
        <a:effectLst/>
      </c:spPr>
    </c:plotArea>
    <c:legend>
      <c:legendPos val="b"/>
      <c:layout>
        <c:manualLayout>
          <c:xMode val="edge"/>
          <c:yMode val="edge"/>
          <c:x val="0.36150638915168049"/>
          <c:y val="1.402133358181797E-3"/>
          <c:w val="0.25833630023998783"/>
          <c:h val="9.1630390847034615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7212449255751012"/>
          <c:y val="6.1021170610211707E-2"/>
          <c:w val="0.55751014884979699"/>
          <c:h val="0.87795765877957654"/>
        </c:manualLayout>
      </c:layout>
      <c:scatterChart>
        <c:scatterStyle val="lineMarker"/>
        <c:varyColors val="0"/>
        <c:ser>
          <c:idx val="0"/>
          <c:order val="0"/>
          <c:spPr>
            <a:ln>
              <a:noFill/>
            </a:ln>
          </c:spPr>
          <c:marker>
            <c:symbol val="circle"/>
            <c:size val="6"/>
            <c:spPr>
              <a:solidFill>
                <a:schemeClr val="accent2"/>
              </a:solidFill>
              <a:ln w="9525" cmpd="sng" algn="ctr">
                <a:solidFill>
                  <a:schemeClr val="accent2"/>
                </a:solidFill>
                <a:prstDash val="solid"/>
              </a:ln>
            </c:spPr>
          </c:marker>
          <c:dPt>
            <c:idx val="0"/>
            <c:marker>
              <c:spPr>
                <a:solidFill>
                  <a:srgbClr val="4176BC"/>
                </a:solidFill>
                <a:ln w="9525" cmpd="sng" algn="ctr">
                  <a:solidFill>
                    <a:srgbClr val="4176BC"/>
                  </a:solidFill>
                  <a:prstDash val="solid"/>
                </a:ln>
              </c:spPr>
            </c:marker>
            <c:bubble3D val="0"/>
            <c:extLst>
              <c:ext xmlns:c16="http://schemas.microsoft.com/office/drawing/2014/chart" uri="{C3380CC4-5D6E-409C-BE32-E72D297353CC}">
                <c16:uniqueId val="{00000000-6A20-4D0C-B9EB-82E66801AF5B}"/>
              </c:ext>
            </c:extLst>
          </c:dPt>
          <c:xVal>
            <c:numRef>
              <c:f>Sheet1!$A$1:$A$3</c:f>
              <c:numCache>
                <c:formatCode>General</c:formatCode>
                <c:ptCount val="3"/>
                <c:pt idx="0">
                  <c:v>1</c:v>
                </c:pt>
                <c:pt idx="1">
                  <c:v>1</c:v>
                </c:pt>
                <c:pt idx="2">
                  <c:v>1</c:v>
                </c:pt>
              </c:numCache>
            </c:numRef>
          </c:xVal>
          <c:yVal>
            <c:numRef>
              <c:f>Sheet1!$B$1:$B$3</c:f>
              <c:numCache>
                <c:formatCode>General</c:formatCode>
                <c:ptCount val="3"/>
                <c:pt idx="0">
                  <c:v>50</c:v>
                </c:pt>
                <c:pt idx="1">
                  <c:v>80</c:v>
                </c:pt>
                <c:pt idx="2">
                  <c:v>30</c:v>
                </c:pt>
              </c:numCache>
            </c:numRef>
          </c:yVal>
          <c:smooth val="0"/>
          <c:extLst>
            <c:ext xmlns:c16="http://schemas.microsoft.com/office/drawing/2014/chart" uri="{C3380CC4-5D6E-409C-BE32-E72D297353CC}">
              <c16:uniqueId val="{00000001-6A20-4D0C-B9EB-82E66801AF5B}"/>
            </c:ext>
          </c:extLst>
        </c:ser>
        <c:dLbls>
          <c:showLegendKey val="0"/>
          <c:showVal val="0"/>
          <c:showCatName val="0"/>
          <c:showSerName val="0"/>
          <c:showPercent val="0"/>
          <c:showBubbleSize val="0"/>
        </c:dLbls>
        <c:axId val="1875559215"/>
        <c:axId val="1"/>
      </c:scatterChart>
      <c:valAx>
        <c:axId val="1875559215"/>
        <c:scaling>
          <c:orientation val="minMax"/>
          <c:max val="2"/>
          <c:min val="0"/>
        </c:scaling>
        <c:delete val="0"/>
        <c:axPos val="b"/>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1"/>
        <c:crosses val="min"/>
        <c:crossBetween val="midCat"/>
        <c:majorUnit val="1"/>
      </c:val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875559215"/>
        <c:crosses val="min"/>
        <c:crossBetween val="midCat"/>
        <c:majorUnit val="1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77519379844961"/>
          <c:y val="2.9782359679266894E-2"/>
          <c:w val="0.79844961240310075"/>
          <c:h val="0.9404352806414662"/>
        </c:manualLayout>
      </c:layout>
      <c:scatterChart>
        <c:scatterStyle val="lineMarker"/>
        <c:varyColors val="0"/>
        <c:ser>
          <c:idx val="0"/>
          <c:order val="0"/>
          <c:spPr>
            <a:ln>
              <a:noFill/>
            </a:ln>
          </c:spPr>
          <c:marker>
            <c:symbol val="circle"/>
            <c:size val="6"/>
            <c:spPr>
              <a:solidFill>
                <a:srgbClr val="257253"/>
              </a:solidFill>
              <a:ln w="9525" cmpd="sng" algn="ctr">
                <a:solidFill>
                  <a:srgbClr val="257253"/>
                </a:solidFill>
                <a:prstDash val="solid"/>
              </a:ln>
            </c:spPr>
          </c:marker>
          <c:dPt>
            <c:idx val="0"/>
            <c:marker>
              <c:spPr>
                <a:solidFill>
                  <a:schemeClr val="folHlink"/>
                </a:solidFill>
                <a:ln w="9525" cmpd="sng" algn="ctr">
                  <a:solidFill>
                    <a:schemeClr val="folHlink"/>
                  </a:solidFill>
                  <a:prstDash val="solid"/>
                </a:ln>
              </c:spPr>
            </c:marker>
            <c:bubble3D val="0"/>
            <c:extLst>
              <c:ext xmlns:c16="http://schemas.microsoft.com/office/drawing/2014/chart" uri="{C3380CC4-5D6E-409C-BE32-E72D297353CC}">
                <c16:uniqueId val="{00000000-975C-483D-86E0-CB0981F9B8DB}"/>
              </c:ext>
            </c:extLst>
          </c:dPt>
          <c:dPt>
            <c:idx val="2"/>
            <c:marker>
              <c:spPr>
                <a:solidFill>
                  <a:srgbClr val="00ACE9"/>
                </a:solidFill>
                <a:ln w="9525" cmpd="sng" algn="ctr">
                  <a:solidFill>
                    <a:srgbClr val="00ACE9"/>
                  </a:solidFill>
                  <a:prstDash val="solid"/>
                </a:ln>
              </c:spPr>
            </c:marker>
            <c:bubble3D val="0"/>
            <c:extLst>
              <c:ext xmlns:c16="http://schemas.microsoft.com/office/drawing/2014/chart" uri="{C3380CC4-5D6E-409C-BE32-E72D297353CC}">
                <c16:uniqueId val="{00000001-975C-483D-86E0-CB0981F9B8DB}"/>
              </c:ext>
            </c:extLst>
          </c:dPt>
          <c:xVal>
            <c:numRef>
              <c:f>Sheet1!$A$1:$A$3</c:f>
              <c:numCache>
                <c:formatCode>General</c:formatCode>
                <c:ptCount val="3"/>
                <c:pt idx="0">
                  <c:v>1</c:v>
                </c:pt>
                <c:pt idx="1">
                  <c:v>1</c:v>
                </c:pt>
                <c:pt idx="2">
                  <c:v>1</c:v>
                </c:pt>
              </c:numCache>
            </c:numRef>
          </c:xVal>
          <c:yVal>
            <c:numRef>
              <c:f>Sheet1!$B$1:$B$3</c:f>
              <c:numCache>
                <c:formatCode>General</c:formatCode>
                <c:ptCount val="3"/>
                <c:pt idx="0">
                  <c:v>180</c:v>
                </c:pt>
                <c:pt idx="1">
                  <c:v>120</c:v>
                </c:pt>
                <c:pt idx="2">
                  <c:v>60</c:v>
                </c:pt>
              </c:numCache>
            </c:numRef>
          </c:yVal>
          <c:smooth val="0"/>
          <c:extLst>
            <c:ext xmlns:c16="http://schemas.microsoft.com/office/drawing/2014/chart" uri="{C3380CC4-5D6E-409C-BE32-E72D297353CC}">
              <c16:uniqueId val="{00000002-975C-483D-86E0-CB0981F9B8DB}"/>
            </c:ext>
          </c:extLst>
        </c:ser>
        <c:dLbls>
          <c:showLegendKey val="0"/>
          <c:showVal val="0"/>
          <c:showCatName val="0"/>
          <c:showSerName val="0"/>
          <c:showPercent val="0"/>
          <c:showBubbleSize val="0"/>
        </c:dLbls>
        <c:axId val="1684337935"/>
        <c:axId val="1"/>
      </c:scatterChart>
      <c:valAx>
        <c:axId val="1684337935"/>
        <c:scaling>
          <c:orientation val="minMax"/>
          <c:max val="2"/>
          <c:min val="0"/>
        </c:scaling>
        <c:delete val="0"/>
        <c:axPos val="b"/>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1"/>
        <c:crosses val="min"/>
        <c:crossBetween val="midCat"/>
        <c:majorUnit val="1"/>
      </c:valAx>
      <c:valAx>
        <c:axId val="1"/>
        <c:scaling>
          <c:orientation val="minMax"/>
          <c:max val="18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684337935"/>
        <c:crosses val="min"/>
        <c:crossBetween val="midCat"/>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178006862674072E-2"/>
          <c:y val="9.2706837523411509E-2"/>
          <c:w val="0.89459276574803148"/>
          <c:h val="0.62372834709629377"/>
        </c:manualLayout>
      </c:layout>
      <c:lineChart>
        <c:grouping val="standard"/>
        <c:varyColors val="0"/>
        <c:ser>
          <c:idx val="0"/>
          <c:order val="0"/>
          <c:tx>
            <c:strRef>
              <c:f>Sheet1!$B$1</c:f>
              <c:strCache>
                <c:ptCount val="1"/>
                <c:pt idx="0">
                  <c:v>Netflix</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cat>
            <c:strRef>
              <c:f>Sheet1!$A$2:$A$9</c:f>
              <c:strCache>
                <c:ptCount val="8"/>
                <c:pt idx="0">
                  <c:v>Personalisation</c:v>
                </c:pt>
                <c:pt idx="1">
                  <c:v>Seamless experience</c:v>
                </c:pt>
                <c:pt idx="2">
                  <c:v>Content quality</c:v>
                </c:pt>
                <c:pt idx="3">
                  <c:v>Content quantity</c:v>
                </c:pt>
                <c:pt idx="4">
                  <c:v>Ecosystem / bundling</c:v>
                </c:pt>
                <c:pt idx="5">
                  <c:v>Ads favourability</c:v>
                </c:pt>
                <c:pt idx="6">
                  <c:v>Franchise IP</c:v>
                </c:pt>
                <c:pt idx="7">
                  <c:v>Live sports</c:v>
                </c:pt>
              </c:strCache>
            </c:strRef>
          </c:cat>
          <c:val>
            <c:numRef>
              <c:f>Sheet1!$B$2:$B$9</c:f>
              <c:numCache>
                <c:formatCode>#,##0.0</c:formatCode>
                <c:ptCount val="8"/>
                <c:pt idx="0">
                  <c:v>5</c:v>
                </c:pt>
                <c:pt idx="1">
                  <c:v>5</c:v>
                </c:pt>
                <c:pt idx="2">
                  <c:v>4</c:v>
                </c:pt>
                <c:pt idx="3">
                  <c:v>5</c:v>
                </c:pt>
                <c:pt idx="4">
                  <c:v>2</c:v>
                </c:pt>
                <c:pt idx="5">
                  <c:v>4.5</c:v>
                </c:pt>
                <c:pt idx="6">
                  <c:v>3</c:v>
                </c:pt>
                <c:pt idx="7">
                  <c:v>2</c:v>
                </c:pt>
              </c:numCache>
            </c:numRef>
          </c:val>
          <c:smooth val="0"/>
          <c:extLst>
            <c:ext xmlns:c16="http://schemas.microsoft.com/office/drawing/2014/chart" uri="{C3380CC4-5D6E-409C-BE32-E72D297353CC}">
              <c16:uniqueId val="{00000000-1754-4841-888B-ECF66BDB0387}"/>
            </c:ext>
          </c:extLst>
        </c:ser>
        <c:ser>
          <c:idx val="1"/>
          <c:order val="1"/>
          <c:tx>
            <c:strRef>
              <c:f>Sheet1!$C$1</c:f>
              <c:strCache>
                <c:ptCount val="1"/>
                <c:pt idx="0">
                  <c:v>Apple TV+</c:v>
                </c:pt>
              </c:strCache>
            </c:strRef>
          </c:tx>
          <c:spPr>
            <a:ln w="28575" cap="rnd">
              <a:solidFill>
                <a:schemeClr val="tx1"/>
              </a:solidFill>
              <a:round/>
            </a:ln>
            <a:effectLst/>
          </c:spPr>
          <c:marker>
            <c:symbol val="circle"/>
            <c:size val="5"/>
            <c:spPr>
              <a:solidFill>
                <a:schemeClr val="tx1"/>
              </a:solidFill>
              <a:ln w="9525">
                <a:solidFill>
                  <a:schemeClr val="tx1"/>
                </a:solidFill>
              </a:ln>
              <a:effectLst/>
            </c:spPr>
          </c:marker>
          <c:cat>
            <c:strRef>
              <c:f>Sheet1!$A$2:$A$9</c:f>
              <c:strCache>
                <c:ptCount val="8"/>
                <c:pt idx="0">
                  <c:v>Personalisation</c:v>
                </c:pt>
                <c:pt idx="1">
                  <c:v>Seamless experience</c:v>
                </c:pt>
                <c:pt idx="2">
                  <c:v>Content quality</c:v>
                </c:pt>
                <c:pt idx="3">
                  <c:v>Content quantity</c:v>
                </c:pt>
                <c:pt idx="4">
                  <c:v>Ecosystem / bundling</c:v>
                </c:pt>
                <c:pt idx="5">
                  <c:v>Ads favourability</c:v>
                </c:pt>
                <c:pt idx="6">
                  <c:v>Franchise IP</c:v>
                </c:pt>
                <c:pt idx="7">
                  <c:v>Live sports</c:v>
                </c:pt>
              </c:strCache>
            </c:strRef>
          </c:cat>
          <c:val>
            <c:numRef>
              <c:f>Sheet1!$C$2:$C$9</c:f>
              <c:numCache>
                <c:formatCode>#,##0.0</c:formatCode>
                <c:ptCount val="8"/>
                <c:pt idx="0">
                  <c:v>3</c:v>
                </c:pt>
                <c:pt idx="1">
                  <c:v>4</c:v>
                </c:pt>
                <c:pt idx="2">
                  <c:v>5</c:v>
                </c:pt>
                <c:pt idx="3">
                  <c:v>2</c:v>
                </c:pt>
                <c:pt idx="4">
                  <c:v>4</c:v>
                </c:pt>
                <c:pt idx="5">
                  <c:v>5</c:v>
                </c:pt>
                <c:pt idx="6">
                  <c:v>2</c:v>
                </c:pt>
                <c:pt idx="7">
                  <c:v>4</c:v>
                </c:pt>
              </c:numCache>
            </c:numRef>
          </c:val>
          <c:smooth val="0"/>
          <c:extLst>
            <c:ext xmlns:c16="http://schemas.microsoft.com/office/drawing/2014/chart" uri="{C3380CC4-5D6E-409C-BE32-E72D297353CC}">
              <c16:uniqueId val="{00000001-1754-4841-888B-ECF66BDB0387}"/>
            </c:ext>
          </c:extLst>
        </c:ser>
        <c:ser>
          <c:idx val="2"/>
          <c:order val="2"/>
          <c:tx>
            <c:strRef>
              <c:f>Sheet1!$D$1</c:f>
              <c:strCache>
                <c:ptCount val="1"/>
                <c:pt idx="0">
                  <c:v>Amazon Prime Video</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A$2:$A$9</c:f>
              <c:strCache>
                <c:ptCount val="8"/>
                <c:pt idx="0">
                  <c:v>Personalisation</c:v>
                </c:pt>
                <c:pt idx="1">
                  <c:v>Seamless experience</c:v>
                </c:pt>
                <c:pt idx="2">
                  <c:v>Content quality</c:v>
                </c:pt>
                <c:pt idx="3">
                  <c:v>Content quantity</c:v>
                </c:pt>
                <c:pt idx="4">
                  <c:v>Ecosystem / bundling</c:v>
                </c:pt>
                <c:pt idx="5">
                  <c:v>Ads favourability</c:v>
                </c:pt>
                <c:pt idx="6">
                  <c:v>Franchise IP</c:v>
                </c:pt>
                <c:pt idx="7">
                  <c:v>Live sports</c:v>
                </c:pt>
              </c:strCache>
            </c:strRef>
          </c:cat>
          <c:val>
            <c:numRef>
              <c:f>Sheet1!$D$2:$D$9</c:f>
              <c:numCache>
                <c:formatCode>#,##0.0</c:formatCode>
                <c:ptCount val="8"/>
                <c:pt idx="0">
                  <c:v>4</c:v>
                </c:pt>
                <c:pt idx="1">
                  <c:v>4</c:v>
                </c:pt>
                <c:pt idx="2">
                  <c:v>3</c:v>
                </c:pt>
                <c:pt idx="3">
                  <c:v>4</c:v>
                </c:pt>
                <c:pt idx="4">
                  <c:v>5</c:v>
                </c:pt>
                <c:pt idx="5">
                  <c:v>2</c:v>
                </c:pt>
                <c:pt idx="6">
                  <c:v>3</c:v>
                </c:pt>
                <c:pt idx="7">
                  <c:v>5</c:v>
                </c:pt>
              </c:numCache>
            </c:numRef>
          </c:val>
          <c:smooth val="0"/>
          <c:extLst>
            <c:ext xmlns:c16="http://schemas.microsoft.com/office/drawing/2014/chart" uri="{C3380CC4-5D6E-409C-BE32-E72D297353CC}">
              <c16:uniqueId val="{00000002-1754-4841-888B-ECF66BDB0387}"/>
            </c:ext>
          </c:extLst>
        </c:ser>
        <c:ser>
          <c:idx val="3"/>
          <c:order val="3"/>
          <c:tx>
            <c:strRef>
              <c:f>Sheet1!$E$1</c:f>
              <c:strCache>
                <c:ptCount val="1"/>
                <c:pt idx="0">
                  <c:v>Disney+</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Sheet1!$A$2:$A$9</c:f>
              <c:strCache>
                <c:ptCount val="8"/>
                <c:pt idx="0">
                  <c:v>Personalisation</c:v>
                </c:pt>
                <c:pt idx="1">
                  <c:v>Seamless experience</c:v>
                </c:pt>
                <c:pt idx="2">
                  <c:v>Content quality</c:v>
                </c:pt>
                <c:pt idx="3">
                  <c:v>Content quantity</c:v>
                </c:pt>
                <c:pt idx="4">
                  <c:v>Ecosystem / bundling</c:v>
                </c:pt>
                <c:pt idx="5">
                  <c:v>Ads favourability</c:v>
                </c:pt>
                <c:pt idx="6">
                  <c:v>Franchise IP</c:v>
                </c:pt>
                <c:pt idx="7">
                  <c:v>Live sports</c:v>
                </c:pt>
              </c:strCache>
            </c:strRef>
          </c:cat>
          <c:val>
            <c:numRef>
              <c:f>Sheet1!$E$2:$E$9</c:f>
              <c:numCache>
                <c:formatCode>#,##0.0</c:formatCode>
                <c:ptCount val="8"/>
                <c:pt idx="0">
                  <c:v>3</c:v>
                </c:pt>
                <c:pt idx="1">
                  <c:v>4</c:v>
                </c:pt>
                <c:pt idx="2">
                  <c:v>4</c:v>
                </c:pt>
                <c:pt idx="3">
                  <c:v>3</c:v>
                </c:pt>
                <c:pt idx="4">
                  <c:v>4</c:v>
                </c:pt>
                <c:pt idx="5">
                  <c:v>3</c:v>
                </c:pt>
                <c:pt idx="6">
                  <c:v>5</c:v>
                </c:pt>
                <c:pt idx="7">
                  <c:v>4</c:v>
                </c:pt>
              </c:numCache>
            </c:numRef>
          </c:val>
          <c:smooth val="0"/>
          <c:extLst>
            <c:ext xmlns:c16="http://schemas.microsoft.com/office/drawing/2014/chart" uri="{C3380CC4-5D6E-409C-BE32-E72D297353CC}">
              <c16:uniqueId val="{00000000-5BF5-497F-A080-3699B885DEC0}"/>
            </c:ext>
          </c:extLst>
        </c:ser>
        <c:dLbls>
          <c:showLegendKey val="0"/>
          <c:showVal val="0"/>
          <c:showCatName val="0"/>
          <c:showSerName val="0"/>
          <c:showPercent val="0"/>
          <c:showBubbleSize val="0"/>
        </c:dLbls>
        <c:marker val="1"/>
        <c:smooth val="0"/>
        <c:axId val="526941487"/>
        <c:axId val="526940527"/>
      </c:lineChart>
      <c:catAx>
        <c:axId val="52694148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j-lt"/>
                <a:ea typeface="+mn-ea"/>
                <a:cs typeface="+mn-cs"/>
              </a:defRPr>
            </a:pPr>
            <a:endParaRPr lang="en-US"/>
          </a:p>
        </c:txPr>
        <c:crossAx val="526940527"/>
        <c:crosses val="autoZero"/>
        <c:auto val="1"/>
        <c:lblAlgn val="ctr"/>
        <c:lblOffset val="100"/>
        <c:noMultiLvlLbl val="0"/>
      </c:catAx>
      <c:valAx>
        <c:axId val="526940527"/>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526941487"/>
        <c:crosses val="autoZero"/>
        <c:crossBetween val="between"/>
      </c:valAx>
      <c:spPr>
        <a:noFill/>
        <a:ln>
          <a:noFill/>
        </a:ln>
        <a:effectLst/>
      </c:spPr>
    </c:plotArea>
    <c:legend>
      <c:legendPos val="b"/>
      <c:layout>
        <c:manualLayout>
          <c:xMode val="edge"/>
          <c:yMode val="edge"/>
          <c:x val="0.1155036038888721"/>
          <c:y val="2.9388196453529504E-2"/>
          <c:w val="0.69559751438929263"/>
          <c:h val="5.990762842007788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3333333333333331"/>
          <c:y val="5.3318824809575623E-2"/>
          <c:w val="0.59195402298850575"/>
          <c:h val="0.89336235038084877"/>
        </c:manualLayout>
      </c:layout>
      <c:scatterChart>
        <c:scatterStyle val="lineMarker"/>
        <c:varyColors val="0"/>
        <c:ser>
          <c:idx val="0"/>
          <c:order val="0"/>
          <c:spPr>
            <a:ln>
              <a:noFill/>
            </a:ln>
          </c:spPr>
          <c:marker>
            <c:symbol val="circle"/>
            <c:size val="6"/>
            <c:spPr>
              <a:solidFill>
                <a:srgbClr val="000000"/>
              </a:solidFill>
              <a:ln w="9525" cmpd="sng" algn="ctr">
                <a:solidFill>
                  <a:srgbClr val="000000"/>
                </a:solidFill>
                <a:prstDash val="solid"/>
              </a:ln>
            </c:spPr>
          </c:marker>
          <c:dPt>
            <c:idx val="0"/>
            <c:marker>
              <c:spPr>
                <a:solidFill>
                  <a:srgbClr val="ED192D"/>
                </a:solidFill>
                <a:ln w="9525" cmpd="sng" algn="ctr">
                  <a:solidFill>
                    <a:srgbClr val="ED192D"/>
                  </a:solidFill>
                  <a:prstDash val="solid"/>
                </a:ln>
              </c:spPr>
            </c:marker>
            <c:bubble3D val="0"/>
            <c:extLst>
              <c:ext xmlns:c16="http://schemas.microsoft.com/office/drawing/2014/chart" uri="{C3380CC4-5D6E-409C-BE32-E72D297353CC}">
                <c16:uniqueId val="{00000000-3612-4493-8F9D-0C99D18EEA12}"/>
              </c:ext>
            </c:extLst>
          </c:dPt>
          <c:dPt>
            <c:idx val="2"/>
            <c:marker>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1-3612-4493-8F9D-0C99D18EEA12}"/>
              </c:ext>
            </c:extLst>
          </c:dPt>
          <c:dPt>
            <c:idx val="3"/>
            <c:marker>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02-3612-4493-8F9D-0C99D18EEA12}"/>
              </c:ext>
            </c:extLst>
          </c:dPt>
          <c:xVal>
            <c:numRef>
              <c:f>Sheet1!$A$1:$A$4</c:f>
              <c:numCache>
                <c:formatCode>General</c:formatCode>
                <c:ptCount val="4"/>
                <c:pt idx="0">
                  <c:v>1</c:v>
                </c:pt>
                <c:pt idx="1">
                  <c:v>1</c:v>
                </c:pt>
                <c:pt idx="2">
                  <c:v>1</c:v>
                </c:pt>
                <c:pt idx="3">
                  <c:v>1</c:v>
                </c:pt>
              </c:numCache>
            </c:numRef>
          </c:xVal>
          <c:yVal>
            <c:numRef>
              <c:f>Sheet1!$B$1:$B$4</c:f>
              <c:numCache>
                <c:formatCode>General</c:formatCode>
                <c:ptCount val="4"/>
                <c:pt idx="0">
                  <c:v>12.99</c:v>
                </c:pt>
                <c:pt idx="1">
                  <c:v>9.99</c:v>
                </c:pt>
                <c:pt idx="2">
                  <c:v>14.99</c:v>
                </c:pt>
                <c:pt idx="3">
                  <c:v>15.99</c:v>
                </c:pt>
              </c:numCache>
            </c:numRef>
          </c:yVal>
          <c:smooth val="0"/>
          <c:extLst>
            <c:ext xmlns:c16="http://schemas.microsoft.com/office/drawing/2014/chart" uri="{C3380CC4-5D6E-409C-BE32-E72D297353CC}">
              <c16:uniqueId val="{00000003-3612-4493-8F9D-0C99D18EEA12}"/>
            </c:ext>
          </c:extLst>
        </c:ser>
        <c:dLbls>
          <c:showLegendKey val="0"/>
          <c:showVal val="0"/>
          <c:showCatName val="0"/>
          <c:showSerName val="0"/>
          <c:showPercent val="0"/>
          <c:showBubbleSize val="0"/>
        </c:dLbls>
        <c:axId val="102404016"/>
        <c:axId val="1"/>
      </c:scatterChart>
      <c:valAx>
        <c:axId val="102404016"/>
        <c:scaling>
          <c:orientation val="minMax"/>
          <c:max val="2"/>
          <c:min val="0"/>
        </c:scaling>
        <c:delete val="0"/>
        <c:axPos val="b"/>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1"/>
        <c:crosses val="min"/>
        <c:crossBetween val="midCat"/>
        <c:majorUnit val="1"/>
      </c:valAx>
      <c:valAx>
        <c:axId val="1"/>
        <c:scaling>
          <c:orientation val="minMax"/>
          <c:max val="18"/>
          <c:min val="6"/>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02404016"/>
        <c:crosses val="min"/>
        <c:crossBetween val="midCat"/>
        <c:majorUnit val="2"/>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178006862674072E-2"/>
          <c:y val="9.2706837523411509E-2"/>
          <c:w val="0.89459276574803148"/>
          <c:h val="0.62372834709629377"/>
        </c:manualLayout>
      </c:layout>
      <c:lineChart>
        <c:grouping val="standard"/>
        <c:varyColors val="0"/>
        <c:ser>
          <c:idx val="0"/>
          <c:order val="0"/>
          <c:tx>
            <c:strRef>
              <c:f>Sheet1!$B$1</c:f>
              <c:strCache>
                <c:ptCount val="1"/>
                <c:pt idx="0">
                  <c:v>British Airways</c:v>
                </c:pt>
              </c:strCache>
            </c:strRef>
          </c:tx>
          <c:spPr>
            <a:ln w="28575" cap="rnd">
              <a:solidFill>
                <a:srgbClr val="4176BC"/>
              </a:solidFill>
              <a:round/>
            </a:ln>
            <a:effectLst/>
          </c:spPr>
          <c:marker>
            <c:symbol val="circle"/>
            <c:size val="5"/>
            <c:spPr>
              <a:solidFill>
                <a:srgbClr val="4176BC"/>
              </a:solidFill>
              <a:ln w="9525">
                <a:solidFill>
                  <a:srgbClr val="4176BC"/>
                </a:solidFill>
              </a:ln>
              <a:effectLst/>
            </c:spPr>
          </c:marker>
          <c:cat>
            <c:strRef>
              <c:f>Sheet1!$A$2:$A$8</c:f>
              <c:strCache>
                <c:ptCount val="7"/>
                <c:pt idx="0">
                  <c:v>Destinations offer</c:v>
                </c:pt>
                <c:pt idx="1">
                  <c:v>Time accuracy</c:v>
                </c:pt>
                <c:pt idx="2">
                  <c:v>On-board comfort</c:v>
                </c:pt>
                <c:pt idx="3">
                  <c:v>Travel Classes</c:v>
                </c:pt>
                <c:pt idx="4">
                  <c:v>Loyalty Program</c:v>
                </c:pt>
                <c:pt idx="5">
                  <c:v>On-board service</c:v>
                </c:pt>
                <c:pt idx="6">
                  <c:v>Luggage weight included</c:v>
                </c:pt>
              </c:strCache>
            </c:strRef>
          </c:cat>
          <c:val>
            <c:numRef>
              <c:f>Sheet1!$B$2:$B$8</c:f>
              <c:numCache>
                <c:formatCode>#,##0.0</c:formatCode>
                <c:ptCount val="7"/>
                <c:pt idx="0">
                  <c:v>2.9</c:v>
                </c:pt>
                <c:pt idx="1">
                  <c:v>4</c:v>
                </c:pt>
                <c:pt idx="2">
                  <c:v>3.5</c:v>
                </c:pt>
                <c:pt idx="3">
                  <c:v>4.5</c:v>
                </c:pt>
                <c:pt idx="4">
                  <c:v>4.5</c:v>
                </c:pt>
                <c:pt idx="5">
                  <c:v>3.5</c:v>
                </c:pt>
                <c:pt idx="6">
                  <c:v>3.8</c:v>
                </c:pt>
              </c:numCache>
            </c:numRef>
          </c:val>
          <c:smooth val="0"/>
          <c:extLst>
            <c:ext xmlns:c16="http://schemas.microsoft.com/office/drawing/2014/chart" uri="{C3380CC4-5D6E-409C-BE32-E72D297353CC}">
              <c16:uniqueId val="{00000000-00DB-4CF2-A763-45C5429F82DD}"/>
            </c:ext>
          </c:extLst>
        </c:ser>
        <c:ser>
          <c:idx val="1"/>
          <c:order val="1"/>
          <c:tx>
            <c:strRef>
              <c:f>Sheet1!$C$1</c:f>
              <c:strCache>
                <c:ptCount val="1"/>
                <c:pt idx="0">
                  <c:v>Thomson</c:v>
                </c:pt>
              </c:strCache>
            </c:strRef>
          </c:tx>
          <c:spPr>
            <a:ln w="28575" cap="rnd">
              <a:solidFill>
                <a:srgbClr val="ED192D"/>
              </a:solidFill>
              <a:round/>
            </a:ln>
            <a:effectLst/>
          </c:spPr>
          <c:marker>
            <c:symbol val="circle"/>
            <c:size val="5"/>
            <c:spPr>
              <a:solidFill>
                <a:srgbClr val="ED192D"/>
              </a:solidFill>
              <a:ln w="9525">
                <a:solidFill>
                  <a:srgbClr val="ED192D"/>
                </a:solidFill>
              </a:ln>
              <a:effectLst/>
            </c:spPr>
          </c:marker>
          <c:cat>
            <c:strRef>
              <c:f>Sheet1!$A$2:$A$8</c:f>
              <c:strCache>
                <c:ptCount val="7"/>
                <c:pt idx="0">
                  <c:v>Destinations offer</c:v>
                </c:pt>
                <c:pt idx="1">
                  <c:v>Time accuracy</c:v>
                </c:pt>
                <c:pt idx="2">
                  <c:v>On-board comfort</c:v>
                </c:pt>
                <c:pt idx="3">
                  <c:v>Travel Classes</c:v>
                </c:pt>
                <c:pt idx="4">
                  <c:v>Loyalty Program</c:v>
                </c:pt>
                <c:pt idx="5">
                  <c:v>On-board service</c:v>
                </c:pt>
                <c:pt idx="6">
                  <c:v>Luggage weight included</c:v>
                </c:pt>
              </c:strCache>
            </c:strRef>
          </c:cat>
          <c:val>
            <c:numRef>
              <c:f>Sheet1!$C$2:$C$8</c:f>
              <c:numCache>
                <c:formatCode>#,##0.0</c:formatCode>
                <c:ptCount val="7"/>
                <c:pt idx="0">
                  <c:v>1.8</c:v>
                </c:pt>
                <c:pt idx="1">
                  <c:v>3.8</c:v>
                </c:pt>
                <c:pt idx="2">
                  <c:v>2.5</c:v>
                </c:pt>
                <c:pt idx="3">
                  <c:v>0.5</c:v>
                </c:pt>
                <c:pt idx="4">
                  <c:v>1</c:v>
                </c:pt>
                <c:pt idx="5">
                  <c:v>2</c:v>
                </c:pt>
                <c:pt idx="6">
                  <c:v>2.5</c:v>
                </c:pt>
              </c:numCache>
            </c:numRef>
          </c:val>
          <c:smooth val="0"/>
          <c:extLst>
            <c:ext xmlns:c16="http://schemas.microsoft.com/office/drawing/2014/chart" uri="{C3380CC4-5D6E-409C-BE32-E72D297353CC}">
              <c16:uniqueId val="{00000001-00DB-4CF2-A763-45C5429F82DD}"/>
            </c:ext>
          </c:extLst>
        </c:ser>
        <c:ser>
          <c:idx val="2"/>
          <c:order val="2"/>
          <c:tx>
            <c:strRef>
              <c:f>Sheet1!$D$1</c:f>
              <c:strCache>
                <c:ptCount val="1"/>
                <c:pt idx="0">
                  <c:v>Ryanair</c:v>
                </c:pt>
              </c:strCache>
            </c:strRef>
          </c:tx>
          <c:spPr>
            <a:ln w="28575" cap="rnd">
              <a:solidFill>
                <a:srgbClr val="F8D44D"/>
              </a:solidFill>
              <a:round/>
            </a:ln>
            <a:effectLst/>
          </c:spPr>
          <c:marker>
            <c:symbol val="circle"/>
            <c:size val="5"/>
            <c:spPr>
              <a:solidFill>
                <a:srgbClr val="F8D44D"/>
              </a:solidFill>
              <a:ln w="9525">
                <a:solidFill>
                  <a:srgbClr val="F8D44D"/>
                </a:solidFill>
              </a:ln>
              <a:effectLst/>
            </c:spPr>
          </c:marker>
          <c:cat>
            <c:strRef>
              <c:f>Sheet1!$A$2:$A$8</c:f>
              <c:strCache>
                <c:ptCount val="7"/>
                <c:pt idx="0">
                  <c:v>Destinations offer</c:v>
                </c:pt>
                <c:pt idx="1">
                  <c:v>Time accuracy</c:v>
                </c:pt>
                <c:pt idx="2">
                  <c:v>On-board comfort</c:v>
                </c:pt>
                <c:pt idx="3">
                  <c:v>Travel Classes</c:v>
                </c:pt>
                <c:pt idx="4">
                  <c:v>Loyalty Program</c:v>
                </c:pt>
                <c:pt idx="5">
                  <c:v>On-board service</c:v>
                </c:pt>
                <c:pt idx="6">
                  <c:v>Luggage weight included</c:v>
                </c:pt>
              </c:strCache>
            </c:strRef>
          </c:cat>
          <c:val>
            <c:numRef>
              <c:f>Sheet1!$D$2:$D$8</c:f>
              <c:numCache>
                <c:formatCode>#,##0.0</c:formatCode>
                <c:ptCount val="7"/>
                <c:pt idx="0">
                  <c:v>5</c:v>
                </c:pt>
                <c:pt idx="1">
                  <c:v>5</c:v>
                </c:pt>
                <c:pt idx="2">
                  <c:v>2</c:v>
                </c:pt>
                <c:pt idx="3">
                  <c:v>0.5</c:v>
                </c:pt>
                <c:pt idx="4">
                  <c:v>0.5</c:v>
                </c:pt>
                <c:pt idx="5">
                  <c:v>0.5</c:v>
                </c:pt>
                <c:pt idx="6">
                  <c:v>0.5</c:v>
                </c:pt>
              </c:numCache>
            </c:numRef>
          </c:val>
          <c:smooth val="0"/>
          <c:extLst>
            <c:ext xmlns:c16="http://schemas.microsoft.com/office/drawing/2014/chart" uri="{C3380CC4-5D6E-409C-BE32-E72D297353CC}">
              <c16:uniqueId val="{00000002-00DB-4CF2-A763-45C5429F82DD}"/>
            </c:ext>
          </c:extLst>
        </c:ser>
        <c:dLbls>
          <c:showLegendKey val="0"/>
          <c:showVal val="0"/>
          <c:showCatName val="0"/>
          <c:showSerName val="0"/>
          <c:showPercent val="0"/>
          <c:showBubbleSize val="0"/>
        </c:dLbls>
        <c:marker val="1"/>
        <c:smooth val="0"/>
        <c:axId val="526941487"/>
        <c:axId val="526940527"/>
      </c:lineChart>
      <c:catAx>
        <c:axId val="52694148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mj-lt"/>
                <a:ea typeface="+mn-ea"/>
                <a:cs typeface="+mn-cs"/>
              </a:defRPr>
            </a:pPr>
            <a:endParaRPr lang="en-US"/>
          </a:p>
        </c:txPr>
        <c:crossAx val="526940527"/>
        <c:crosses val="autoZero"/>
        <c:auto val="1"/>
        <c:lblAlgn val="ctr"/>
        <c:lblOffset val="100"/>
        <c:noMultiLvlLbl val="0"/>
      </c:catAx>
      <c:valAx>
        <c:axId val="526940527"/>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526941487"/>
        <c:crosses val="autoZero"/>
        <c:crossBetween val="between"/>
      </c:valAx>
      <c:spPr>
        <a:noFill/>
        <a:ln>
          <a:noFill/>
        </a:ln>
        <a:effectLst/>
      </c:spPr>
    </c:plotArea>
    <c:legend>
      <c:legendPos val="b"/>
      <c:layout>
        <c:manualLayout>
          <c:xMode val="edge"/>
          <c:yMode val="edge"/>
          <c:x val="6.3325639208098805E-2"/>
          <c:y val="2.9388123030809107E-2"/>
          <c:w val="0.87346249244029184"/>
          <c:h val="3.265341903709032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77519379844961"/>
          <c:y val="2.9782359679266894E-2"/>
          <c:w val="0.79844961240310075"/>
          <c:h val="0.9404352806414662"/>
        </c:manualLayout>
      </c:layout>
      <c:scatterChart>
        <c:scatterStyle val="lineMarker"/>
        <c:varyColors val="0"/>
        <c:ser>
          <c:idx val="0"/>
          <c:order val="0"/>
          <c:spPr>
            <a:ln>
              <a:noFill/>
            </a:ln>
          </c:spPr>
          <c:marker>
            <c:symbol val="circle"/>
            <c:size val="6"/>
            <c:spPr>
              <a:solidFill>
                <a:srgbClr val="ED192D"/>
              </a:solidFill>
              <a:ln w="9525" cmpd="sng" algn="ctr">
                <a:solidFill>
                  <a:srgbClr val="ED192D"/>
                </a:solidFill>
                <a:prstDash val="solid"/>
              </a:ln>
            </c:spPr>
          </c:marker>
          <c:dPt>
            <c:idx val="0"/>
            <c:marker>
              <c:spPr>
                <a:solidFill>
                  <a:srgbClr val="4176BC"/>
                </a:solidFill>
                <a:ln w="9525" cmpd="sng" algn="ctr">
                  <a:solidFill>
                    <a:srgbClr val="4176BC"/>
                  </a:solidFill>
                  <a:prstDash val="solid"/>
                </a:ln>
              </c:spPr>
            </c:marker>
            <c:bubble3D val="0"/>
            <c:extLst>
              <c:ext xmlns:c16="http://schemas.microsoft.com/office/drawing/2014/chart" uri="{C3380CC4-5D6E-409C-BE32-E72D297353CC}">
                <c16:uniqueId val="{00000000-D0A1-422F-9273-0945D86F754C}"/>
              </c:ext>
            </c:extLst>
          </c:dPt>
          <c:dPt>
            <c:idx val="2"/>
            <c:marker>
              <c:spPr>
                <a:solidFill>
                  <a:srgbClr val="F9D54D"/>
                </a:solidFill>
                <a:ln w="9525" cmpd="sng" algn="ctr">
                  <a:solidFill>
                    <a:srgbClr val="F9D54D"/>
                  </a:solidFill>
                  <a:prstDash val="solid"/>
                </a:ln>
              </c:spPr>
            </c:marker>
            <c:bubble3D val="0"/>
            <c:extLst>
              <c:ext xmlns:c16="http://schemas.microsoft.com/office/drawing/2014/chart" uri="{C3380CC4-5D6E-409C-BE32-E72D297353CC}">
                <c16:uniqueId val="{00000001-D0A1-422F-9273-0945D86F754C}"/>
              </c:ext>
            </c:extLst>
          </c:dPt>
          <c:xVal>
            <c:numRef>
              <c:f>Sheet1!$A$1:$A$3</c:f>
              <c:numCache>
                <c:formatCode>General</c:formatCode>
                <c:ptCount val="3"/>
                <c:pt idx="0">
                  <c:v>1</c:v>
                </c:pt>
                <c:pt idx="1">
                  <c:v>1</c:v>
                </c:pt>
                <c:pt idx="2">
                  <c:v>1</c:v>
                </c:pt>
              </c:numCache>
            </c:numRef>
          </c:xVal>
          <c:yVal>
            <c:numRef>
              <c:f>Sheet1!$B$1:$B$3</c:f>
              <c:numCache>
                <c:formatCode>General</c:formatCode>
                <c:ptCount val="3"/>
                <c:pt idx="0">
                  <c:v>180</c:v>
                </c:pt>
                <c:pt idx="1">
                  <c:v>120</c:v>
                </c:pt>
                <c:pt idx="2">
                  <c:v>60</c:v>
                </c:pt>
              </c:numCache>
            </c:numRef>
          </c:yVal>
          <c:smooth val="0"/>
          <c:extLst>
            <c:ext xmlns:c16="http://schemas.microsoft.com/office/drawing/2014/chart" uri="{C3380CC4-5D6E-409C-BE32-E72D297353CC}">
              <c16:uniqueId val="{00000002-D0A1-422F-9273-0945D86F754C}"/>
            </c:ext>
          </c:extLst>
        </c:ser>
        <c:dLbls>
          <c:showLegendKey val="0"/>
          <c:showVal val="0"/>
          <c:showCatName val="0"/>
          <c:showSerName val="0"/>
          <c:showPercent val="0"/>
          <c:showBubbleSize val="0"/>
        </c:dLbls>
        <c:axId val="1875560655"/>
        <c:axId val="1"/>
      </c:scatterChart>
      <c:valAx>
        <c:axId val="1875560655"/>
        <c:scaling>
          <c:orientation val="minMax"/>
          <c:max val="2"/>
          <c:min val="0"/>
        </c:scaling>
        <c:delete val="0"/>
        <c:axPos val="b"/>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1"/>
        <c:crosses val="min"/>
        <c:crossBetween val="midCat"/>
        <c:majorUnit val="1"/>
      </c:valAx>
      <c:valAx>
        <c:axId val="1"/>
        <c:scaling>
          <c:orientation val="minMax"/>
          <c:max val="18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875560655"/>
        <c:crosses val="min"/>
        <c:crossBetween val="midCat"/>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178006862674072E-2"/>
          <c:y val="9.2706837523411509E-2"/>
          <c:w val="0.89459276574803148"/>
          <c:h val="0.62372834709629377"/>
        </c:manualLayout>
      </c:layout>
      <c:lineChart>
        <c:grouping val="standard"/>
        <c:varyColors val="0"/>
        <c:ser>
          <c:idx val="0"/>
          <c:order val="0"/>
          <c:tx>
            <c:strRef>
              <c:f>Sheet1!$B$1</c:f>
              <c:strCache>
                <c:ptCount val="1"/>
                <c:pt idx="0">
                  <c:v>Louis Vuitton</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f>Sheet1!$A$2:$A$8</c:f>
              <c:strCache>
                <c:ptCount val="7"/>
                <c:pt idx="0">
                  <c:v>Timeless Design</c:v>
                </c:pt>
                <c:pt idx="1">
                  <c:v>Social Status Signaling</c:v>
                </c:pt>
                <c:pt idx="2">
                  <c:v>Superior Craftmanship</c:v>
                </c:pt>
                <c:pt idx="3">
                  <c:v>Exclusivity</c:v>
                </c:pt>
                <c:pt idx="4">
                  <c:v>Ownership Experience</c:v>
                </c:pt>
                <c:pt idx="5">
                  <c:v>Heritage &amp; Storytelling</c:v>
                </c:pt>
                <c:pt idx="6">
                  <c:v>Digital Innovation &amp; Engagement</c:v>
                </c:pt>
              </c:strCache>
            </c:strRef>
          </c:cat>
          <c:val>
            <c:numRef>
              <c:f>Sheet1!$B$2:$B$8</c:f>
              <c:numCache>
                <c:formatCode>#,##0.0</c:formatCode>
                <c:ptCount val="7"/>
                <c:pt idx="0">
                  <c:v>5</c:v>
                </c:pt>
                <c:pt idx="1">
                  <c:v>5</c:v>
                </c:pt>
                <c:pt idx="2">
                  <c:v>5</c:v>
                </c:pt>
                <c:pt idx="3">
                  <c:v>4.3</c:v>
                </c:pt>
                <c:pt idx="4">
                  <c:v>4</c:v>
                </c:pt>
                <c:pt idx="5">
                  <c:v>4.5</c:v>
                </c:pt>
                <c:pt idx="6">
                  <c:v>5</c:v>
                </c:pt>
              </c:numCache>
            </c:numRef>
          </c:val>
          <c:smooth val="0"/>
          <c:extLst>
            <c:ext xmlns:c16="http://schemas.microsoft.com/office/drawing/2014/chart" uri="{C3380CC4-5D6E-409C-BE32-E72D297353CC}">
              <c16:uniqueId val="{00000000-00DB-4CF2-A763-45C5429F82DD}"/>
            </c:ext>
          </c:extLst>
        </c:ser>
        <c:ser>
          <c:idx val="1"/>
          <c:order val="1"/>
          <c:tx>
            <c:strRef>
              <c:f>Sheet1!$C$1</c:f>
              <c:strCache>
                <c:ptCount val="1"/>
                <c:pt idx="0">
                  <c:v>Coach</c:v>
                </c:pt>
              </c:strCache>
            </c:strRef>
          </c:tx>
          <c:spPr>
            <a:ln w="28575" cap="rnd">
              <a:solidFill>
                <a:srgbClr val="3C8051"/>
              </a:solidFill>
              <a:round/>
            </a:ln>
            <a:effectLst/>
          </c:spPr>
          <c:marker>
            <c:symbol val="circle"/>
            <c:size val="5"/>
            <c:spPr>
              <a:solidFill>
                <a:srgbClr val="3C8051"/>
              </a:solidFill>
              <a:ln w="9525">
                <a:solidFill>
                  <a:srgbClr val="3C8051"/>
                </a:solidFill>
              </a:ln>
              <a:effectLst/>
            </c:spPr>
          </c:marker>
          <c:cat>
            <c:strRef>
              <c:f>Sheet1!$A$2:$A$8</c:f>
              <c:strCache>
                <c:ptCount val="7"/>
                <c:pt idx="0">
                  <c:v>Timeless Design</c:v>
                </c:pt>
                <c:pt idx="1">
                  <c:v>Social Status Signaling</c:v>
                </c:pt>
                <c:pt idx="2">
                  <c:v>Superior Craftmanship</c:v>
                </c:pt>
                <c:pt idx="3">
                  <c:v>Exclusivity</c:v>
                </c:pt>
                <c:pt idx="4">
                  <c:v>Ownership Experience</c:v>
                </c:pt>
                <c:pt idx="5">
                  <c:v>Heritage &amp; Storytelling</c:v>
                </c:pt>
                <c:pt idx="6">
                  <c:v>Digital Innovation &amp; Engagement</c:v>
                </c:pt>
              </c:strCache>
            </c:strRef>
          </c:cat>
          <c:val>
            <c:numRef>
              <c:f>Sheet1!$C$2:$C$8</c:f>
              <c:numCache>
                <c:formatCode>#,##0.0</c:formatCode>
                <c:ptCount val="7"/>
                <c:pt idx="0">
                  <c:v>3</c:v>
                </c:pt>
                <c:pt idx="1">
                  <c:v>2</c:v>
                </c:pt>
                <c:pt idx="2">
                  <c:v>3</c:v>
                </c:pt>
                <c:pt idx="3">
                  <c:v>2</c:v>
                </c:pt>
                <c:pt idx="4">
                  <c:v>3</c:v>
                </c:pt>
                <c:pt idx="5">
                  <c:v>3</c:v>
                </c:pt>
                <c:pt idx="6">
                  <c:v>4</c:v>
                </c:pt>
              </c:numCache>
            </c:numRef>
          </c:val>
          <c:smooth val="0"/>
          <c:extLst>
            <c:ext xmlns:c16="http://schemas.microsoft.com/office/drawing/2014/chart" uri="{C3380CC4-5D6E-409C-BE32-E72D297353CC}">
              <c16:uniqueId val="{00000001-00DB-4CF2-A763-45C5429F82DD}"/>
            </c:ext>
          </c:extLst>
        </c:ser>
        <c:ser>
          <c:idx val="2"/>
          <c:order val="2"/>
          <c:tx>
            <c:strRef>
              <c:f>Sheet1!$D$1</c:f>
              <c:strCache>
                <c:ptCount val="1"/>
                <c:pt idx="0">
                  <c:v>Michael Kors</c:v>
                </c:pt>
              </c:strCache>
            </c:strRef>
          </c:tx>
          <c:spPr>
            <a:ln w="28575" cap="rnd">
              <a:solidFill>
                <a:srgbClr val="0F9ED5"/>
              </a:solidFill>
              <a:round/>
            </a:ln>
            <a:effectLst/>
          </c:spPr>
          <c:marker>
            <c:symbol val="circle"/>
            <c:size val="5"/>
            <c:spPr>
              <a:solidFill>
                <a:srgbClr val="0F9ED5"/>
              </a:solidFill>
              <a:ln w="9525">
                <a:solidFill>
                  <a:srgbClr val="0F9ED5"/>
                </a:solidFill>
              </a:ln>
              <a:effectLst/>
            </c:spPr>
          </c:marker>
          <c:cat>
            <c:strRef>
              <c:f>Sheet1!$A$2:$A$8</c:f>
              <c:strCache>
                <c:ptCount val="7"/>
                <c:pt idx="0">
                  <c:v>Timeless Design</c:v>
                </c:pt>
                <c:pt idx="1">
                  <c:v>Social Status Signaling</c:v>
                </c:pt>
                <c:pt idx="2">
                  <c:v>Superior Craftmanship</c:v>
                </c:pt>
                <c:pt idx="3">
                  <c:v>Exclusivity</c:v>
                </c:pt>
                <c:pt idx="4">
                  <c:v>Ownership Experience</c:v>
                </c:pt>
                <c:pt idx="5">
                  <c:v>Heritage &amp; Storytelling</c:v>
                </c:pt>
                <c:pt idx="6">
                  <c:v>Digital Innovation &amp; Engagement</c:v>
                </c:pt>
              </c:strCache>
            </c:strRef>
          </c:cat>
          <c:val>
            <c:numRef>
              <c:f>Sheet1!$D$2:$D$8</c:f>
              <c:numCache>
                <c:formatCode>#,##0.0</c:formatCode>
                <c:ptCount val="7"/>
                <c:pt idx="0">
                  <c:v>2</c:v>
                </c:pt>
                <c:pt idx="1">
                  <c:v>2</c:v>
                </c:pt>
                <c:pt idx="2">
                  <c:v>2</c:v>
                </c:pt>
                <c:pt idx="3">
                  <c:v>1</c:v>
                </c:pt>
                <c:pt idx="4">
                  <c:v>2</c:v>
                </c:pt>
                <c:pt idx="5">
                  <c:v>2</c:v>
                </c:pt>
                <c:pt idx="6">
                  <c:v>3</c:v>
                </c:pt>
              </c:numCache>
            </c:numRef>
          </c:val>
          <c:smooth val="0"/>
          <c:extLst>
            <c:ext xmlns:c16="http://schemas.microsoft.com/office/drawing/2014/chart" uri="{C3380CC4-5D6E-409C-BE32-E72D297353CC}">
              <c16:uniqueId val="{00000002-00DB-4CF2-A763-45C5429F82DD}"/>
            </c:ext>
          </c:extLst>
        </c:ser>
        <c:dLbls>
          <c:showLegendKey val="0"/>
          <c:showVal val="0"/>
          <c:showCatName val="0"/>
          <c:showSerName val="0"/>
          <c:showPercent val="0"/>
          <c:showBubbleSize val="0"/>
        </c:dLbls>
        <c:marker val="1"/>
        <c:smooth val="0"/>
        <c:axId val="526941487"/>
        <c:axId val="526940527"/>
      </c:lineChart>
      <c:catAx>
        <c:axId val="52694148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j-lt"/>
                <a:ea typeface="+mn-ea"/>
                <a:cs typeface="+mn-cs"/>
              </a:defRPr>
            </a:pPr>
            <a:endParaRPr lang="en-US"/>
          </a:p>
        </c:txPr>
        <c:crossAx val="526940527"/>
        <c:crosses val="autoZero"/>
        <c:auto val="1"/>
        <c:lblAlgn val="ctr"/>
        <c:lblOffset val="100"/>
        <c:noMultiLvlLbl val="0"/>
      </c:catAx>
      <c:valAx>
        <c:axId val="526940527"/>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526941487"/>
        <c:crosses val="autoZero"/>
        <c:crossBetween val="between"/>
      </c:valAx>
      <c:spPr>
        <a:noFill/>
        <a:ln>
          <a:noFill/>
        </a:ln>
        <a:effectLst/>
      </c:spPr>
    </c:plotArea>
    <c:legend>
      <c:legendPos val="b"/>
      <c:layout>
        <c:manualLayout>
          <c:xMode val="edge"/>
          <c:yMode val="edge"/>
          <c:x val="6.3325639208098805E-2"/>
          <c:y val="2.9388123030809107E-2"/>
          <c:w val="0.87346249244029184"/>
          <c:h val="3.265341903709032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7212449255751012"/>
          <c:y val="5.3318824809575623E-2"/>
          <c:w val="0.55751014884979699"/>
          <c:h val="0.89336235038084877"/>
        </c:manualLayout>
      </c:layout>
      <c:scatterChart>
        <c:scatterStyle val="lineMarker"/>
        <c:varyColors val="0"/>
        <c:ser>
          <c:idx val="0"/>
          <c:order val="0"/>
          <c:spPr>
            <a:ln>
              <a:noFill/>
            </a:ln>
          </c:spPr>
          <c:marker>
            <c:symbol val="circle"/>
            <c:size val="6"/>
            <c:spPr>
              <a:solidFill>
                <a:srgbClr val="257253"/>
              </a:solidFill>
              <a:ln w="9525" cmpd="sng" algn="ctr">
                <a:solidFill>
                  <a:srgbClr val="257253"/>
                </a:solidFill>
                <a:prstDash val="solid"/>
              </a:ln>
            </c:spPr>
          </c:marker>
          <c:dPt>
            <c:idx val="0"/>
            <c:marker>
              <c:spPr>
                <a:solidFill>
                  <a:schemeClr val="folHlink"/>
                </a:solidFill>
                <a:ln w="9525" cmpd="sng" algn="ctr">
                  <a:solidFill>
                    <a:schemeClr val="folHlink"/>
                  </a:solidFill>
                  <a:prstDash val="solid"/>
                </a:ln>
              </c:spPr>
            </c:marker>
            <c:bubble3D val="0"/>
            <c:extLst>
              <c:ext xmlns:c16="http://schemas.microsoft.com/office/drawing/2014/chart" uri="{C3380CC4-5D6E-409C-BE32-E72D297353CC}">
                <c16:uniqueId val="{00000000-1581-4976-AD68-8EB14C990C9B}"/>
              </c:ext>
            </c:extLst>
          </c:dPt>
          <c:dPt>
            <c:idx val="2"/>
            <c:marker>
              <c:spPr>
                <a:solidFill>
                  <a:srgbClr val="00ACE9"/>
                </a:solidFill>
                <a:ln w="9525" cmpd="sng" algn="ctr">
                  <a:solidFill>
                    <a:srgbClr val="00ACE9"/>
                  </a:solidFill>
                  <a:prstDash val="solid"/>
                </a:ln>
              </c:spPr>
            </c:marker>
            <c:bubble3D val="0"/>
            <c:extLst>
              <c:ext xmlns:c16="http://schemas.microsoft.com/office/drawing/2014/chart" uri="{C3380CC4-5D6E-409C-BE32-E72D297353CC}">
                <c16:uniqueId val="{00000001-1581-4976-AD68-8EB14C990C9B}"/>
              </c:ext>
            </c:extLst>
          </c:dPt>
          <c:xVal>
            <c:numRef>
              <c:f>Sheet1!$A$1:$A$3</c:f>
              <c:numCache>
                <c:formatCode>General</c:formatCode>
                <c:ptCount val="3"/>
                <c:pt idx="0">
                  <c:v>1</c:v>
                </c:pt>
                <c:pt idx="1">
                  <c:v>1</c:v>
                </c:pt>
                <c:pt idx="2">
                  <c:v>1</c:v>
                </c:pt>
              </c:numCache>
            </c:numRef>
          </c:xVal>
          <c:yVal>
            <c:numRef>
              <c:f>Sheet1!$B$1:$B$3</c:f>
              <c:numCache>
                <c:formatCode>General</c:formatCode>
                <c:ptCount val="3"/>
                <c:pt idx="0">
                  <c:v>100</c:v>
                </c:pt>
                <c:pt idx="1">
                  <c:v>15</c:v>
                </c:pt>
                <c:pt idx="2">
                  <c:v>25</c:v>
                </c:pt>
              </c:numCache>
            </c:numRef>
          </c:yVal>
          <c:smooth val="0"/>
          <c:extLst>
            <c:ext xmlns:c16="http://schemas.microsoft.com/office/drawing/2014/chart" uri="{C3380CC4-5D6E-409C-BE32-E72D297353CC}">
              <c16:uniqueId val="{00000002-1581-4976-AD68-8EB14C990C9B}"/>
            </c:ext>
          </c:extLst>
        </c:ser>
        <c:dLbls>
          <c:showLegendKey val="0"/>
          <c:showVal val="0"/>
          <c:showCatName val="0"/>
          <c:showSerName val="0"/>
          <c:showPercent val="0"/>
          <c:showBubbleSize val="0"/>
        </c:dLbls>
        <c:axId val="1875542895"/>
        <c:axId val="1"/>
      </c:scatterChart>
      <c:valAx>
        <c:axId val="1875542895"/>
        <c:scaling>
          <c:orientation val="minMax"/>
          <c:max val="2"/>
          <c:min val="0"/>
        </c:scaling>
        <c:delete val="0"/>
        <c:axPos val="b"/>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1"/>
        <c:crosses val="min"/>
        <c:crossBetween val="midCat"/>
        <c:majorUnit val="1"/>
      </c:valAx>
      <c:valAx>
        <c:axId val="1"/>
        <c:scaling>
          <c:orientation val="minMax"/>
          <c:max val="11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875542895"/>
        <c:crosses val="min"/>
        <c:crossBetween val="midCat"/>
        <c:majorUnit val="1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178006862674072E-2"/>
          <c:y val="9.2706837523411509E-2"/>
          <c:w val="0.89459276574803148"/>
          <c:h val="0.62372834709629377"/>
        </c:manualLayout>
      </c:layout>
      <c:lineChart>
        <c:grouping val="standard"/>
        <c:varyColors val="0"/>
        <c:ser>
          <c:idx val="0"/>
          <c:order val="0"/>
          <c:tx>
            <c:strRef>
              <c:f>Sheet1!$B$1</c:f>
              <c:strCache>
                <c:ptCount val="1"/>
                <c:pt idx="0">
                  <c:v>iPhone</c:v>
                </c:pt>
              </c:strCache>
            </c:strRef>
          </c:tx>
          <c:spPr>
            <a:ln w="28575" cap="rnd">
              <a:solidFill>
                <a:srgbClr val="A8B0BF"/>
              </a:solidFill>
              <a:round/>
            </a:ln>
            <a:effectLst/>
          </c:spPr>
          <c:marker>
            <c:symbol val="circle"/>
            <c:size val="5"/>
            <c:spPr>
              <a:solidFill>
                <a:srgbClr val="A8B0BF"/>
              </a:solidFill>
              <a:ln w="9525">
                <a:solidFill>
                  <a:srgbClr val="A8B0BF"/>
                </a:solidFill>
              </a:ln>
              <a:effectLst/>
            </c:spPr>
          </c:marker>
          <c:cat>
            <c:strRef>
              <c:f>Sheet1!$A$2:$A$9</c:f>
              <c:strCache>
                <c:ptCount val="8"/>
                <c:pt idx="0">
                  <c:v>Variety of Models</c:v>
                </c:pt>
                <c:pt idx="1">
                  <c:v>Number of physical buttons</c:v>
                </c:pt>
                <c:pt idx="2">
                  <c:v>Business applications</c:v>
                </c:pt>
                <c:pt idx="3">
                  <c:v>PC-like performance
</c:v>
                </c:pt>
                <c:pt idx="4">
                  <c:v>Mobile Internet</c:v>
                </c:pt>
                <c:pt idx="5">
                  <c:v>Style &amp; Fun</c:v>
                </c:pt>
                <c:pt idx="6">
                  <c:v>Ease of Use</c:v>
                </c:pt>
                <c:pt idx="7">
                  <c:v>Customization
 through App
 Store</c:v>
                </c:pt>
              </c:strCache>
            </c:strRef>
          </c:cat>
          <c:val>
            <c:numRef>
              <c:f>Sheet1!$B$2:$B$9</c:f>
              <c:numCache>
                <c:formatCode>#,##0.0</c:formatCode>
                <c:ptCount val="8"/>
                <c:pt idx="0">
                  <c:v>0.5</c:v>
                </c:pt>
                <c:pt idx="1">
                  <c:v>0.5</c:v>
                </c:pt>
                <c:pt idx="2">
                  <c:v>1.5</c:v>
                </c:pt>
                <c:pt idx="3">
                  <c:v>3</c:v>
                </c:pt>
                <c:pt idx="4">
                  <c:v>4</c:v>
                </c:pt>
                <c:pt idx="5">
                  <c:v>4.8</c:v>
                </c:pt>
                <c:pt idx="6">
                  <c:v>4.8</c:v>
                </c:pt>
                <c:pt idx="7">
                  <c:v>4.8</c:v>
                </c:pt>
              </c:numCache>
            </c:numRef>
          </c:val>
          <c:smooth val="0"/>
          <c:extLst>
            <c:ext xmlns:c16="http://schemas.microsoft.com/office/drawing/2014/chart" uri="{C3380CC4-5D6E-409C-BE32-E72D297353CC}">
              <c16:uniqueId val="{00000000-00DB-4CF2-A763-45C5429F82DD}"/>
            </c:ext>
          </c:extLst>
        </c:ser>
        <c:ser>
          <c:idx val="1"/>
          <c:order val="1"/>
          <c:tx>
            <c:strRef>
              <c:f>Sheet1!$C$1</c:f>
              <c:strCache>
                <c:ptCount val="1"/>
                <c:pt idx="0">
                  <c:v>Feature phone</c:v>
                </c:pt>
              </c:strCache>
            </c:strRef>
          </c:tx>
          <c:spPr>
            <a:ln w="28575" cap="rnd">
              <a:solidFill>
                <a:srgbClr val="28338A"/>
              </a:solidFill>
              <a:round/>
            </a:ln>
            <a:effectLst/>
          </c:spPr>
          <c:marker>
            <c:symbol val="circle"/>
            <c:size val="5"/>
            <c:spPr>
              <a:solidFill>
                <a:srgbClr val="28338A"/>
              </a:solidFill>
              <a:ln w="9525">
                <a:solidFill>
                  <a:srgbClr val="28338A"/>
                </a:solidFill>
              </a:ln>
              <a:effectLst/>
            </c:spPr>
          </c:marker>
          <c:cat>
            <c:strRef>
              <c:f>Sheet1!$A$2:$A$9</c:f>
              <c:strCache>
                <c:ptCount val="8"/>
                <c:pt idx="0">
                  <c:v>Variety of Models</c:v>
                </c:pt>
                <c:pt idx="1">
                  <c:v>Number of physical buttons</c:v>
                </c:pt>
                <c:pt idx="2">
                  <c:v>Business applications</c:v>
                </c:pt>
                <c:pt idx="3">
                  <c:v>PC-like performance
</c:v>
                </c:pt>
                <c:pt idx="4">
                  <c:v>Mobile Internet</c:v>
                </c:pt>
                <c:pt idx="5">
                  <c:v>Style &amp; Fun</c:v>
                </c:pt>
                <c:pt idx="6">
                  <c:v>Ease of Use</c:v>
                </c:pt>
                <c:pt idx="7">
                  <c:v>Customization
 through App
 Store</c:v>
                </c:pt>
              </c:strCache>
            </c:strRef>
          </c:cat>
          <c:val>
            <c:numRef>
              <c:f>Sheet1!$C$2:$C$9</c:f>
              <c:numCache>
                <c:formatCode>#,##0.0</c:formatCode>
                <c:ptCount val="8"/>
                <c:pt idx="0">
                  <c:v>4.8</c:v>
                </c:pt>
                <c:pt idx="1">
                  <c:v>2.8</c:v>
                </c:pt>
                <c:pt idx="2">
                  <c:v>1.3</c:v>
                </c:pt>
                <c:pt idx="3">
                  <c:v>1.3</c:v>
                </c:pt>
                <c:pt idx="4">
                  <c:v>1.4</c:v>
                </c:pt>
                <c:pt idx="5">
                  <c:v>2</c:v>
                </c:pt>
                <c:pt idx="6">
                  <c:v>2.2000000000000002</c:v>
                </c:pt>
              </c:numCache>
            </c:numRef>
          </c:val>
          <c:smooth val="0"/>
          <c:extLst>
            <c:ext xmlns:c16="http://schemas.microsoft.com/office/drawing/2014/chart" uri="{C3380CC4-5D6E-409C-BE32-E72D297353CC}">
              <c16:uniqueId val="{00000001-00DB-4CF2-A763-45C5429F82DD}"/>
            </c:ext>
          </c:extLst>
        </c:ser>
        <c:ser>
          <c:idx val="2"/>
          <c:order val="2"/>
          <c:tx>
            <c:strRef>
              <c:f>Sheet1!$D$1</c:f>
              <c:strCache>
                <c:ptCount val="1"/>
                <c:pt idx="0">
                  <c:v>Smartphone</c:v>
                </c:pt>
              </c:strCache>
            </c:strRef>
          </c:tx>
          <c:spPr>
            <a:ln w="28575" cap="rnd">
              <a:solidFill>
                <a:srgbClr val="90CD54"/>
              </a:solidFill>
              <a:round/>
            </a:ln>
            <a:effectLst/>
          </c:spPr>
          <c:marker>
            <c:symbol val="circle"/>
            <c:size val="5"/>
            <c:spPr>
              <a:solidFill>
                <a:srgbClr val="90CD54"/>
              </a:solidFill>
              <a:ln w="9525">
                <a:solidFill>
                  <a:srgbClr val="90CD54"/>
                </a:solidFill>
              </a:ln>
              <a:effectLst/>
            </c:spPr>
          </c:marker>
          <c:cat>
            <c:strRef>
              <c:f>Sheet1!$A$2:$A$9</c:f>
              <c:strCache>
                <c:ptCount val="8"/>
                <c:pt idx="0">
                  <c:v>Variety of Models</c:v>
                </c:pt>
                <c:pt idx="1">
                  <c:v>Number of physical buttons</c:v>
                </c:pt>
                <c:pt idx="2">
                  <c:v>Business applications</c:v>
                </c:pt>
                <c:pt idx="3">
                  <c:v>PC-like performance
</c:v>
                </c:pt>
                <c:pt idx="4">
                  <c:v>Mobile Internet</c:v>
                </c:pt>
                <c:pt idx="5">
                  <c:v>Style &amp; Fun</c:v>
                </c:pt>
                <c:pt idx="6">
                  <c:v>Ease of Use</c:v>
                </c:pt>
                <c:pt idx="7">
                  <c:v>Customization
 through App
 Store</c:v>
                </c:pt>
              </c:strCache>
            </c:strRef>
          </c:cat>
          <c:val>
            <c:numRef>
              <c:f>Sheet1!$D$2:$D$9</c:f>
              <c:numCache>
                <c:formatCode>#,##0.0</c:formatCode>
                <c:ptCount val="8"/>
                <c:pt idx="0">
                  <c:v>3.8</c:v>
                </c:pt>
                <c:pt idx="1">
                  <c:v>4.8</c:v>
                </c:pt>
                <c:pt idx="2">
                  <c:v>4.8</c:v>
                </c:pt>
                <c:pt idx="3">
                  <c:v>4</c:v>
                </c:pt>
                <c:pt idx="4">
                  <c:v>3</c:v>
                </c:pt>
                <c:pt idx="5">
                  <c:v>1.5</c:v>
                </c:pt>
                <c:pt idx="6">
                  <c:v>1.4</c:v>
                </c:pt>
              </c:numCache>
            </c:numRef>
          </c:val>
          <c:smooth val="0"/>
          <c:extLst>
            <c:ext xmlns:c16="http://schemas.microsoft.com/office/drawing/2014/chart" uri="{C3380CC4-5D6E-409C-BE32-E72D297353CC}">
              <c16:uniqueId val="{00000002-00DB-4CF2-A763-45C5429F82DD}"/>
            </c:ext>
          </c:extLst>
        </c:ser>
        <c:dLbls>
          <c:showLegendKey val="0"/>
          <c:showVal val="0"/>
          <c:showCatName val="0"/>
          <c:showSerName val="0"/>
          <c:showPercent val="0"/>
          <c:showBubbleSize val="0"/>
        </c:dLbls>
        <c:marker val="1"/>
        <c:smooth val="0"/>
        <c:axId val="526941487"/>
        <c:axId val="526940527"/>
      </c:lineChart>
      <c:catAx>
        <c:axId val="52694148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j-lt"/>
                <a:ea typeface="+mn-ea"/>
                <a:cs typeface="+mn-cs"/>
              </a:defRPr>
            </a:pPr>
            <a:endParaRPr lang="en-US"/>
          </a:p>
        </c:txPr>
        <c:crossAx val="526940527"/>
        <c:crosses val="autoZero"/>
        <c:auto val="1"/>
        <c:lblAlgn val="ctr"/>
        <c:lblOffset val="100"/>
        <c:noMultiLvlLbl val="0"/>
      </c:catAx>
      <c:valAx>
        <c:axId val="526940527"/>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526941487"/>
        <c:crosses val="autoZero"/>
        <c:crossBetween val="between"/>
      </c:valAx>
      <c:spPr>
        <a:noFill/>
        <a:ln>
          <a:noFill/>
        </a:ln>
        <a:effectLst/>
      </c:spPr>
    </c:plotArea>
    <c:legend>
      <c:legendPos val="b"/>
      <c:layout>
        <c:manualLayout>
          <c:xMode val="edge"/>
          <c:yMode val="edge"/>
          <c:x val="6.3325639208098805E-2"/>
          <c:y val="2.9388123030809107E-2"/>
          <c:w val="0.87346249244029184"/>
          <c:h val="3.265341903709032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F1F1F1"/>
      </a:solid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377B535-AAF0-4C92-8A5A-13CE3A2E8072}" type="datetimeFigureOut">
              <a:rPr lang="en-GB" smtClean="0"/>
              <a:pPr/>
              <a:t>27/06/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F91151F3-9BE5-4910-B548-641E17A40E74}" type="slidenum">
              <a:rPr lang="en-GB" smtClean="0"/>
              <a:pPr/>
              <a:t>‹#›</a:t>
            </a:fld>
            <a:endParaRPr lang="en-GB"/>
          </a:p>
        </p:txBody>
      </p:sp>
    </p:spTree>
    <p:extLst>
      <p:ext uri="{BB962C8B-B14F-4D97-AF65-F5344CB8AC3E}">
        <p14:creationId xmlns:p14="http://schemas.microsoft.com/office/powerpoint/2010/main" val="23505792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36829110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2B8658-C650-DA48-86AD-BA89E0EF12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DBFD14-6DD5-82BE-8A59-EDEA7A5B5D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0EA781-F1E1-92D9-0526-832ABFD50DE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5DA5EEB4-D21A-8CE0-2A67-5A4140B5D30F}"/>
              </a:ext>
            </a:extLst>
          </p:cNvPr>
          <p:cNvSpPr>
            <a:spLocks noGrp="1"/>
          </p:cNvSpPr>
          <p:nvPr>
            <p:ph type="sldNum" sz="quarter" idx="5"/>
          </p:nvPr>
        </p:nvSpPr>
        <p:spPr/>
        <p:txBody>
          <a:bodyPr/>
          <a:lstStyle/>
          <a:p>
            <a:fld id="{F91151F3-9BE5-4910-B548-641E17A40E74}" type="slidenum">
              <a:rPr lang="en-GB" smtClean="0"/>
              <a:pPr/>
              <a:t>10</a:t>
            </a:fld>
            <a:endParaRPr lang="en-GB"/>
          </a:p>
        </p:txBody>
      </p:sp>
    </p:spTree>
    <p:extLst>
      <p:ext uri="{BB962C8B-B14F-4D97-AF65-F5344CB8AC3E}">
        <p14:creationId xmlns:p14="http://schemas.microsoft.com/office/powerpoint/2010/main" val="35385066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31A218-E734-CD81-A21B-A5EDCFD02D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D560DA-3335-D484-7909-FE349A4723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37659A-4329-CBD0-76C2-7F884EFEF1B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14181D6-F682-F7B9-5109-DAC5B04FEE7C}"/>
              </a:ext>
            </a:extLst>
          </p:cNvPr>
          <p:cNvSpPr>
            <a:spLocks noGrp="1"/>
          </p:cNvSpPr>
          <p:nvPr>
            <p:ph type="sldNum" sz="quarter" idx="5"/>
          </p:nvPr>
        </p:nvSpPr>
        <p:spPr/>
        <p:txBody>
          <a:bodyPr/>
          <a:lstStyle/>
          <a:p>
            <a:fld id="{F91151F3-9BE5-4910-B548-641E17A40E74}" type="slidenum">
              <a:rPr lang="en-GB" smtClean="0"/>
              <a:pPr/>
              <a:t>11</a:t>
            </a:fld>
            <a:endParaRPr lang="en-GB"/>
          </a:p>
        </p:txBody>
      </p:sp>
    </p:spTree>
    <p:extLst>
      <p:ext uri="{BB962C8B-B14F-4D97-AF65-F5344CB8AC3E}">
        <p14:creationId xmlns:p14="http://schemas.microsoft.com/office/powerpoint/2010/main" val="25455539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C8CB2E-DDC0-603D-E5DC-966DA14FA8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2ADA7D-D3D8-16A3-5A49-862CCE811D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EEC69C-6652-0E22-3F88-66551D93789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FD0DE5E-B1F2-B2BD-3290-388BB4684D41}"/>
              </a:ext>
            </a:extLst>
          </p:cNvPr>
          <p:cNvSpPr>
            <a:spLocks noGrp="1"/>
          </p:cNvSpPr>
          <p:nvPr>
            <p:ph type="sldNum" sz="quarter" idx="5"/>
          </p:nvPr>
        </p:nvSpPr>
        <p:spPr/>
        <p:txBody>
          <a:bodyPr/>
          <a:lstStyle/>
          <a:p>
            <a:fld id="{F91151F3-9BE5-4910-B548-641E17A40E74}" type="slidenum">
              <a:rPr lang="en-GB" smtClean="0"/>
              <a:pPr/>
              <a:t>12</a:t>
            </a:fld>
            <a:endParaRPr lang="en-GB"/>
          </a:p>
        </p:txBody>
      </p:sp>
    </p:spTree>
    <p:extLst>
      <p:ext uri="{BB962C8B-B14F-4D97-AF65-F5344CB8AC3E}">
        <p14:creationId xmlns:p14="http://schemas.microsoft.com/office/powerpoint/2010/main" val="10720582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C2BCCC-BDF7-22B8-178C-6E1819CE9E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4AFF93-3FEF-C939-E49E-598F395583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164C91-E45D-E09A-6C9D-59A8B59E263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A12C69C-EE9E-9EE9-AC4B-A09D90949990}"/>
              </a:ext>
            </a:extLst>
          </p:cNvPr>
          <p:cNvSpPr>
            <a:spLocks noGrp="1"/>
          </p:cNvSpPr>
          <p:nvPr>
            <p:ph type="sldNum" sz="quarter" idx="5"/>
          </p:nvPr>
        </p:nvSpPr>
        <p:spPr/>
        <p:txBody>
          <a:bodyPr/>
          <a:lstStyle/>
          <a:p>
            <a:fld id="{F91151F3-9BE5-4910-B548-641E17A40E74}" type="slidenum">
              <a:rPr lang="en-GB" smtClean="0"/>
              <a:pPr/>
              <a:t>13</a:t>
            </a:fld>
            <a:endParaRPr lang="en-GB"/>
          </a:p>
        </p:txBody>
      </p:sp>
    </p:spTree>
    <p:extLst>
      <p:ext uri="{BB962C8B-B14F-4D97-AF65-F5344CB8AC3E}">
        <p14:creationId xmlns:p14="http://schemas.microsoft.com/office/powerpoint/2010/main" val="6641355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F55DB8-5D66-3664-235A-D193EA90B9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4EC41F-A9AC-E51A-D67E-29B1E8D496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B9A8AC-8695-3AD1-D6EB-DB633FF96FD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5B49C42-DB66-1AB2-9EF5-2EAC6A9B5CD6}"/>
              </a:ext>
            </a:extLst>
          </p:cNvPr>
          <p:cNvSpPr>
            <a:spLocks noGrp="1"/>
          </p:cNvSpPr>
          <p:nvPr>
            <p:ph type="sldNum" sz="quarter" idx="5"/>
          </p:nvPr>
        </p:nvSpPr>
        <p:spPr/>
        <p:txBody>
          <a:bodyPr/>
          <a:lstStyle/>
          <a:p>
            <a:fld id="{F91151F3-9BE5-4910-B548-641E17A40E74}" type="slidenum">
              <a:rPr lang="en-GB" smtClean="0"/>
              <a:pPr/>
              <a:t>14</a:t>
            </a:fld>
            <a:endParaRPr lang="en-GB"/>
          </a:p>
        </p:txBody>
      </p:sp>
    </p:spTree>
    <p:extLst>
      <p:ext uri="{BB962C8B-B14F-4D97-AF65-F5344CB8AC3E}">
        <p14:creationId xmlns:p14="http://schemas.microsoft.com/office/powerpoint/2010/main" val="18775569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51AE16-975B-75CF-A8E4-CBC18171ED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FF2E47-FD6E-F946-6540-F7D1FF71E7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2ED61D-35EC-EF84-CC29-5B7C6AC3F60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7798F1B-456F-E521-A8A3-190F4A2C5B06}"/>
              </a:ext>
            </a:extLst>
          </p:cNvPr>
          <p:cNvSpPr>
            <a:spLocks noGrp="1"/>
          </p:cNvSpPr>
          <p:nvPr>
            <p:ph type="sldNum" sz="quarter" idx="5"/>
          </p:nvPr>
        </p:nvSpPr>
        <p:spPr/>
        <p:txBody>
          <a:bodyPr/>
          <a:lstStyle/>
          <a:p>
            <a:fld id="{F91151F3-9BE5-4910-B548-641E17A40E74}" type="slidenum">
              <a:rPr lang="en-GB" smtClean="0"/>
              <a:pPr/>
              <a:t>15</a:t>
            </a:fld>
            <a:endParaRPr lang="en-GB"/>
          </a:p>
        </p:txBody>
      </p:sp>
    </p:spTree>
    <p:extLst>
      <p:ext uri="{BB962C8B-B14F-4D97-AF65-F5344CB8AC3E}">
        <p14:creationId xmlns:p14="http://schemas.microsoft.com/office/powerpoint/2010/main" val="39493170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A84382-31FC-E667-508C-2F42EE70F6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AA49B3-A3C5-3913-C70F-2439CB8B1A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F38CFB-60F7-01FD-F416-FD00B4621D1C}"/>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D79B019-A9E4-B381-83B8-1E2459D4FC69}"/>
              </a:ext>
            </a:extLst>
          </p:cNvPr>
          <p:cNvSpPr>
            <a:spLocks noGrp="1"/>
          </p:cNvSpPr>
          <p:nvPr>
            <p:ph type="sldNum" sz="quarter" idx="5"/>
          </p:nvPr>
        </p:nvSpPr>
        <p:spPr/>
        <p:txBody>
          <a:bodyPr/>
          <a:lstStyle/>
          <a:p>
            <a:fld id="{F91151F3-9BE5-4910-B548-641E17A40E74}" type="slidenum">
              <a:rPr lang="en-GB" smtClean="0"/>
              <a:pPr/>
              <a:t>16</a:t>
            </a:fld>
            <a:endParaRPr lang="en-GB"/>
          </a:p>
        </p:txBody>
      </p:sp>
    </p:spTree>
    <p:extLst>
      <p:ext uri="{BB962C8B-B14F-4D97-AF65-F5344CB8AC3E}">
        <p14:creationId xmlns:p14="http://schemas.microsoft.com/office/powerpoint/2010/main" val="41682193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FEE48B-8161-53D9-D497-95A327479D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C88FB6-0325-6093-DC90-C2AA45C1C1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F2CBD6-A52A-FB4A-BC92-FCA1CD9E57B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7082FAF-7883-651C-372A-3E20E067E1F6}"/>
              </a:ext>
            </a:extLst>
          </p:cNvPr>
          <p:cNvSpPr>
            <a:spLocks noGrp="1"/>
          </p:cNvSpPr>
          <p:nvPr>
            <p:ph type="sldNum" sz="quarter" idx="5"/>
          </p:nvPr>
        </p:nvSpPr>
        <p:spPr/>
        <p:txBody>
          <a:bodyPr/>
          <a:lstStyle/>
          <a:p>
            <a:fld id="{F91151F3-9BE5-4910-B548-641E17A40E74}" type="slidenum">
              <a:rPr lang="en-GB" smtClean="0"/>
              <a:pPr/>
              <a:t>17</a:t>
            </a:fld>
            <a:endParaRPr lang="en-GB"/>
          </a:p>
        </p:txBody>
      </p:sp>
    </p:spTree>
    <p:extLst>
      <p:ext uri="{BB962C8B-B14F-4D97-AF65-F5344CB8AC3E}">
        <p14:creationId xmlns:p14="http://schemas.microsoft.com/office/powerpoint/2010/main" val="17566580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627E6F-BC1B-EAEE-CAB4-F6D7062858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16DD1A-8F25-7406-661B-BFEE9ACE05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7E5B88-3AA0-F649-A705-CBF3D726D7E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202704A-BE3C-6D7D-87E0-FEE0EE6390CE}"/>
              </a:ext>
            </a:extLst>
          </p:cNvPr>
          <p:cNvSpPr>
            <a:spLocks noGrp="1"/>
          </p:cNvSpPr>
          <p:nvPr>
            <p:ph type="sldNum" sz="quarter" idx="5"/>
          </p:nvPr>
        </p:nvSpPr>
        <p:spPr/>
        <p:txBody>
          <a:bodyPr/>
          <a:lstStyle/>
          <a:p>
            <a:fld id="{F91151F3-9BE5-4910-B548-641E17A40E74}" type="slidenum">
              <a:rPr lang="en-GB" smtClean="0"/>
              <a:pPr/>
              <a:t>18</a:t>
            </a:fld>
            <a:endParaRPr lang="en-GB"/>
          </a:p>
        </p:txBody>
      </p:sp>
    </p:spTree>
    <p:extLst>
      <p:ext uri="{BB962C8B-B14F-4D97-AF65-F5344CB8AC3E}">
        <p14:creationId xmlns:p14="http://schemas.microsoft.com/office/powerpoint/2010/main" val="29982140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6A3547-682E-4590-D12A-F3C417B111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7547D5-ED1B-1E1C-FEA1-C31FD873C0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D8DED8-25EB-65E9-BC39-786717EE67A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8BBADE7-15FF-87BA-A04D-CBD00189B4F4}"/>
              </a:ext>
            </a:extLst>
          </p:cNvPr>
          <p:cNvSpPr>
            <a:spLocks noGrp="1"/>
          </p:cNvSpPr>
          <p:nvPr>
            <p:ph type="sldNum" sz="quarter" idx="5"/>
          </p:nvPr>
        </p:nvSpPr>
        <p:spPr/>
        <p:txBody>
          <a:bodyPr/>
          <a:lstStyle/>
          <a:p>
            <a:fld id="{F91151F3-9BE5-4910-B548-641E17A40E74}" type="slidenum">
              <a:rPr lang="en-GB" smtClean="0"/>
              <a:pPr/>
              <a:t>19</a:t>
            </a:fld>
            <a:endParaRPr lang="en-GB"/>
          </a:p>
        </p:txBody>
      </p:sp>
    </p:spTree>
    <p:extLst>
      <p:ext uri="{BB962C8B-B14F-4D97-AF65-F5344CB8AC3E}">
        <p14:creationId xmlns:p14="http://schemas.microsoft.com/office/powerpoint/2010/main" val="4306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5">
          <a:extLst>
            <a:ext uri="{FF2B5EF4-FFF2-40B4-BE49-F238E27FC236}">
              <a16:creationId xmlns:a16="http://schemas.microsoft.com/office/drawing/2014/main" id="{66B097F2-8E70-5B89-61DE-47644265B5B6}"/>
            </a:ext>
          </a:extLst>
        </p:cNvPr>
        <p:cNvGrpSpPr/>
        <p:nvPr/>
      </p:nvGrpSpPr>
      <p:grpSpPr>
        <a:xfrm>
          <a:off x="0" y="0"/>
          <a:ext cx="0" cy="0"/>
          <a:chOff x="0" y="0"/>
          <a:chExt cx="0" cy="0"/>
        </a:xfrm>
      </p:grpSpPr>
      <p:sp>
        <p:nvSpPr>
          <p:cNvPr id="1026" name="Google Shape;1026;p26:notes">
            <a:extLst>
              <a:ext uri="{FF2B5EF4-FFF2-40B4-BE49-F238E27FC236}">
                <a16:creationId xmlns:a16="http://schemas.microsoft.com/office/drawing/2014/main" id="{B10F3A3A-E2B9-81A3-AA60-18D5CA0CD689}"/>
              </a:ext>
            </a:extLst>
          </p:cNvPr>
          <p:cNvSpPr txBox="1">
            <a:spLocks noGrp="1"/>
          </p:cNvSpPr>
          <p:nvPr>
            <p:ph type="body" idx="1"/>
          </p:nvPr>
        </p:nvSpPr>
        <p:spPr>
          <a:xfrm>
            <a:off x="741199" y="5100470"/>
            <a:ext cx="5929587" cy="4173113"/>
          </a:xfrm>
          <a:prstGeom prst="rect">
            <a:avLst/>
          </a:prstGeom>
        </p:spPr>
        <p:txBody>
          <a:bodyPr spcFirstLastPara="1" wrap="square" lIns="96645" tIns="48309" rIns="96645" bIns="48309" anchor="t" anchorCtr="0">
            <a:noAutofit/>
          </a:bodyPr>
          <a:lstStyle/>
          <a:p>
            <a:endParaRPr lang="en-GB"/>
          </a:p>
        </p:txBody>
      </p:sp>
      <p:sp>
        <p:nvSpPr>
          <p:cNvPr id="1027" name="Google Shape;1027;p26:notes">
            <a:extLst>
              <a:ext uri="{FF2B5EF4-FFF2-40B4-BE49-F238E27FC236}">
                <a16:creationId xmlns:a16="http://schemas.microsoft.com/office/drawing/2014/main" id="{F14CB5CB-5ED1-8843-0F3E-4F0E5A0320AE}"/>
              </a:ext>
            </a:extLst>
          </p:cNvPr>
          <p:cNvSpPr>
            <a:spLocks noGrp="1" noRot="1" noChangeAspect="1"/>
          </p:cNvSpPr>
          <p:nvPr>
            <p:ph type="sldImg" idx="2"/>
          </p:nvPr>
        </p:nvSpPr>
        <p:spPr>
          <a:xfrm>
            <a:off x="528638" y="1325563"/>
            <a:ext cx="6354762" cy="35750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Footer Placeholder 1">
            <a:extLst>
              <a:ext uri="{FF2B5EF4-FFF2-40B4-BE49-F238E27FC236}">
                <a16:creationId xmlns:a16="http://schemas.microsoft.com/office/drawing/2014/main" id="{4631CB92-1C9C-EBCC-BE00-6C92DFB16908}"/>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40546352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9ED3E1-1083-0438-C908-FB5CBAC8FB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9BCAEE-7363-8021-FCFC-0FAB1DB1D6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02185A-9CE1-DD90-AC6D-B672C8B42D6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DDCA80B-3376-C331-DAC0-2D666D685ACA}"/>
              </a:ext>
            </a:extLst>
          </p:cNvPr>
          <p:cNvSpPr>
            <a:spLocks noGrp="1"/>
          </p:cNvSpPr>
          <p:nvPr>
            <p:ph type="sldNum" sz="quarter" idx="5"/>
          </p:nvPr>
        </p:nvSpPr>
        <p:spPr/>
        <p:txBody>
          <a:bodyPr/>
          <a:lstStyle/>
          <a:p>
            <a:fld id="{F91151F3-9BE5-4910-B548-641E17A40E74}" type="slidenum">
              <a:rPr lang="en-GB" smtClean="0"/>
              <a:pPr/>
              <a:t>20</a:t>
            </a:fld>
            <a:endParaRPr lang="en-GB"/>
          </a:p>
        </p:txBody>
      </p:sp>
    </p:spTree>
    <p:extLst>
      <p:ext uri="{BB962C8B-B14F-4D97-AF65-F5344CB8AC3E}">
        <p14:creationId xmlns:p14="http://schemas.microsoft.com/office/powerpoint/2010/main" val="33382836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C246FC-A255-4DFB-448A-7BC277D373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B58C1E-D578-6E3F-5C31-B6F28D9798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C83203-3874-F8B1-03AD-127492B0A0C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D7A665F-BD89-E9BB-E8EF-9629D33115CF}"/>
              </a:ext>
            </a:extLst>
          </p:cNvPr>
          <p:cNvSpPr>
            <a:spLocks noGrp="1"/>
          </p:cNvSpPr>
          <p:nvPr>
            <p:ph type="sldNum" sz="quarter" idx="5"/>
          </p:nvPr>
        </p:nvSpPr>
        <p:spPr/>
        <p:txBody>
          <a:bodyPr/>
          <a:lstStyle/>
          <a:p>
            <a:fld id="{F91151F3-9BE5-4910-B548-641E17A40E74}" type="slidenum">
              <a:rPr lang="en-GB" smtClean="0"/>
              <a:pPr/>
              <a:t>21</a:t>
            </a:fld>
            <a:endParaRPr lang="en-GB"/>
          </a:p>
        </p:txBody>
      </p:sp>
    </p:spTree>
    <p:extLst>
      <p:ext uri="{BB962C8B-B14F-4D97-AF65-F5344CB8AC3E}">
        <p14:creationId xmlns:p14="http://schemas.microsoft.com/office/powerpoint/2010/main" val="21359919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476902-63CC-8EDD-1EAC-5B6DC59FBD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488D40-8047-4335-EC9D-1AD51DD412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A8F8FB-83E4-A22A-7CC7-A04250956D3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8D7F1DB-55F8-F748-AE93-E682FE4398BC}"/>
              </a:ext>
            </a:extLst>
          </p:cNvPr>
          <p:cNvSpPr>
            <a:spLocks noGrp="1"/>
          </p:cNvSpPr>
          <p:nvPr>
            <p:ph type="sldNum" sz="quarter" idx="5"/>
          </p:nvPr>
        </p:nvSpPr>
        <p:spPr/>
        <p:txBody>
          <a:bodyPr/>
          <a:lstStyle/>
          <a:p>
            <a:fld id="{F91151F3-9BE5-4910-B548-641E17A40E74}" type="slidenum">
              <a:rPr lang="en-GB" smtClean="0"/>
              <a:pPr/>
              <a:t>22</a:t>
            </a:fld>
            <a:endParaRPr lang="en-GB"/>
          </a:p>
        </p:txBody>
      </p:sp>
    </p:spTree>
    <p:extLst>
      <p:ext uri="{BB962C8B-B14F-4D97-AF65-F5344CB8AC3E}">
        <p14:creationId xmlns:p14="http://schemas.microsoft.com/office/powerpoint/2010/main" val="36321789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2CBA6A-ADEB-9999-B651-369C8FFCBB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0A3A6C-EC6F-B2C1-13C9-0099EF3B71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C7DCA7-2D98-0FBF-2522-C8179F8230C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F187F9E-835E-56CC-FBBC-3D7A11DC2438}"/>
              </a:ext>
            </a:extLst>
          </p:cNvPr>
          <p:cNvSpPr>
            <a:spLocks noGrp="1"/>
          </p:cNvSpPr>
          <p:nvPr>
            <p:ph type="sldNum" sz="quarter" idx="5"/>
          </p:nvPr>
        </p:nvSpPr>
        <p:spPr/>
        <p:txBody>
          <a:bodyPr/>
          <a:lstStyle/>
          <a:p>
            <a:fld id="{F91151F3-9BE5-4910-B548-641E17A40E74}" type="slidenum">
              <a:rPr lang="en-GB" smtClean="0"/>
              <a:pPr/>
              <a:t>23</a:t>
            </a:fld>
            <a:endParaRPr lang="en-GB"/>
          </a:p>
        </p:txBody>
      </p:sp>
    </p:spTree>
    <p:extLst>
      <p:ext uri="{BB962C8B-B14F-4D97-AF65-F5344CB8AC3E}">
        <p14:creationId xmlns:p14="http://schemas.microsoft.com/office/powerpoint/2010/main" val="37725469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5F9EF9-5D53-EEF3-C786-F82E970CD7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E9D07C-AD91-5220-5298-EC19AB9D60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CA9B5-0D5C-506D-1B70-CFCFE329A7B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067EED9-F4B9-ADF1-5CEB-845B6DC3E0E4}"/>
              </a:ext>
            </a:extLst>
          </p:cNvPr>
          <p:cNvSpPr>
            <a:spLocks noGrp="1"/>
          </p:cNvSpPr>
          <p:nvPr>
            <p:ph type="sldNum" sz="quarter" idx="5"/>
          </p:nvPr>
        </p:nvSpPr>
        <p:spPr/>
        <p:txBody>
          <a:bodyPr/>
          <a:lstStyle/>
          <a:p>
            <a:fld id="{F91151F3-9BE5-4910-B548-641E17A40E74}" type="slidenum">
              <a:rPr lang="en-GB" smtClean="0"/>
              <a:pPr/>
              <a:t>24</a:t>
            </a:fld>
            <a:endParaRPr lang="en-GB"/>
          </a:p>
        </p:txBody>
      </p:sp>
    </p:spTree>
    <p:extLst>
      <p:ext uri="{BB962C8B-B14F-4D97-AF65-F5344CB8AC3E}">
        <p14:creationId xmlns:p14="http://schemas.microsoft.com/office/powerpoint/2010/main" val="22249324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DA4BAF-60CE-B0BB-F5DC-593A750E17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790BA2-D4EB-8496-867E-60D44906FE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73C50E-B8B8-2941-2082-D0C9FCC2E5E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34983D1-07C3-CBF9-50F8-E0F742AFE70D}"/>
              </a:ext>
            </a:extLst>
          </p:cNvPr>
          <p:cNvSpPr>
            <a:spLocks noGrp="1"/>
          </p:cNvSpPr>
          <p:nvPr>
            <p:ph type="sldNum" sz="quarter" idx="5"/>
          </p:nvPr>
        </p:nvSpPr>
        <p:spPr/>
        <p:txBody>
          <a:bodyPr/>
          <a:lstStyle/>
          <a:p>
            <a:fld id="{F91151F3-9BE5-4910-B548-641E17A40E74}" type="slidenum">
              <a:rPr lang="en-GB" smtClean="0"/>
              <a:pPr/>
              <a:t>25</a:t>
            </a:fld>
            <a:endParaRPr lang="en-GB"/>
          </a:p>
        </p:txBody>
      </p:sp>
    </p:spTree>
    <p:extLst>
      <p:ext uri="{BB962C8B-B14F-4D97-AF65-F5344CB8AC3E}">
        <p14:creationId xmlns:p14="http://schemas.microsoft.com/office/powerpoint/2010/main" val="18577188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D700F9-62D2-7243-6669-ED61BA3CCD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14D1EF-1C95-6450-FB1D-87FE7F0B66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5DD36A-8B59-F199-868A-F5ABA22A49C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5B2034C-0F73-77A7-1215-178BDA34E605}"/>
              </a:ext>
            </a:extLst>
          </p:cNvPr>
          <p:cNvSpPr>
            <a:spLocks noGrp="1"/>
          </p:cNvSpPr>
          <p:nvPr>
            <p:ph type="sldNum" sz="quarter" idx="5"/>
          </p:nvPr>
        </p:nvSpPr>
        <p:spPr/>
        <p:txBody>
          <a:bodyPr/>
          <a:lstStyle/>
          <a:p>
            <a:fld id="{F91151F3-9BE5-4910-B548-641E17A40E74}" type="slidenum">
              <a:rPr lang="en-GB" smtClean="0"/>
              <a:pPr/>
              <a:t>26</a:t>
            </a:fld>
            <a:endParaRPr lang="en-GB"/>
          </a:p>
        </p:txBody>
      </p:sp>
    </p:spTree>
    <p:extLst>
      <p:ext uri="{BB962C8B-B14F-4D97-AF65-F5344CB8AC3E}">
        <p14:creationId xmlns:p14="http://schemas.microsoft.com/office/powerpoint/2010/main" val="21636501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E7C9DB-CCB3-CD8B-BD45-0259F0D38A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08ED68-CD7A-0C52-A6EF-F073636248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653CAF-A71D-0D7A-442C-8EB6AEF5C6D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17D4F29-1E04-F98E-3582-55F2042B23C2}"/>
              </a:ext>
            </a:extLst>
          </p:cNvPr>
          <p:cNvSpPr>
            <a:spLocks noGrp="1"/>
          </p:cNvSpPr>
          <p:nvPr>
            <p:ph type="sldNum" sz="quarter" idx="5"/>
          </p:nvPr>
        </p:nvSpPr>
        <p:spPr/>
        <p:txBody>
          <a:bodyPr/>
          <a:lstStyle/>
          <a:p>
            <a:fld id="{F91151F3-9BE5-4910-B548-641E17A40E74}" type="slidenum">
              <a:rPr lang="en-GB" smtClean="0"/>
              <a:pPr/>
              <a:t>27</a:t>
            </a:fld>
            <a:endParaRPr lang="en-GB"/>
          </a:p>
        </p:txBody>
      </p:sp>
    </p:spTree>
    <p:extLst>
      <p:ext uri="{BB962C8B-B14F-4D97-AF65-F5344CB8AC3E}">
        <p14:creationId xmlns:p14="http://schemas.microsoft.com/office/powerpoint/2010/main" val="41110174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9D1FCA-7C09-975B-9D3A-C52E21D5A6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6DC436-322C-913D-0E23-2ED5418F41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A4F7ED-2F60-92DC-55A9-60208C676EE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CB5FDAD-7B54-F757-4042-1C54642B5814}"/>
              </a:ext>
            </a:extLst>
          </p:cNvPr>
          <p:cNvSpPr>
            <a:spLocks noGrp="1"/>
          </p:cNvSpPr>
          <p:nvPr>
            <p:ph type="sldNum" sz="quarter" idx="5"/>
          </p:nvPr>
        </p:nvSpPr>
        <p:spPr/>
        <p:txBody>
          <a:bodyPr/>
          <a:lstStyle/>
          <a:p>
            <a:fld id="{F91151F3-9BE5-4910-B548-641E17A40E74}" type="slidenum">
              <a:rPr lang="en-GB" smtClean="0"/>
              <a:pPr/>
              <a:t>28</a:t>
            </a:fld>
            <a:endParaRPr lang="en-GB"/>
          </a:p>
        </p:txBody>
      </p:sp>
    </p:spTree>
    <p:extLst>
      <p:ext uri="{BB962C8B-B14F-4D97-AF65-F5344CB8AC3E}">
        <p14:creationId xmlns:p14="http://schemas.microsoft.com/office/powerpoint/2010/main" val="35187259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9ABF10-4589-5DF3-FE4B-287EF68F6A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A2D82B-F41B-DCD8-A00D-E119A08B06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3ECC09-ECDD-3128-380E-7D7DE160FD4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761AE01-342D-8063-6A26-E6CADD8DD60C}"/>
              </a:ext>
            </a:extLst>
          </p:cNvPr>
          <p:cNvSpPr>
            <a:spLocks noGrp="1"/>
          </p:cNvSpPr>
          <p:nvPr>
            <p:ph type="sldNum" sz="quarter" idx="5"/>
          </p:nvPr>
        </p:nvSpPr>
        <p:spPr/>
        <p:txBody>
          <a:bodyPr/>
          <a:lstStyle/>
          <a:p>
            <a:fld id="{F91151F3-9BE5-4910-B548-641E17A40E74}" type="slidenum">
              <a:rPr lang="en-GB" smtClean="0"/>
              <a:pPr/>
              <a:t>29</a:t>
            </a:fld>
            <a:endParaRPr lang="en-GB"/>
          </a:p>
        </p:txBody>
      </p:sp>
    </p:spTree>
    <p:extLst>
      <p:ext uri="{BB962C8B-B14F-4D97-AF65-F5344CB8AC3E}">
        <p14:creationId xmlns:p14="http://schemas.microsoft.com/office/powerpoint/2010/main" val="96509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91151F3-9BE5-4910-B548-641E17A40E74}" type="slidenum">
              <a:rPr lang="en-GB" smtClean="0"/>
              <a:pPr/>
              <a:t>3</a:t>
            </a:fld>
            <a:endParaRPr lang="en-GB"/>
          </a:p>
        </p:txBody>
      </p:sp>
    </p:spTree>
    <p:extLst>
      <p:ext uri="{BB962C8B-B14F-4D97-AF65-F5344CB8AC3E}">
        <p14:creationId xmlns:p14="http://schemas.microsoft.com/office/powerpoint/2010/main" val="33268071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EDA9FF-6F6D-AA04-303E-0B65FC761D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0B176B-F172-6873-C567-77C18CE46E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8B449D-C8C1-0399-71DE-3FBAF4D1068A}"/>
              </a:ext>
            </a:extLst>
          </p:cNvPr>
          <p:cNvSpPr>
            <a:spLocks noGrp="1"/>
          </p:cNvSpPr>
          <p:nvPr>
            <p:ph type="body" idx="1"/>
          </p:nvPr>
        </p:nvSpPr>
        <p:spPr/>
        <p:txBody>
          <a:bodyPr/>
          <a:lstStyle/>
          <a:p>
            <a:endParaRPr lang="en-GB"/>
          </a:p>
        </p:txBody>
      </p:sp>
      <p:sp>
        <p:nvSpPr>
          <p:cNvPr id="5" name="Footer Placeholder 4">
            <a:extLst>
              <a:ext uri="{FF2B5EF4-FFF2-40B4-BE49-F238E27FC236}">
                <a16:creationId xmlns:a16="http://schemas.microsoft.com/office/drawing/2014/main" id="{D74F25C6-45AE-1701-5EFD-C80172AD5124}"/>
              </a:ext>
            </a:extLst>
          </p:cNvPr>
          <p:cNvSpPr>
            <a:spLocks noGrp="1"/>
          </p:cNvSpPr>
          <p:nvPr>
            <p:ph type="ftr" sz="quarter" idx="4"/>
          </p:nvPr>
        </p:nvSpPr>
        <p:spPr/>
        <p:txBody>
          <a:bodyPr/>
          <a:lstStyle/>
          <a:p>
            <a:pPr defTabSz="881390">
              <a:defRPr/>
            </a:pPr>
            <a:endParaRPr lang="en-GB">
              <a:solidFill>
                <a:prstClr val="black"/>
              </a:solidFill>
              <a:latin typeface="Aptos" panose="02110004020202020204"/>
              <a:cs typeface="Arial"/>
            </a:endParaRPr>
          </a:p>
        </p:txBody>
      </p:sp>
    </p:spTree>
    <p:extLst>
      <p:ext uri="{BB962C8B-B14F-4D97-AF65-F5344CB8AC3E}">
        <p14:creationId xmlns:p14="http://schemas.microsoft.com/office/powerpoint/2010/main" val="40611138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B36365-5C63-E7DD-C5C6-EE61B278AB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6C3F34-F9C2-4DBC-0AE5-B5ECD07456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2513A2-8311-6733-D703-7B4C7A732B5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5964145-5096-52AF-5577-BE81AB45F506}"/>
              </a:ext>
            </a:extLst>
          </p:cNvPr>
          <p:cNvSpPr>
            <a:spLocks noGrp="1"/>
          </p:cNvSpPr>
          <p:nvPr>
            <p:ph type="sldNum" sz="quarter" idx="5"/>
          </p:nvPr>
        </p:nvSpPr>
        <p:spPr/>
        <p:txBody>
          <a:bodyPr/>
          <a:lstStyle/>
          <a:p>
            <a:fld id="{F91151F3-9BE5-4910-B548-641E17A40E74}" type="slidenum">
              <a:rPr lang="en-GB" smtClean="0"/>
              <a:pPr/>
              <a:t>4</a:t>
            </a:fld>
            <a:endParaRPr lang="en-GB"/>
          </a:p>
        </p:txBody>
      </p:sp>
    </p:spTree>
    <p:extLst>
      <p:ext uri="{BB962C8B-B14F-4D97-AF65-F5344CB8AC3E}">
        <p14:creationId xmlns:p14="http://schemas.microsoft.com/office/powerpoint/2010/main" val="13623564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DE8D4-C1B1-F268-28D8-CDC6C0AE51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99396E-4EEA-CE5D-2C68-D99F07EE35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D039B5-089A-61FF-8ADC-9F6975C1F08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B16489C-649A-E357-534A-6134804AB8D2}"/>
              </a:ext>
            </a:extLst>
          </p:cNvPr>
          <p:cNvSpPr>
            <a:spLocks noGrp="1"/>
          </p:cNvSpPr>
          <p:nvPr>
            <p:ph type="sldNum" sz="quarter" idx="5"/>
          </p:nvPr>
        </p:nvSpPr>
        <p:spPr/>
        <p:txBody>
          <a:bodyPr/>
          <a:lstStyle/>
          <a:p>
            <a:fld id="{F91151F3-9BE5-4910-B548-641E17A40E74}" type="slidenum">
              <a:rPr lang="en-GB" smtClean="0"/>
              <a:pPr/>
              <a:t>5</a:t>
            </a:fld>
            <a:endParaRPr lang="en-GB"/>
          </a:p>
        </p:txBody>
      </p:sp>
    </p:spTree>
    <p:extLst>
      <p:ext uri="{BB962C8B-B14F-4D97-AF65-F5344CB8AC3E}">
        <p14:creationId xmlns:p14="http://schemas.microsoft.com/office/powerpoint/2010/main" val="21655053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1738D-7AEB-686B-9324-9A524334B5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DA4C52-F0A1-1C16-E382-61D8357C48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6A6A11-93A7-9469-6897-E9A8BB24A30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29D4E97-5D8B-4C24-4049-B89CC7C11902}"/>
              </a:ext>
            </a:extLst>
          </p:cNvPr>
          <p:cNvSpPr>
            <a:spLocks noGrp="1"/>
          </p:cNvSpPr>
          <p:nvPr>
            <p:ph type="sldNum" sz="quarter" idx="5"/>
          </p:nvPr>
        </p:nvSpPr>
        <p:spPr/>
        <p:txBody>
          <a:bodyPr/>
          <a:lstStyle/>
          <a:p>
            <a:fld id="{F91151F3-9BE5-4910-B548-641E17A40E74}" type="slidenum">
              <a:rPr lang="en-GB" smtClean="0"/>
              <a:pPr/>
              <a:t>6</a:t>
            </a:fld>
            <a:endParaRPr lang="en-GB"/>
          </a:p>
        </p:txBody>
      </p:sp>
    </p:spTree>
    <p:extLst>
      <p:ext uri="{BB962C8B-B14F-4D97-AF65-F5344CB8AC3E}">
        <p14:creationId xmlns:p14="http://schemas.microsoft.com/office/powerpoint/2010/main" val="32220427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20812-ABAE-866D-E107-B0C8D29469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D74AF6-6447-2579-67C0-2CEF603841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39BB7E-4B6C-19BD-A63B-4D8F3170C1C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81B74D0-937B-EC20-D679-577F00A960D8}"/>
              </a:ext>
            </a:extLst>
          </p:cNvPr>
          <p:cNvSpPr>
            <a:spLocks noGrp="1"/>
          </p:cNvSpPr>
          <p:nvPr>
            <p:ph type="sldNum" sz="quarter" idx="5"/>
          </p:nvPr>
        </p:nvSpPr>
        <p:spPr/>
        <p:txBody>
          <a:bodyPr/>
          <a:lstStyle/>
          <a:p>
            <a:fld id="{F91151F3-9BE5-4910-B548-641E17A40E74}" type="slidenum">
              <a:rPr lang="en-GB" smtClean="0"/>
              <a:pPr/>
              <a:t>7</a:t>
            </a:fld>
            <a:endParaRPr lang="en-GB"/>
          </a:p>
        </p:txBody>
      </p:sp>
    </p:spTree>
    <p:extLst>
      <p:ext uri="{BB962C8B-B14F-4D97-AF65-F5344CB8AC3E}">
        <p14:creationId xmlns:p14="http://schemas.microsoft.com/office/powerpoint/2010/main" val="3132491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3939F1-520C-EF2E-CAF1-7CB74B36E6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FE7869-49C4-2B64-5DBB-9315896571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6BDD0A-5115-F0B4-390D-69342DD19E1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8DA7D1D-3F3C-2441-846A-DAA5DF316D29}"/>
              </a:ext>
            </a:extLst>
          </p:cNvPr>
          <p:cNvSpPr>
            <a:spLocks noGrp="1"/>
          </p:cNvSpPr>
          <p:nvPr>
            <p:ph type="sldNum" sz="quarter" idx="5"/>
          </p:nvPr>
        </p:nvSpPr>
        <p:spPr/>
        <p:txBody>
          <a:bodyPr/>
          <a:lstStyle/>
          <a:p>
            <a:fld id="{F91151F3-9BE5-4910-B548-641E17A40E74}" type="slidenum">
              <a:rPr lang="en-GB" smtClean="0"/>
              <a:pPr/>
              <a:t>8</a:t>
            </a:fld>
            <a:endParaRPr lang="en-GB"/>
          </a:p>
        </p:txBody>
      </p:sp>
    </p:spTree>
    <p:extLst>
      <p:ext uri="{BB962C8B-B14F-4D97-AF65-F5344CB8AC3E}">
        <p14:creationId xmlns:p14="http://schemas.microsoft.com/office/powerpoint/2010/main" val="9719730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B63199-E09B-7042-3E25-DACB8E7DDF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AF99D1-559E-7D27-49D0-0702B73AB9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2F9054-FB27-3EEA-0B9B-7D7AF34D20A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53F214D3-F834-C1E1-8944-D1E5E0BD9AB1}"/>
              </a:ext>
            </a:extLst>
          </p:cNvPr>
          <p:cNvSpPr>
            <a:spLocks noGrp="1"/>
          </p:cNvSpPr>
          <p:nvPr>
            <p:ph type="sldNum" sz="quarter" idx="5"/>
          </p:nvPr>
        </p:nvSpPr>
        <p:spPr/>
        <p:txBody>
          <a:bodyPr/>
          <a:lstStyle/>
          <a:p>
            <a:fld id="{F91151F3-9BE5-4910-B548-641E17A40E74}" type="slidenum">
              <a:rPr lang="en-GB" smtClean="0"/>
              <a:pPr/>
              <a:t>9</a:t>
            </a:fld>
            <a:endParaRPr lang="en-GB"/>
          </a:p>
        </p:txBody>
      </p:sp>
    </p:spTree>
    <p:extLst>
      <p:ext uri="{BB962C8B-B14F-4D97-AF65-F5344CB8AC3E}">
        <p14:creationId xmlns:p14="http://schemas.microsoft.com/office/powerpoint/2010/main" val="8925555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10.bin"/><Relationship Id="rId7" Type="http://schemas.openxmlformats.org/officeDocument/2006/relationships/image" Target="../media/image4.svg"/><Relationship Id="rId12" Type="http://schemas.openxmlformats.org/officeDocument/2006/relationships/image" Target="../media/image9.sv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hyperlink" Target="https://3horizons.com/" TargetMode="External"/><Relationship Id="rId10" Type="http://schemas.openxmlformats.org/officeDocument/2006/relationships/image" Target="../media/image7.svg"/><Relationship Id="rId4" Type="http://schemas.openxmlformats.org/officeDocument/2006/relationships/image" Target="../media/image2.emf"/><Relationship Id="rId9"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0.emf"/></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12.bin"/><Relationship Id="rId7" Type="http://schemas.openxmlformats.org/officeDocument/2006/relationships/image" Target="../media/image4.svg"/><Relationship Id="rId12" Type="http://schemas.openxmlformats.org/officeDocument/2006/relationships/image" Target="../media/image9.sv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hyperlink" Target="https://3horizons.com/" TargetMode="External"/><Relationship Id="rId10" Type="http://schemas.openxmlformats.org/officeDocument/2006/relationships/image" Target="../media/image7.svg"/><Relationship Id="rId4" Type="http://schemas.openxmlformats.org/officeDocument/2006/relationships/image" Target="../media/image2.emf"/><Relationship Id="rId9"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0.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E7B90FA-1D81-D24E-846E-84484F5D0A7B}"/>
              </a:ext>
            </a:extLst>
          </p:cNvPr>
          <p:cNvGraphicFramePr>
            <a:graphicFrameLocks noChangeAspect="1"/>
          </p:cNvGraphicFramePr>
          <p:nvPr userDrawn="1">
            <p:custDataLst>
              <p:tags r:id="rId1"/>
            </p:custDataLst>
            <p:extLst>
              <p:ext uri="{D42A27DB-BD31-4B8C-83A1-F6EECF244321}">
                <p14:modId xmlns:p14="http://schemas.microsoft.com/office/powerpoint/2010/main" val="3812442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2" imgH="511" progId="TCLayout.ActiveDocument.1">
                  <p:embed/>
                </p:oleObj>
              </mc:Choice>
              <mc:Fallback>
                <p:oleObj name="think-cell Slide" r:id="rId3" imgW="512" imgH="511" progId="TCLayout.ActiveDocument.1">
                  <p:embed/>
                  <p:pic>
                    <p:nvPicPr>
                      <p:cNvPr id="8" name="think-cell data - do not delete" hidden="1">
                        <a:extLst>
                          <a:ext uri="{FF2B5EF4-FFF2-40B4-BE49-F238E27FC236}">
                            <a16:creationId xmlns:a16="http://schemas.microsoft.com/office/drawing/2014/main" id="{BE7B90FA-1D81-D24E-846E-84484F5D0A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62356E-9102-A33D-C9A3-6F10F2E93764}"/>
              </a:ext>
            </a:extLst>
          </p:cNvPr>
          <p:cNvSpPr>
            <a:spLocks noGrp="1"/>
          </p:cNvSpPr>
          <p:nvPr>
            <p:ph type="ctrTitle"/>
          </p:nvPr>
        </p:nvSpPr>
        <p:spPr>
          <a:xfrm>
            <a:off x="1524000" y="1122363"/>
            <a:ext cx="9144000" cy="2387600"/>
          </a:xfrm>
        </p:spPr>
        <p:txBody>
          <a:bodyPr vert="horz" anchor="b"/>
          <a:lstStyle>
            <a:lvl1pPr algn="ctr" rtl="0">
              <a:defRPr sz="6000"/>
            </a:lvl1pPr>
          </a:lstStyle>
          <a:p>
            <a:r>
              <a:rPr lang="en-GB"/>
              <a:t>Click to edit Master title style</a:t>
            </a:r>
          </a:p>
        </p:txBody>
      </p:sp>
      <p:sp>
        <p:nvSpPr>
          <p:cNvPr id="3" name="Subtitle 2">
            <a:extLst>
              <a:ext uri="{FF2B5EF4-FFF2-40B4-BE49-F238E27FC236}">
                <a16:creationId xmlns:a16="http://schemas.microsoft.com/office/drawing/2014/main" id="{1112D1E9-E242-0A02-84BC-8E046A97A27E}"/>
              </a:ext>
            </a:extLst>
          </p:cNvPr>
          <p:cNvSpPr>
            <a:spLocks noGrp="1"/>
          </p:cNvSpPr>
          <p:nvPr>
            <p:ph type="subTitle" idx="1"/>
          </p:nvPr>
        </p:nvSpPr>
        <p:spPr>
          <a:xfrm>
            <a:off x="1524000" y="3602038"/>
            <a:ext cx="9144000" cy="1655762"/>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0D41CE57-B657-2C29-FD61-0698A670C336}"/>
              </a:ext>
            </a:extLst>
          </p:cNvPr>
          <p:cNvSpPr>
            <a:spLocks noGrp="1"/>
          </p:cNvSpPr>
          <p:nvPr>
            <p:ph type="dt" sz="half" idx="10"/>
          </p:nvPr>
        </p:nvSpPr>
        <p:spPr/>
        <p:txBody>
          <a:bodyPr/>
          <a:lstStyle>
            <a:lvl1pPr rtl="0">
              <a:defRPr/>
            </a:lvl1pPr>
          </a:lstStyle>
          <a:p>
            <a:fld id="{4AC1A3FB-BEFC-4C64-8073-4EEA380970C8}" type="datetimeFigureOut">
              <a:rPr lang="en-GB" smtClean="0"/>
              <a:pPr/>
              <a:t>27/06/2025</a:t>
            </a:fld>
            <a:endParaRPr lang="en-GB"/>
          </a:p>
        </p:txBody>
      </p:sp>
      <p:sp>
        <p:nvSpPr>
          <p:cNvPr id="5" name="Footer Placeholder 4">
            <a:extLst>
              <a:ext uri="{FF2B5EF4-FFF2-40B4-BE49-F238E27FC236}">
                <a16:creationId xmlns:a16="http://schemas.microsoft.com/office/drawing/2014/main" id="{59137F0A-4F06-B193-7FA7-AE9834B4B0A1}"/>
              </a:ext>
            </a:extLst>
          </p:cNvPr>
          <p:cNvSpPr>
            <a:spLocks noGrp="1"/>
          </p:cNvSpPr>
          <p:nvPr>
            <p:ph type="ftr" sz="quarter" idx="11"/>
          </p:nvPr>
        </p:nvSpPr>
        <p:spPr/>
        <p:txBody>
          <a:bodyPr/>
          <a:lstStyle>
            <a:lvl1pPr rtl="0">
              <a:defRPr/>
            </a:lvl1pPr>
          </a:lstStyle>
          <a:p>
            <a:endParaRPr lang="en-GB"/>
          </a:p>
        </p:txBody>
      </p:sp>
      <p:sp>
        <p:nvSpPr>
          <p:cNvPr id="6" name="Slide Number Placeholder 5">
            <a:extLst>
              <a:ext uri="{FF2B5EF4-FFF2-40B4-BE49-F238E27FC236}">
                <a16:creationId xmlns:a16="http://schemas.microsoft.com/office/drawing/2014/main" id="{7293FB84-52C5-EF9D-2DB9-6699385242E9}"/>
              </a:ext>
            </a:extLst>
          </p:cNvPr>
          <p:cNvSpPr>
            <a:spLocks noGrp="1"/>
          </p:cNvSpPr>
          <p:nvPr>
            <p:ph type="sldNum" sz="quarter" idx="12"/>
          </p:nvPr>
        </p:nvSpPr>
        <p:spPr/>
        <p:txBody>
          <a:bodyPr/>
          <a:lstStyle>
            <a:lvl1pPr rtl="0">
              <a:defRPr/>
            </a:lvl1pPr>
          </a:lstStyle>
          <a:p>
            <a:fld id="{780F09D1-36FB-4C13-9940-67331369E9EB}" type="slidenum">
              <a:rPr lang="en-GB" smtClean="0"/>
              <a:pPr/>
              <a:t>‹#›</a:t>
            </a:fld>
            <a:endParaRPr lang="en-GB"/>
          </a:p>
        </p:txBody>
      </p:sp>
    </p:spTree>
    <p:extLst>
      <p:ext uri="{BB962C8B-B14F-4D97-AF65-F5344CB8AC3E}">
        <p14:creationId xmlns:p14="http://schemas.microsoft.com/office/powerpoint/2010/main" val="11519659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54E5BE0-298A-7AF7-8A7D-DC2127CD34C4}"/>
              </a:ext>
            </a:extLst>
          </p:cNvPr>
          <p:cNvGraphicFramePr>
            <a:graphicFrameLocks noChangeAspect="1"/>
          </p:cNvGraphicFramePr>
          <p:nvPr userDrawn="1">
            <p:custDataLst>
              <p:tags r:id="rId1"/>
            </p:custDataLst>
            <p:extLst>
              <p:ext uri="{D42A27DB-BD31-4B8C-83A1-F6EECF244321}">
                <p14:modId xmlns:p14="http://schemas.microsoft.com/office/powerpoint/2010/main" val="4088566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2" imgH="511" progId="TCLayout.ActiveDocument.1">
                  <p:embed/>
                </p:oleObj>
              </mc:Choice>
              <mc:Fallback>
                <p:oleObj name="think-cell Slide" r:id="rId3" imgW="512" imgH="511" progId="TCLayout.ActiveDocument.1">
                  <p:embed/>
                  <p:pic>
                    <p:nvPicPr>
                      <p:cNvPr id="8" name="think-cell data - do not delete" hidden="1">
                        <a:extLst>
                          <a:ext uri="{FF2B5EF4-FFF2-40B4-BE49-F238E27FC236}">
                            <a16:creationId xmlns:a16="http://schemas.microsoft.com/office/drawing/2014/main" id="{454E5BE0-298A-7AF7-8A7D-DC2127CD34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E610AE-2F62-2F9F-76AF-6E96C7A76B8D}"/>
              </a:ext>
            </a:extLst>
          </p:cNvPr>
          <p:cNvSpPr>
            <a:spLocks noGrp="1"/>
          </p:cNvSpPr>
          <p:nvPr>
            <p:ph type="title"/>
          </p:nvPr>
        </p:nvSpPr>
        <p:spPr/>
        <p:txBody>
          <a:bodyPr vert="horz"/>
          <a:lstStyle>
            <a:lvl1pPr rtl="0">
              <a:defRPr/>
            </a:lvl1pPr>
          </a:lstStyle>
          <a:p>
            <a:r>
              <a:rPr lang="en-GB"/>
              <a:t>Click to edit Master title style</a:t>
            </a:r>
          </a:p>
        </p:txBody>
      </p:sp>
      <p:sp>
        <p:nvSpPr>
          <p:cNvPr id="3" name="Vertical Text Placeholder 2">
            <a:extLst>
              <a:ext uri="{FF2B5EF4-FFF2-40B4-BE49-F238E27FC236}">
                <a16:creationId xmlns:a16="http://schemas.microsoft.com/office/drawing/2014/main" id="{2434422D-ABC2-28ED-C72D-27BE80FFF647}"/>
              </a:ext>
            </a:extLst>
          </p:cNvPr>
          <p:cNvSpPr>
            <a:spLocks noGrp="1"/>
          </p:cNvSpPr>
          <p:nvPr>
            <p:ph type="body" orient="vert" idx="1"/>
          </p:nvPr>
        </p:nvSpPr>
        <p:spPr/>
        <p:txBody>
          <a:bodyPr vert="eaVert"/>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27E39775-AD97-F1BE-923B-125C7E2E95FC}"/>
              </a:ext>
            </a:extLst>
          </p:cNvPr>
          <p:cNvSpPr>
            <a:spLocks noGrp="1"/>
          </p:cNvSpPr>
          <p:nvPr>
            <p:ph type="dt" sz="half" idx="10"/>
          </p:nvPr>
        </p:nvSpPr>
        <p:spPr/>
        <p:txBody>
          <a:bodyPr/>
          <a:lstStyle>
            <a:lvl1pPr rtl="0">
              <a:defRPr/>
            </a:lvl1pPr>
          </a:lstStyle>
          <a:p>
            <a:fld id="{4AC1A3FB-BEFC-4C64-8073-4EEA380970C8}" type="datetimeFigureOut">
              <a:rPr lang="en-GB" smtClean="0"/>
              <a:pPr/>
              <a:t>27/06/2025</a:t>
            </a:fld>
            <a:endParaRPr lang="en-GB"/>
          </a:p>
        </p:txBody>
      </p:sp>
      <p:sp>
        <p:nvSpPr>
          <p:cNvPr id="5" name="Footer Placeholder 4">
            <a:extLst>
              <a:ext uri="{FF2B5EF4-FFF2-40B4-BE49-F238E27FC236}">
                <a16:creationId xmlns:a16="http://schemas.microsoft.com/office/drawing/2014/main" id="{1D78FB25-B973-3EAF-336C-5B50BB532B2A}"/>
              </a:ext>
            </a:extLst>
          </p:cNvPr>
          <p:cNvSpPr>
            <a:spLocks noGrp="1"/>
          </p:cNvSpPr>
          <p:nvPr>
            <p:ph type="ftr" sz="quarter" idx="11"/>
          </p:nvPr>
        </p:nvSpPr>
        <p:spPr/>
        <p:txBody>
          <a:bodyPr/>
          <a:lstStyle>
            <a:lvl1pPr rtl="0">
              <a:defRPr/>
            </a:lvl1pPr>
          </a:lstStyle>
          <a:p>
            <a:endParaRPr lang="en-GB"/>
          </a:p>
        </p:txBody>
      </p:sp>
      <p:sp>
        <p:nvSpPr>
          <p:cNvPr id="6" name="Slide Number Placeholder 5">
            <a:extLst>
              <a:ext uri="{FF2B5EF4-FFF2-40B4-BE49-F238E27FC236}">
                <a16:creationId xmlns:a16="http://schemas.microsoft.com/office/drawing/2014/main" id="{C6479ABF-434D-5506-947B-E8D679C5098E}"/>
              </a:ext>
            </a:extLst>
          </p:cNvPr>
          <p:cNvSpPr>
            <a:spLocks noGrp="1"/>
          </p:cNvSpPr>
          <p:nvPr>
            <p:ph type="sldNum" sz="quarter" idx="12"/>
          </p:nvPr>
        </p:nvSpPr>
        <p:spPr/>
        <p:txBody>
          <a:bodyPr/>
          <a:lstStyle>
            <a:lvl1pPr rtl="0">
              <a:defRPr/>
            </a:lvl1pPr>
          </a:lstStyle>
          <a:p>
            <a:fld id="{780F09D1-36FB-4C13-9940-67331369E9EB}" type="slidenum">
              <a:rPr lang="en-GB" smtClean="0"/>
              <a:pPr/>
              <a:t>‹#›</a:t>
            </a:fld>
            <a:endParaRPr lang="en-GB"/>
          </a:p>
        </p:txBody>
      </p:sp>
    </p:spTree>
    <p:extLst>
      <p:ext uri="{BB962C8B-B14F-4D97-AF65-F5344CB8AC3E}">
        <p14:creationId xmlns:p14="http://schemas.microsoft.com/office/powerpoint/2010/main" val="27790028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C53EA9E-0EA3-1676-EB44-15777752F46B}"/>
              </a:ext>
            </a:extLst>
          </p:cNvPr>
          <p:cNvGraphicFramePr>
            <a:graphicFrameLocks noChangeAspect="1"/>
          </p:cNvGraphicFramePr>
          <p:nvPr userDrawn="1">
            <p:custDataLst>
              <p:tags r:id="rId1"/>
            </p:custDataLst>
            <p:extLst>
              <p:ext uri="{D42A27DB-BD31-4B8C-83A1-F6EECF244321}">
                <p14:modId xmlns:p14="http://schemas.microsoft.com/office/powerpoint/2010/main" val="189783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2" imgH="511" progId="TCLayout.ActiveDocument.1">
                  <p:embed/>
                </p:oleObj>
              </mc:Choice>
              <mc:Fallback>
                <p:oleObj name="think-cell Slide" r:id="rId3" imgW="512" imgH="511" progId="TCLayout.ActiveDocument.1">
                  <p:embed/>
                  <p:pic>
                    <p:nvPicPr>
                      <p:cNvPr id="8" name="think-cell data - do not delete" hidden="1">
                        <a:extLst>
                          <a:ext uri="{FF2B5EF4-FFF2-40B4-BE49-F238E27FC236}">
                            <a16:creationId xmlns:a16="http://schemas.microsoft.com/office/drawing/2014/main" id="{8C53EA9E-0EA3-1676-EB44-15777752F4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a:extLst>
              <a:ext uri="{FF2B5EF4-FFF2-40B4-BE49-F238E27FC236}">
                <a16:creationId xmlns:a16="http://schemas.microsoft.com/office/drawing/2014/main" id="{F76ED804-9E24-2ADF-F081-A2E1786D0EC1}"/>
              </a:ext>
            </a:extLst>
          </p:cNvPr>
          <p:cNvSpPr>
            <a:spLocks noGrp="1"/>
          </p:cNvSpPr>
          <p:nvPr>
            <p:ph type="title" orient="vert"/>
          </p:nvPr>
        </p:nvSpPr>
        <p:spPr>
          <a:xfrm>
            <a:off x="8724900" y="365125"/>
            <a:ext cx="2628900" cy="5811838"/>
          </a:xfrm>
        </p:spPr>
        <p:txBody>
          <a:bodyPr vert="eaVert"/>
          <a:lstStyle>
            <a:lvl1pPr rtl="0">
              <a:defRPr/>
            </a:lvl1pPr>
          </a:lstStyle>
          <a:p>
            <a:r>
              <a:rPr lang="en-GB"/>
              <a:t>Click to edit Master title style</a:t>
            </a:r>
          </a:p>
        </p:txBody>
      </p:sp>
      <p:sp>
        <p:nvSpPr>
          <p:cNvPr id="3" name="Vertical Text Placeholder 2">
            <a:extLst>
              <a:ext uri="{FF2B5EF4-FFF2-40B4-BE49-F238E27FC236}">
                <a16:creationId xmlns:a16="http://schemas.microsoft.com/office/drawing/2014/main" id="{7E188F01-1DCC-FB7A-F9DD-C495208C6F0A}"/>
              </a:ext>
            </a:extLst>
          </p:cNvPr>
          <p:cNvSpPr>
            <a:spLocks noGrp="1"/>
          </p:cNvSpPr>
          <p:nvPr>
            <p:ph type="body" orient="vert" idx="1"/>
          </p:nvPr>
        </p:nvSpPr>
        <p:spPr>
          <a:xfrm>
            <a:off x="838200" y="365125"/>
            <a:ext cx="7734300" cy="5811838"/>
          </a:xfrm>
        </p:spPr>
        <p:txBody>
          <a:bodyPr vert="eaVert"/>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368838CC-498E-0743-4F06-A978B437635D}"/>
              </a:ext>
            </a:extLst>
          </p:cNvPr>
          <p:cNvSpPr>
            <a:spLocks noGrp="1"/>
          </p:cNvSpPr>
          <p:nvPr>
            <p:ph type="dt" sz="half" idx="10"/>
          </p:nvPr>
        </p:nvSpPr>
        <p:spPr/>
        <p:txBody>
          <a:bodyPr/>
          <a:lstStyle>
            <a:lvl1pPr rtl="0">
              <a:defRPr/>
            </a:lvl1pPr>
          </a:lstStyle>
          <a:p>
            <a:fld id="{4AC1A3FB-BEFC-4C64-8073-4EEA380970C8}" type="datetimeFigureOut">
              <a:rPr lang="en-GB" smtClean="0"/>
              <a:pPr/>
              <a:t>27/06/2025</a:t>
            </a:fld>
            <a:endParaRPr lang="en-GB"/>
          </a:p>
        </p:txBody>
      </p:sp>
      <p:sp>
        <p:nvSpPr>
          <p:cNvPr id="5" name="Footer Placeholder 4">
            <a:extLst>
              <a:ext uri="{FF2B5EF4-FFF2-40B4-BE49-F238E27FC236}">
                <a16:creationId xmlns:a16="http://schemas.microsoft.com/office/drawing/2014/main" id="{7F4E1C8B-3883-7665-7457-593F7D10D32E}"/>
              </a:ext>
            </a:extLst>
          </p:cNvPr>
          <p:cNvSpPr>
            <a:spLocks noGrp="1"/>
          </p:cNvSpPr>
          <p:nvPr>
            <p:ph type="ftr" sz="quarter" idx="11"/>
          </p:nvPr>
        </p:nvSpPr>
        <p:spPr/>
        <p:txBody>
          <a:bodyPr/>
          <a:lstStyle>
            <a:lvl1pPr rtl="0">
              <a:defRPr/>
            </a:lvl1pPr>
          </a:lstStyle>
          <a:p>
            <a:endParaRPr lang="en-GB"/>
          </a:p>
        </p:txBody>
      </p:sp>
      <p:sp>
        <p:nvSpPr>
          <p:cNvPr id="6" name="Slide Number Placeholder 5">
            <a:extLst>
              <a:ext uri="{FF2B5EF4-FFF2-40B4-BE49-F238E27FC236}">
                <a16:creationId xmlns:a16="http://schemas.microsoft.com/office/drawing/2014/main" id="{5C9F9629-C7DF-FE6E-5BA8-E6E9F093DA62}"/>
              </a:ext>
            </a:extLst>
          </p:cNvPr>
          <p:cNvSpPr>
            <a:spLocks noGrp="1"/>
          </p:cNvSpPr>
          <p:nvPr>
            <p:ph type="sldNum" sz="quarter" idx="12"/>
          </p:nvPr>
        </p:nvSpPr>
        <p:spPr/>
        <p:txBody>
          <a:bodyPr/>
          <a:lstStyle>
            <a:lvl1pPr rtl="0">
              <a:defRPr/>
            </a:lvl1pPr>
          </a:lstStyle>
          <a:p>
            <a:fld id="{780F09D1-36FB-4C13-9940-67331369E9EB}" type="slidenum">
              <a:rPr lang="en-GB" smtClean="0"/>
              <a:pPr/>
              <a:t>‹#›</a:t>
            </a:fld>
            <a:endParaRPr lang="en-GB"/>
          </a:p>
        </p:txBody>
      </p:sp>
    </p:spTree>
    <p:extLst>
      <p:ext uri="{BB962C8B-B14F-4D97-AF65-F5344CB8AC3E}">
        <p14:creationId xmlns:p14="http://schemas.microsoft.com/office/powerpoint/2010/main" val="5336329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Custom_Intro">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A12A279-00C9-CA85-0674-D272ACD06E23}"/>
              </a:ext>
            </a:extLst>
          </p:cNvPr>
          <p:cNvGraphicFramePr>
            <a:graphicFrameLocks noChangeAspect="1"/>
          </p:cNvGraphicFramePr>
          <p:nvPr userDrawn="1">
            <p:custDataLst>
              <p:tags r:id="rId1"/>
            </p:custDataLst>
            <p:extLst>
              <p:ext uri="{D42A27DB-BD31-4B8C-83A1-F6EECF244321}">
                <p14:modId xmlns:p14="http://schemas.microsoft.com/office/powerpoint/2010/main" val="3284980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7" name="think-cell data - do not delete" hidden="1">
                        <a:extLst>
                          <a:ext uri="{FF2B5EF4-FFF2-40B4-BE49-F238E27FC236}">
                            <a16:creationId xmlns:a16="http://schemas.microsoft.com/office/drawing/2014/main" id="{EA12A279-00C9-CA85-0674-D272ACD06E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9251C274-B545-EF4E-22D2-8CB98DA8268C}"/>
              </a:ext>
            </a:extLst>
          </p:cNvPr>
          <p:cNvSpPr/>
          <p:nvPr userDrawn="1"/>
        </p:nvSpPr>
        <p:spPr>
          <a:xfrm>
            <a:off x="-1" y="0"/>
            <a:ext cx="12192001" cy="6858000"/>
          </a:xfrm>
          <a:prstGeom prst="rect">
            <a:avLst/>
          </a:prstGeom>
          <a:gradFill flip="none" rotWithShape="1">
            <a:gsLst>
              <a:gs pos="10000">
                <a:srgbClr val="1C3144"/>
              </a:gs>
              <a:gs pos="61000">
                <a:srgbClr val="1C3144">
                  <a:alpha val="78000"/>
                </a:srgbClr>
              </a:gs>
              <a:gs pos="47000">
                <a:srgbClr val="1C3144">
                  <a:alpha val="89000"/>
                </a:srgbClr>
              </a:gs>
              <a:gs pos="32000">
                <a:srgbClr val="1C3144">
                  <a:alpha val="92000"/>
                </a:srgbClr>
              </a:gs>
              <a:gs pos="100000">
                <a:srgbClr val="1C3144">
                  <a:alpha val="0"/>
                </a:srgb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solidFill>
                <a:schemeClr val="bg1"/>
              </a:solidFill>
            </a:endParaRPr>
          </a:p>
        </p:txBody>
      </p:sp>
      <p:sp>
        <p:nvSpPr>
          <p:cNvPr id="16" name="Freeform 5">
            <a:hlinkClick r:id="rId5"/>
            <a:extLst>
              <a:ext uri="{FF2B5EF4-FFF2-40B4-BE49-F238E27FC236}">
                <a16:creationId xmlns:a16="http://schemas.microsoft.com/office/drawing/2014/main" id="{F80B57B7-1CEF-E718-96CF-DFD6E81D1082}"/>
              </a:ext>
            </a:extLst>
          </p:cNvPr>
          <p:cNvSpPr/>
          <p:nvPr/>
        </p:nvSpPr>
        <p:spPr>
          <a:xfrm flipH="1">
            <a:off x="-3" y="2509109"/>
            <a:ext cx="12192002" cy="4365016"/>
          </a:xfrm>
          <a:custGeom>
            <a:avLst/>
            <a:gdLst/>
            <a:ahLst/>
            <a:cxnLst/>
            <a:rect l="l" t="t" r="r" b="b"/>
            <a:pathLst>
              <a:path w="9962715" h="9962715">
                <a:moveTo>
                  <a:pt x="9962715" y="0"/>
                </a:moveTo>
                <a:lnTo>
                  <a:pt x="0" y="0"/>
                </a:lnTo>
                <a:lnTo>
                  <a:pt x="0" y="9962715"/>
                </a:lnTo>
                <a:lnTo>
                  <a:pt x="9962715" y="9962715"/>
                </a:lnTo>
                <a:lnTo>
                  <a:pt x="9962715" y="0"/>
                </a:lnTo>
                <a:close/>
              </a:path>
            </a:pathLst>
          </a:custGeom>
          <a:blipFill>
            <a:blip r:embed="rId6">
              <a:alphaModFix amt="89000"/>
              <a:extLst>
                <a:ext uri="{96DAC541-7B7A-43D3-8B79-37D633B846F1}">
                  <asvg:svgBlip xmlns:asvg="http://schemas.microsoft.com/office/drawing/2016/SVG/main" r:embed="rId7"/>
                </a:ext>
              </a:extLst>
            </a:blip>
            <a:stretch>
              <a:fillRect t="-1" b="-47946"/>
            </a:stretch>
          </a:blipFill>
        </p:spPr>
        <p:txBody>
          <a:bodyPr/>
          <a:lstStyle/>
          <a:p>
            <a:pPr rtl="0"/>
            <a:endParaRPr lang="en-GB"/>
          </a:p>
        </p:txBody>
      </p:sp>
      <p:cxnSp>
        <p:nvCxnSpPr>
          <p:cNvPr id="17" name="Straight Connector 16">
            <a:extLst>
              <a:ext uri="{FF2B5EF4-FFF2-40B4-BE49-F238E27FC236}">
                <a16:creationId xmlns:a16="http://schemas.microsoft.com/office/drawing/2014/main" id="{51735CED-CEFB-1191-8B94-A9B5495DB460}"/>
              </a:ext>
            </a:extLst>
          </p:cNvPr>
          <p:cNvCxnSpPr/>
          <p:nvPr/>
        </p:nvCxnSpPr>
        <p:spPr>
          <a:xfrm>
            <a:off x="479425" y="1777793"/>
            <a:ext cx="30138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1EED2121-CB66-FE8F-953F-467CE65EE34A}"/>
              </a:ext>
            </a:extLst>
          </p:cNvPr>
          <p:cNvCxnSpPr/>
          <p:nvPr/>
        </p:nvCxnSpPr>
        <p:spPr>
          <a:xfrm>
            <a:off x="3390399" y="1777793"/>
            <a:ext cx="2786092" cy="0"/>
          </a:xfrm>
          <a:prstGeom prst="straightConnector1">
            <a:avLst/>
          </a:prstGeom>
          <a:ln w="38100">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6E9150F-A20E-B26A-A8B7-2900B5F46982}"/>
              </a:ext>
            </a:extLst>
          </p:cNvPr>
          <p:cNvCxnSpPr/>
          <p:nvPr/>
        </p:nvCxnSpPr>
        <p:spPr>
          <a:xfrm>
            <a:off x="3287712" y="1777793"/>
            <a:ext cx="1798547"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 Placeholder 36">
            <a:extLst>
              <a:ext uri="{FF2B5EF4-FFF2-40B4-BE49-F238E27FC236}">
                <a16:creationId xmlns:a16="http://schemas.microsoft.com/office/drawing/2014/main" id="{9545227B-86FA-55FB-807C-3D5C15621F1E}"/>
              </a:ext>
            </a:extLst>
          </p:cNvPr>
          <p:cNvSpPr>
            <a:spLocks noGrp="1"/>
          </p:cNvSpPr>
          <p:nvPr>
            <p:ph type="body" sz="quarter" idx="10" hasCustomPrompt="1"/>
          </p:nvPr>
        </p:nvSpPr>
        <p:spPr>
          <a:xfrm>
            <a:off x="479425" y="3402078"/>
            <a:ext cx="6548400" cy="1152019"/>
          </a:xfrm>
          <a:prstGeom prst="rect">
            <a:avLst/>
          </a:prstGeom>
        </p:spPr>
        <p:txBody>
          <a:bodyPr anchor="ctr">
            <a:normAutofit/>
          </a:bodyPr>
          <a:lstStyle>
            <a:lvl1pPr marL="0" indent="0" rtl="0">
              <a:buNone/>
              <a:defRPr sz="3600" b="1">
                <a:solidFill>
                  <a:schemeClr val="bg1"/>
                </a:solidFill>
                <a:latin typeface="Avenir Next LT Pro" panose="020B0504020202020204" pitchFamily="34" charset="0"/>
              </a:defRPr>
            </a:lvl1pPr>
            <a:lvl2pPr>
              <a:defRPr b="1">
                <a:latin typeface="Avenir Next LT Pro" panose="020B0504020202020204" pitchFamily="34" charset="0"/>
              </a:defRPr>
            </a:lvl2pPr>
            <a:lvl3pPr>
              <a:defRPr b="1">
                <a:latin typeface="Avenir Next LT Pro" panose="020B0504020202020204" pitchFamily="34" charset="0"/>
              </a:defRPr>
            </a:lvl3pPr>
            <a:lvl4pPr>
              <a:defRPr b="1">
                <a:latin typeface="Avenir Next LT Pro" panose="020B0504020202020204" pitchFamily="34" charset="0"/>
              </a:defRPr>
            </a:lvl4pPr>
            <a:lvl5pPr>
              <a:defRPr b="1">
                <a:latin typeface="Avenir Next LT Pro" panose="020B0504020202020204" pitchFamily="34" charset="0"/>
              </a:defRPr>
            </a:lvl5pPr>
          </a:lstStyle>
          <a:p>
            <a:pPr lvl="0"/>
            <a:r>
              <a:rPr lang="en-GB"/>
              <a:t>Add Title</a:t>
            </a:r>
          </a:p>
        </p:txBody>
      </p:sp>
      <p:sp>
        <p:nvSpPr>
          <p:cNvPr id="26" name="Text Placeholder 42">
            <a:extLst>
              <a:ext uri="{FF2B5EF4-FFF2-40B4-BE49-F238E27FC236}">
                <a16:creationId xmlns:a16="http://schemas.microsoft.com/office/drawing/2014/main" id="{B7F18409-3C3F-4B2C-3E70-3C2270678ADD}"/>
              </a:ext>
            </a:extLst>
          </p:cNvPr>
          <p:cNvSpPr>
            <a:spLocks noGrp="1"/>
          </p:cNvSpPr>
          <p:nvPr>
            <p:ph type="body" sz="quarter" idx="12" hasCustomPrompt="1"/>
          </p:nvPr>
        </p:nvSpPr>
        <p:spPr>
          <a:xfrm>
            <a:off x="479425" y="4663302"/>
            <a:ext cx="6548400" cy="664044"/>
          </a:xfrm>
          <a:prstGeom prst="rect">
            <a:avLst/>
          </a:prstGeom>
        </p:spPr>
        <p:txBody>
          <a:bodyPr anchor="ctr">
            <a:normAutofit/>
          </a:bodyPr>
          <a:lstStyle>
            <a:lvl1pPr marL="0" indent="0" rtl="0">
              <a:buNone/>
              <a:defRPr sz="2000">
                <a:solidFill>
                  <a:schemeClr val="bg1"/>
                </a:solidFill>
                <a:latin typeface="Avenir Next LT Pro" panose="020B0504020202020204" pitchFamily="34" charset="0"/>
              </a:defRPr>
            </a:lvl1pPr>
            <a:lvl2pPr>
              <a:defRPr>
                <a:solidFill>
                  <a:schemeClr val="bg1"/>
                </a:solidFill>
                <a:latin typeface="Avenir Next LT Pro" panose="020B0504020202020204" pitchFamily="34" charset="0"/>
              </a:defRPr>
            </a:lvl2pPr>
            <a:lvl3pPr>
              <a:defRPr>
                <a:solidFill>
                  <a:schemeClr val="bg1"/>
                </a:solidFill>
                <a:latin typeface="Avenir Next LT Pro" panose="020B0504020202020204" pitchFamily="34" charset="0"/>
              </a:defRPr>
            </a:lvl3pPr>
            <a:lvl4pPr>
              <a:defRPr>
                <a:solidFill>
                  <a:schemeClr val="bg1"/>
                </a:solidFill>
                <a:latin typeface="Avenir Next LT Pro" panose="020B0504020202020204" pitchFamily="34" charset="0"/>
              </a:defRPr>
            </a:lvl4pPr>
            <a:lvl5pPr>
              <a:defRPr>
                <a:solidFill>
                  <a:schemeClr val="bg1"/>
                </a:solidFill>
                <a:latin typeface="Avenir Next LT Pro" panose="020B0504020202020204" pitchFamily="34" charset="0"/>
              </a:defRPr>
            </a:lvl5pPr>
          </a:lstStyle>
          <a:p>
            <a:pPr lvl="0"/>
            <a:r>
              <a:rPr lang="en-GB"/>
              <a:t>Add Subtitle</a:t>
            </a:r>
          </a:p>
        </p:txBody>
      </p:sp>
      <p:pic>
        <p:nvPicPr>
          <p:cNvPr id="2" name="Picture 1">
            <a:hlinkClick r:id="rId5"/>
            <a:extLst>
              <a:ext uri="{FF2B5EF4-FFF2-40B4-BE49-F238E27FC236}">
                <a16:creationId xmlns:a16="http://schemas.microsoft.com/office/drawing/2014/main" id="{F20D10B7-8027-3137-FB43-1CE1BD3E5958}"/>
              </a:ext>
            </a:extLst>
          </p:cNvPr>
          <p:cNvPicPr>
            <a:picLocks noChangeAspect="1"/>
          </p:cNvPicPr>
          <p:nvPr userDrawn="1"/>
        </p:nvPicPr>
        <p:blipFill>
          <a:blip r:embed="rId8">
            <a:extLst>
              <a:ext uri="{28A0092B-C50C-407E-A947-70E740481C1C}">
                <a14:useLocalDpi xmlns:a14="http://schemas.microsoft.com/office/drawing/2010/main" val="0"/>
              </a:ext>
            </a:extLst>
          </a:blip>
          <a:srcRect l="10154" r="9723"/>
          <a:stretch>
            <a:fillRect/>
          </a:stretch>
        </p:blipFill>
        <p:spPr>
          <a:xfrm>
            <a:off x="479425" y="512491"/>
            <a:ext cx="4606834" cy="944244"/>
          </a:xfrm>
          <a:prstGeom prst="rect">
            <a:avLst/>
          </a:prstGeom>
        </p:spPr>
      </p:pic>
      <p:sp>
        <p:nvSpPr>
          <p:cNvPr id="4" name="Text Placeholder 42">
            <a:extLst>
              <a:ext uri="{FF2B5EF4-FFF2-40B4-BE49-F238E27FC236}">
                <a16:creationId xmlns:a16="http://schemas.microsoft.com/office/drawing/2014/main" id="{5D539B5C-6F85-2895-6F71-072534060200}"/>
              </a:ext>
            </a:extLst>
          </p:cNvPr>
          <p:cNvSpPr>
            <a:spLocks noGrp="1"/>
          </p:cNvSpPr>
          <p:nvPr>
            <p:ph type="body" sz="quarter" idx="13" hasCustomPrompt="1"/>
          </p:nvPr>
        </p:nvSpPr>
        <p:spPr>
          <a:xfrm>
            <a:off x="479424" y="5436552"/>
            <a:ext cx="6548399" cy="435016"/>
          </a:xfrm>
          <a:prstGeom prst="rect">
            <a:avLst/>
          </a:prstGeom>
        </p:spPr>
        <p:txBody>
          <a:bodyPr anchor="ctr"/>
          <a:lstStyle>
            <a:lvl1pPr marL="0" indent="0" rtl="0">
              <a:buNone/>
              <a:defRPr sz="1400" i="1">
                <a:solidFill>
                  <a:schemeClr val="bg1"/>
                </a:solidFill>
                <a:latin typeface="Avenir Next LT Pro" panose="020B0504020202020204" pitchFamily="34" charset="0"/>
              </a:defRPr>
            </a:lvl1pPr>
            <a:lvl2pPr>
              <a:defRPr>
                <a:solidFill>
                  <a:schemeClr val="bg1"/>
                </a:solidFill>
                <a:latin typeface="Avenir Next LT Pro" panose="020B0504020202020204" pitchFamily="34" charset="0"/>
              </a:defRPr>
            </a:lvl2pPr>
            <a:lvl3pPr>
              <a:defRPr>
                <a:solidFill>
                  <a:schemeClr val="bg1"/>
                </a:solidFill>
                <a:latin typeface="Avenir Next LT Pro" panose="020B0504020202020204" pitchFamily="34" charset="0"/>
              </a:defRPr>
            </a:lvl3pPr>
            <a:lvl4pPr>
              <a:defRPr>
                <a:solidFill>
                  <a:schemeClr val="bg1"/>
                </a:solidFill>
                <a:latin typeface="Avenir Next LT Pro" panose="020B0504020202020204" pitchFamily="34" charset="0"/>
              </a:defRPr>
            </a:lvl4pPr>
            <a:lvl5pPr>
              <a:defRPr>
                <a:solidFill>
                  <a:schemeClr val="bg1"/>
                </a:solidFill>
                <a:latin typeface="Avenir Next LT Pro" panose="020B0504020202020204" pitchFamily="34" charset="0"/>
              </a:defRPr>
            </a:lvl5pPr>
          </a:lstStyle>
          <a:p>
            <a:pPr lvl="0"/>
            <a:r>
              <a:rPr lang="en-GB"/>
              <a:t>Add Date (25th of April 2024)</a:t>
            </a:r>
          </a:p>
        </p:txBody>
      </p:sp>
      <p:sp>
        <p:nvSpPr>
          <p:cNvPr id="5" name="TextBox 4">
            <a:extLst>
              <a:ext uri="{FF2B5EF4-FFF2-40B4-BE49-F238E27FC236}">
                <a16:creationId xmlns:a16="http://schemas.microsoft.com/office/drawing/2014/main" id="{49AB9A1D-FA9C-AC15-C080-21ED151C3437}"/>
              </a:ext>
            </a:extLst>
          </p:cNvPr>
          <p:cNvSpPr txBox="1"/>
          <p:nvPr userDrawn="1"/>
        </p:nvSpPr>
        <p:spPr>
          <a:xfrm>
            <a:off x="6113786" y="6572729"/>
            <a:ext cx="6096000" cy="246221"/>
          </a:xfrm>
          <a:prstGeom prst="rect">
            <a:avLst/>
          </a:prstGeom>
          <a:noFill/>
        </p:spPr>
        <p:txBody>
          <a:bodyPr wrap="square">
            <a:spAutoFit/>
          </a:bodyPr>
          <a:lstStyle/>
          <a:p>
            <a:pPr algn="r" rtl="0"/>
            <a:r>
              <a:rPr lang="en-GB" sz="1000" b="0" i="0">
                <a:solidFill>
                  <a:schemeClr val="tx1"/>
                </a:solidFill>
                <a:effectLst/>
                <a:latin typeface="+mj-lt"/>
              </a:rPr>
              <a:t>©2025 Proprietary and Confidential. All Rights Reserved.</a:t>
            </a:r>
            <a:endParaRPr lang="en-GB" sz="1000">
              <a:solidFill>
                <a:schemeClr val="tx1"/>
              </a:solidFill>
              <a:latin typeface="+mj-lt"/>
            </a:endParaRPr>
          </a:p>
        </p:txBody>
      </p:sp>
      <p:grpSp>
        <p:nvGrpSpPr>
          <p:cNvPr id="10" name="Group 9">
            <a:extLst>
              <a:ext uri="{FF2B5EF4-FFF2-40B4-BE49-F238E27FC236}">
                <a16:creationId xmlns:a16="http://schemas.microsoft.com/office/drawing/2014/main" id="{6BE06721-4C6D-5470-E91C-3DE7CFD2C9D7}"/>
              </a:ext>
            </a:extLst>
          </p:cNvPr>
          <p:cNvGrpSpPr/>
          <p:nvPr userDrawn="1"/>
        </p:nvGrpSpPr>
        <p:grpSpPr>
          <a:xfrm>
            <a:off x="479424" y="2278298"/>
            <a:ext cx="2700746" cy="1014574"/>
            <a:chOff x="479424" y="1969226"/>
            <a:chExt cx="2700746" cy="1014574"/>
          </a:xfrm>
        </p:grpSpPr>
        <p:pic>
          <p:nvPicPr>
            <p:cNvPr id="8" name="Graphic 7">
              <a:extLst>
                <a:ext uri="{FF2B5EF4-FFF2-40B4-BE49-F238E27FC236}">
                  <a16:creationId xmlns:a16="http://schemas.microsoft.com/office/drawing/2014/main" id="{9FBEE88E-AF04-54AC-F126-B7E418177290}"/>
                </a:ext>
              </a:extLst>
            </p:cNvPr>
            <p:cNvPicPr>
              <a:picLocks noChangeAspect="1"/>
            </p:cNvPicPr>
            <p:nvPr userDrawn="1"/>
          </p:nvPicPr>
          <p:blipFill>
            <a:blip r:embed="rId9">
              <a:extLst>
                <a:ext uri="{96DAC541-7B7A-43D3-8B79-37D633B846F1}">
                  <asvg:svgBlip xmlns:asvg="http://schemas.microsoft.com/office/drawing/2016/SVG/main" r:embed="rId10"/>
                </a:ext>
              </a:extLst>
            </a:blip>
            <a:srcRect r="64069"/>
            <a:stretch>
              <a:fillRect/>
            </a:stretch>
          </p:blipFill>
          <p:spPr>
            <a:xfrm>
              <a:off x="479424" y="1969226"/>
              <a:ext cx="970398" cy="1012780"/>
            </a:xfrm>
            <a:prstGeom prst="rect">
              <a:avLst/>
            </a:prstGeom>
          </p:spPr>
        </p:pic>
        <p:pic>
          <p:nvPicPr>
            <p:cNvPr id="9" name="Graphic 8">
              <a:extLst>
                <a:ext uri="{FF2B5EF4-FFF2-40B4-BE49-F238E27FC236}">
                  <a16:creationId xmlns:a16="http://schemas.microsoft.com/office/drawing/2014/main" id="{99B6F971-667B-336F-D30F-5B9F4DE21C65}"/>
                </a:ext>
              </a:extLst>
            </p:cNvPr>
            <p:cNvPicPr>
              <a:picLocks noChangeAspect="1"/>
            </p:cNvPicPr>
            <p:nvPr userDrawn="1"/>
          </p:nvPicPr>
          <p:blipFill>
            <a:blip r:embed="rId11">
              <a:extLst>
                <a:ext uri="{96DAC541-7B7A-43D3-8B79-37D633B846F1}">
                  <asvg:svgBlip xmlns:asvg="http://schemas.microsoft.com/office/drawing/2016/SVG/main" r:embed="rId12"/>
                </a:ext>
              </a:extLst>
            </a:blip>
            <a:srcRect l="35931"/>
            <a:stretch>
              <a:fillRect/>
            </a:stretch>
          </p:blipFill>
          <p:spPr>
            <a:xfrm>
              <a:off x="1449823" y="1971020"/>
              <a:ext cx="1730347" cy="1012780"/>
            </a:xfrm>
            <a:prstGeom prst="rect">
              <a:avLst/>
            </a:prstGeom>
          </p:spPr>
        </p:pic>
      </p:grpSp>
    </p:spTree>
    <p:extLst>
      <p:ext uri="{BB962C8B-B14F-4D97-AF65-F5344CB8AC3E}">
        <p14:creationId xmlns:p14="http://schemas.microsoft.com/office/powerpoint/2010/main" val="2793167446"/>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E2F682-1F14-4462-8E43-B909FCFBCF44}"/>
              </a:ext>
            </a:extLst>
          </p:cNvPr>
          <p:cNvGraphicFramePr>
            <a:graphicFrameLocks noChangeAspect="1"/>
          </p:cNvGraphicFramePr>
          <p:nvPr>
            <p:custDataLst>
              <p:tags r:id="rId1"/>
            </p:custDataLst>
            <p:extLst>
              <p:ext uri="{D42A27DB-BD31-4B8C-83A1-F6EECF244321}">
                <p14:modId xmlns:p14="http://schemas.microsoft.com/office/powerpoint/2010/main" val="220609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Object 4" hidden="1">
                        <a:extLst>
                          <a:ext uri="{FF2B5EF4-FFF2-40B4-BE49-F238E27FC236}">
                            <a16:creationId xmlns:a16="http://schemas.microsoft.com/office/drawing/2014/main" id="{0EE2F682-1F14-4462-8E43-B909FCFBCF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B379DF0-6908-7435-F60B-5ADBE5CB4850}"/>
              </a:ext>
            </a:extLst>
          </p:cNvPr>
          <p:cNvSpPr/>
          <p:nvPr userDrawn="1"/>
        </p:nvSpPr>
        <p:spPr>
          <a:xfrm>
            <a:off x="0" y="2"/>
            <a:ext cx="12192000" cy="1057275"/>
          </a:xfrm>
          <a:prstGeom prst="rect">
            <a:avLst/>
          </a:prstGeom>
          <a:solidFill>
            <a:srgbClr val="1C3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63">
              <a:solidFill>
                <a:schemeClr val="bg1"/>
              </a:solidFill>
            </a:endParaRPr>
          </a:p>
        </p:txBody>
      </p:sp>
      <p:sp>
        <p:nvSpPr>
          <p:cNvPr id="6" name="Title 5">
            <a:extLst>
              <a:ext uri="{FF2B5EF4-FFF2-40B4-BE49-F238E27FC236}">
                <a16:creationId xmlns:a16="http://schemas.microsoft.com/office/drawing/2014/main" id="{8AE5FAF2-CBEC-86F3-45ED-489F8A21D98D}"/>
              </a:ext>
            </a:extLst>
          </p:cNvPr>
          <p:cNvSpPr>
            <a:spLocks noGrp="1"/>
          </p:cNvSpPr>
          <p:nvPr>
            <p:ph type="title"/>
          </p:nvPr>
        </p:nvSpPr>
        <p:spPr>
          <a:xfrm>
            <a:off x="137786" y="125260"/>
            <a:ext cx="8179278" cy="806754"/>
          </a:xfrm>
          <a:prstGeom prst="rect">
            <a:avLst/>
          </a:prstGeom>
        </p:spPr>
        <p:txBody>
          <a:bodyPr vert="horz" anchor="ctr">
            <a:normAutofit/>
          </a:bodyPr>
          <a:lstStyle>
            <a:lvl1pPr rtl="0">
              <a:defRPr sz="2800">
                <a:solidFill>
                  <a:schemeClr val="bg1"/>
                </a:solidFill>
                <a:latin typeface="Avenir Next LT Pro" panose="020B0504020202020204" pitchFamily="34" charset="0"/>
              </a:defRPr>
            </a:lvl1pPr>
          </a:lstStyle>
          <a:p>
            <a:r>
              <a:rPr lang="en-GB"/>
              <a:t>Click to edit Master title style</a:t>
            </a:r>
          </a:p>
        </p:txBody>
      </p:sp>
      <p:pic>
        <p:nvPicPr>
          <p:cNvPr id="4" name="Graphic 3">
            <a:extLst>
              <a:ext uri="{FF2B5EF4-FFF2-40B4-BE49-F238E27FC236}">
                <a16:creationId xmlns:a16="http://schemas.microsoft.com/office/drawing/2014/main" id="{08013EC3-B872-F677-DEA8-6ED13DC1034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118456" y="6409206"/>
            <a:ext cx="919795" cy="344923"/>
          </a:xfrm>
          <a:prstGeom prst="rect">
            <a:avLst/>
          </a:prstGeom>
        </p:spPr>
      </p:pic>
      <p:sp>
        <p:nvSpPr>
          <p:cNvPr id="8" name="Rectangle 7">
            <a:extLst>
              <a:ext uri="{FF2B5EF4-FFF2-40B4-BE49-F238E27FC236}">
                <a16:creationId xmlns:a16="http://schemas.microsoft.com/office/drawing/2014/main" id="{37CC45D0-5826-29C0-110D-3A04F7BFB3DE}"/>
              </a:ext>
            </a:extLst>
          </p:cNvPr>
          <p:cNvSpPr/>
          <p:nvPr userDrawn="1"/>
        </p:nvSpPr>
        <p:spPr>
          <a:xfrm>
            <a:off x="17787" y="6566713"/>
            <a:ext cx="295747" cy="2761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58CDF34-F48D-45C6-9029-6B12C78F5995}" type="slidenum">
              <a:rPr kumimoji="0" lang="en-GB" sz="1000" b="0" i="0" u="none" strike="noStrike" kern="1200" cap="none" spc="0" normalizeH="0" baseline="0" noProof="0" smtClean="0">
                <a:ln>
                  <a:noFill/>
                </a:ln>
                <a:solidFill>
                  <a:srgbClr val="A4A4A4"/>
                </a:solidFill>
                <a:effectLst/>
                <a:uLnTx/>
                <a:uFillTx/>
                <a:latin typeface="Avenir Next LT Pro" panose="020B05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100" b="0" i="0" u="none" strike="noStrike" kern="1200" cap="none" spc="0" normalizeH="0" baseline="0" noProof="0">
              <a:ln>
                <a:noFill/>
              </a:ln>
              <a:solidFill>
                <a:srgbClr val="A4A4A4"/>
              </a:solidFill>
              <a:effectLst/>
              <a:uLnTx/>
              <a:uFillTx/>
              <a:latin typeface="Avenir Next LT Pro" panose="020B0504020202020204" pitchFamily="34" charset="0"/>
              <a:ea typeface="+mn-ea"/>
              <a:cs typeface="+mn-cs"/>
            </a:endParaRPr>
          </a:p>
        </p:txBody>
      </p:sp>
    </p:spTree>
    <p:extLst>
      <p:ext uri="{BB962C8B-B14F-4D97-AF65-F5344CB8AC3E}">
        <p14:creationId xmlns:p14="http://schemas.microsoft.com/office/powerpoint/2010/main" val="3346693647"/>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4FAB623-4AE9-71F2-22D6-52C5B2B9E02A}"/>
              </a:ext>
            </a:extLst>
          </p:cNvPr>
          <p:cNvGraphicFramePr>
            <a:graphicFrameLocks noChangeAspect="1"/>
          </p:cNvGraphicFramePr>
          <p:nvPr userDrawn="1">
            <p:custDataLst>
              <p:tags r:id="rId1"/>
            </p:custDataLst>
            <p:extLst>
              <p:ext uri="{D42A27DB-BD31-4B8C-83A1-F6EECF244321}">
                <p14:modId xmlns:p14="http://schemas.microsoft.com/office/powerpoint/2010/main" val="374654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3" name="think-cell data - do not delete" hidden="1">
                        <a:extLst>
                          <a:ext uri="{FF2B5EF4-FFF2-40B4-BE49-F238E27FC236}">
                            <a16:creationId xmlns:a16="http://schemas.microsoft.com/office/drawing/2014/main" id="{84FAB623-4AE9-71F2-22D6-52C5B2B9E0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533B30A-1AE5-8EE3-B268-26D227898ACA}"/>
              </a:ext>
            </a:extLst>
          </p:cNvPr>
          <p:cNvSpPr/>
          <p:nvPr/>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solidFill>
                <a:schemeClr val="bg1"/>
              </a:solidFill>
            </a:endParaRPr>
          </a:p>
        </p:txBody>
      </p:sp>
      <p:sp>
        <p:nvSpPr>
          <p:cNvPr id="11" name="Rectangle 10">
            <a:extLst>
              <a:ext uri="{FF2B5EF4-FFF2-40B4-BE49-F238E27FC236}">
                <a16:creationId xmlns:a16="http://schemas.microsoft.com/office/drawing/2014/main" id="{6C788C7D-5A20-BFCD-5F73-964CB1BB3542}"/>
              </a:ext>
            </a:extLst>
          </p:cNvPr>
          <p:cNvSpPr/>
          <p:nvPr userDrawn="1"/>
        </p:nvSpPr>
        <p:spPr>
          <a:xfrm>
            <a:off x="-1" y="0"/>
            <a:ext cx="12192001" cy="6858000"/>
          </a:xfrm>
          <a:prstGeom prst="rect">
            <a:avLst/>
          </a:prstGeom>
          <a:gradFill flip="none" rotWithShape="1">
            <a:gsLst>
              <a:gs pos="10000">
                <a:srgbClr val="1C3144"/>
              </a:gs>
              <a:gs pos="61000">
                <a:srgbClr val="1C3144">
                  <a:alpha val="78000"/>
                </a:srgbClr>
              </a:gs>
              <a:gs pos="47000">
                <a:srgbClr val="1C3144">
                  <a:alpha val="89000"/>
                </a:srgbClr>
              </a:gs>
              <a:gs pos="32000">
                <a:srgbClr val="1C3144">
                  <a:alpha val="92000"/>
                </a:srgbClr>
              </a:gs>
              <a:gs pos="100000">
                <a:srgbClr val="1C3144">
                  <a:alpha val="0"/>
                </a:srgb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solidFill>
                <a:schemeClr val="bg1"/>
              </a:solidFill>
            </a:endParaRPr>
          </a:p>
        </p:txBody>
      </p:sp>
      <p:sp>
        <p:nvSpPr>
          <p:cNvPr id="12" name="Freeform 5">
            <a:hlinkClick r:id="rId5"/>
            <a:extLst>
              <a:ext uri="{FF2B5EF4-FFF2-40B4-BE49-F238E27FC236}">
                <a16:creationId xmlns:a16="http://schemas.microsoft.com/office/drawing/2014/main" id="{F52E57DA-F389-BD8A-595F-32F90C788D65}"/>
              </a:ext>
            </a:extLst>
          </p:cNvPr>
          <p:cNvSpPr/>
          <p:nvPr userDrawn="1"/>
        </p:nvSpPr>
        <p:spPr>
          <a:xfrm flipH="1">
            <a:off x="-3" y="2509108"/>
            <a:ext cx="12192002" cy="4348891"/>
          </a:xfrm>
          <a:custGeom>
            <a:avLst/>
            <a:gdLst/>
            <a:ahLst/>
            <a:cxnLst/>
            <a:rect l="l" t="t" r="r" b="b"/>
            <a:pathLst>
              <a:path w="9962715" h="9962715">
                <a:moveTo>
                  <a:pt x="9962715" y="0"/>
                </a:moveTo>
                <a:lnTo>
                  <a:pt x="0" y="0"/>
                </a:lnTo>
                <a:lnTo>
                  <a:pt x="0" y="9962715"/>
                </a:lnTo>
                <a:lnTo>
                  <a:pt x="9962715" y="9962715"/>
                </a:lnTo>
                <a:lnTo>
                  <a:pt x="9962715" y="0"/>
                </a:lnTo>
                <a:close/>
              </a:path>
            </a:pathLst>
          </a:custGeom>
          <a:blipFill>
            <a:blip r:embed="rId6">
              <a:alphaModFix amt="89000"/>
              <a:extLst>
                <a:ext uri="{96DAC541-7B7A-43D3-8B79-37D633B846F1}">
                  <asvg:svgBlip xmlns:asvg="http://schemas.microsoft.com/office/drawing/2016/SVG/main" r:embed="rId7"/>
                </a:ext>
              </a:extLst>
            </a:blip>
            <a:stretch>
              <a:fillRect t="-1" b="-48495"/>
            </a:stretch>
          </a:blipFill>
        </p:spPr>
        <p:txBody>
          <a:bodyPr/>
          <a:lstStyle/>
          <a:p>
            <a:pPr rtl="0"/>
            <a:endParaRPr lang="en-GB"/>
          </a:p>
        </p:txBody>
      </p:sp>
      <p:sp>
        <p:nvSpPr>
          <p:cNvPr id="9" name="Rectangle 8">
            <a:extLst>
              <a:ext uri="{FF2B5EF4-FFF2-40B4-BE49-F238E27FC236}">
                <a16:creationId xmlns:a16="http://schemas.microsoft.com/office/drawing/2014/main" id="{4B484DA7-3685-3A35-DF47-A862A7FD22C4}"/>
              </a:ext>
            </a:extLst>
          </p:cNvPr>
          <p:cNvSpPr/>
          <p:nvPr/>
        </p:nvSpPr>
        <p:spPr>
          <a:xfrm>
            <a:off x="17787" y="6545897"/>
            <a:ext cx="295747" cy="2761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rtl="0"/>
            <a:fld id="{E58CDF34-F48D-45C6-9029-6B12C78F5995}" type="slidenum">
              <a:rPr lang="en-GB" sz="1000" smtClean="0">
                <a:solidFill>
                  <a:schemeClr val="bg1"/>
                </a:solidFill>
                <a:latin typeface="Avenir Next LT Pro" panose="020B0504020202020204" pitchFamily="34" charset="0"/>
              </a:rPr>
              <a:pPr algn="ctr" rtl="0"/>
              <a:t>‹#›</a:t>
            </a:fld>
            <a:endParaRPr lang="en-GB" sz="1100">
              <a:solidFill>
                <a:schemeClr val="bg1"/>
              </a:solidFill>
              <a:latin typeface="Avenir Next LT Pro" panose="020B0504020202020204" pitchFamily="34" charset="0"/>
            </a:endParaRPr>
          </a:p>
        </p:txBody>
      </p:sp>
      <p:pic>
        <p:nvPicPr>
          <p:cNvPr id="4" name="Picture 3">
            <a:hlinkClick r:id="rId5"/>
            <a:extLst>
              <a:ext uri="{FF2B5EF4-FFF2-40B4-BE49-F238E27FC236}">
                <a16:creationId xmlns:a16="http://schemas.microsoft.com/office/drawing/2014/main" id="{E50411BF-3546-4177-E0FA-5B016CD2AC5F}"/>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3221136" y="2046860"/>
            <a:ext cx="5749729" cy="944244"/>
          </a:xfrm>
          <a:prstGeom prst="rect">
            <a:avLst/>
          </a:prstGeom>
        </p:spPr>
      </p:pic>
      <p:sp>
        <p:nvSpPr>
          <p:cNvPr id="6" name="TextBox 5">
            <a:extLst>
              <a:ext uri="{FF2B5EF4-FFF2-40B4-BE49-F238E27FC236}">
                <a16:creationId xmlns:a16="http://schemas.microsoft.com/office/drawing/2014/main" id="{9CF1C927-2737-D92D-2EF8-1DFABB85DECD}"/>
              </a:ext>
            </a:extLst>
          </p:cNvPr>
          <p:cNvSpPr txBox="1"/>
          <p:nvPr userDrawn="1"/>
        </p:nvSpPr>
        <p:spPr>
          <a:xfrm>
            <a:off x="2273596" y="3539683"/>
            <a:ext cx="7644809" cy="1477328"/>
          </a:xfrm>
          <a:prstGeom prst="rect">
            <a:avLst/>
          </a:prstGeom>
          <a:noFill/>
        </p:spPr>
        <p:txBody>
          <a:bodyPr wrap="square" rtlCol="0">
            <a:spAutoFit/>
          </a:bodyPr>
          <a:lstStyle/>
          <a:p>
            <a:pPr algn="ctr" rtl="0"/>
            <a:r>
              <a:rPr lang="en-GB" b="1">
                <a:solidFill>
                  <a:schemeClr val="bg1"/>
                </a:solidFill>
                <a:latin typeface="Avenir Next LT Pro" panose="020B0504020202020204" pitchFamily="34" charset="0"/>
              </a:rPr>
              <a:t>3HORIZONS</a:t>
            </a:r>
          </a:p>
          <a:p>
            <a:pPr algn="ctr" rtl="0"/>
            <a:r>
              <a:rPr lang="en-GB" i="0">
                <a:solidFill>
                  <a:schemeClr val="bg1"/>
                </a:solidFill>
                <a:effectLst/>
                <a:latin typeface="Avenir Next LT Pro" panose="020B0504020202020204" pitchFamily="34" charset="0"/>
              </a:rPr>
              <a:t>39-51 Highgate Road</a:t>
            </a:r>
          </a:p>
          <a:p>
            <a:pPr algn="ctr" rtl="0"/>
            <a:r>
              <a:rPr lang="en-GB">
                <a:solidFill>
                  <a:schemeClr val="bg1"/>
                </a:solidFill>
                <a:latin typeface="Avenir Next LT Pro" panose="020B0504020202020204" pitchFamily="34" charset="0"/>
              </a:rPr>
              <a:t>London</a:t>
            </a:r>
            <a:endParaRPr lang="en-GB" i="0">
              <a:solidFill>
                <a:schemeClr val="bg1"/>
              </a:solidFill>
              <a:effectLst/>
              <a:latin typeface="Avenir Next LT Pro" panose="020B0504020202020204" pitchFamily="34" charset="0"/>
            </a:endParaRPr>
          </a:p>
          <a:p>
            <a:pPr algn="ctr" rtl="0"/>
            <a:endParaRPr lang="en-GB">
              <a:solidFill>
                <a:schemeClr val="bg1"/>
              </a:solidFill>
              <a:latin typeface="Avenir Next LT Pro" panose="020B0504020202020204" pitchFamily="34" charset="0"/>
            </a:endParaRPr>
          </a:p>
          <a:p>
            <a:pPr algn="ctr" rtl="0"/>
            <a:r>
              <a:rPr lang="en-GB" b="1">
                <a:solidFill>
                  <a:schemeClr val="bg1"/>
                </a:solidFill>
                <a:latin typeface="Avenir Next LT Pro" panose="020B0504020202020204" pitchFamily="34" charset="0"/>
              </a:rPr>
              <a:t>www.3horizons.com</a:t>
            </a:r>
          </a:p>
        </p:txBody>
      </p:sp>
      <p:sp>
        <p:nvSpPr>
          <p:cNvPr id="5" name="TextBox 4">
            <a:extLst>
              <a:ext uri="{FF2B5EF4-FFF2-40B4-BE49-F238E27FC236}">
                <a16:creationId xmlns:a16="http://schemas.microsoft.com/office/drawing/2014/main" id="{79C6570C-5891-5E38-7FD7-D577FA1D10A7}"/>
              </a:ext>
            </a:extLst>
          </p:cNvPr>
          <p:cNvSpPr txBox="1"/>
          <p:nvPr userDrawn="1"/>
        </p:nvSpPr>
        <p:spPr>
          <a:xfrm>
            <a:off x="6113786" y="6572729"/>
            <a:ext cx="6096000" cy="246221"/>
          </a:xfrm>
          <a:prstGeom prst="rect">
            <a:avLst/>
          </a:prstGeom>
          <a:noFill/>
        </p:spPr>
        <p:txBody>
          <a:bodyPr wrap="square">
            <a:spAutoFit/>
          </a:bodyPr>
          <a:lstStyle/>
          <a:p>
            <a:pPr algn="r" rtl="0"/>
            <a:r>
              <a:rPr lang="en-GB" sz="1000" b="0" i="0">
                <a:solidFill>
                  <a:schemeClr val="tx1"/>
                </a:solidFill>
                <a:effectLst/>
                <a:latin typeface="+mj-lt"/>
              </a:rPr>
              <a:t>©2025 Proprietary and Confidential. All Rights Reserved.</a:t>
            </a:r>
            <a:endParaRPr lang="en-GB" sz="1000">
              <a:solidFill>
                <a:schemeClr val="tx1"/>
              </a:solidFill>
              <a:latin typeface="+mj-lt"/>
            </a:endParaRPr>
          </a:p>
        </p:txBody>
      </p:sp>
      <p:grpSp>
        <p:nvGrpSpPr>
          <p:cNvPr id="8" name="Group 7">
            <a:extLst>
              <a:ext uri="{FF2B5EF4-FFF2-40B4-BE49-F238E27FC236}">
                <a16:creationId xmlns:a16="http://schemas.microsoft.com/office/drawing/2014/main" id="{10E53590-14C9-4A0B-B914-7C43522F9CDC}"/>
              </a:ext>
            </a:extLst>
          </p:cNvPr>
          <p:cNvGrpSpPr/>
          <p:nvPr userDrawn="1"/>
        </p:nvGrpSpPr>
        <p:grpSpPr>
          <a:xfrm>
            <a:off x="4745625" y="801162"/>
            <a:ext cx="2700746" cy="1014574"/>
            <a:chOff x="479424" y="1969226"/>
            <a:chExt cx="2700746" cy="1014574"/>
          </a:xfrm>
        </p:grpSpPr>
        <p:pic>
          <p:nvPicPr>
            <p:cNvPr id="10" name="Graphic 9">
              <a:extLst>
                <a:ext uri="{FF2B5EF4-FFF2-40B4-BE49-F238E27FC236}">
                  <a16:creationId xmlns:a16="http://schemas.microsoft.com/office/drawing/2014/main" id="{E899A4B8-0E04-ACD1-9CD6-82DBCE4478CF}"/>
                </a:ext>
              </a:extLst>
            </p:cNvPr>
            <p:cNvPicPr>
              <a:picLocks noChangeAspect="1"/>
            </p:cNvPicPr>
            <p:nvPr userDrawn="1"/>
          </p:nvPicPr>
          <p:blipFill>
            <a:blip r:embed="rId9">
              <a:extLst>
                <a:ext uri="{96DAC541-7B7A-43D3-8B79-37D633B846F1}">
                  <asvg:svgBlip xmlns:asvg="http://schemas.microsoft.com/office/drawing/2016/SVG/main" r:embed="rId10"/>
                </a:ext>
              </a:extLst>
            </a:blip>
            <a:srcRect r="64069"/>
            <a:stretch>
              <a:fillRect/>
            </a:stretch>
          </p:blipFill>
          <p:spPr>
            <a:xfrm>
              <a:off x="479424" y="1969226"/>
              <a:ext cx="970398" cy="1012780"/>
            </a:xfrm>
            <a:prstGeom prst="rect">
              <a:avLst/>
            </a:prstGeom>
          </p:spPr>
        </p:pic>
        <p:pic>
          <p:nvPicPr>
            <p:cNvPr id="13" name="Graphic 12">
              <a:extLst>
                <a:ext uri="{FF2B5EF4-FFF2-40B4-BE49-F238E27FC236}">
                  <a16:creationId xmlns:a16="http://schemas.microsoft.com/office/drawing/2014/main" id="{B17A83A4-648D-BF1C-8E74-46028CBC3EF4}"/>
                </a:ext>
              </a:extLst>
            </p:cNvPr>
            <p:cNvPicPr>
              <a:picLocks noChangeAspect="1"/>
            </p:cNvPicPr>
            <p:nvPr userDrawn="1"/>
          </p:nvPicPr>
          <p:blipFill>
            <a:blip r:embed="rId11">
              <a:extLst>
                <a:ext uri="{96DAC541-7B7A-43D3-8B79-37D633B846F1}">
                  <asvg:svgBlip xmlns:asvg="http://schemas.microsoft.com/office/drawing/2016/SVG/main" r:embed="rId12"/>
                </a:ext>
              </a:extLst>
            </a:blip>
            <a:srcRect l="35931"/>
            <a:stretch>
              <a:fillRect/>
            </a:stretch>
          </p:blipFill>
          <p:spPr>
            <a:xfrm>
              <a:off x="1449823" y="1971020"/>
              <a:ext cx="1730347" cy="1012780"/>
            </a:xfrm>
            <a:prstGeom prst="rect">
              <a:avLst/>
            </a:prstGeom>
          </p:spPr>
        </p:pic>
      </p:grpSp>
    </p:spTree>
    <p:extLst>
      <p:ext uri="{BB962C8B-B14F-4D97-AF65-F5344CB8AC3E}">
        <p14:creationId xmlns:p14="http://schemas.microsoft.com/office/powerpoint/2010/main" val="117336935"/>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1_Custom_Left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E2F682-1F14-4462-8E43-B909FCFBCF44}"/>
              </a:ext>
            </a:extLst>
          </p:cNvPr>
          <p:cNvGraphicFramePr>
            <a:graphicFrameLocks noChangeAspect="1"/>
          </p:cNvGraphicFramePr>
          <p:nvPr>
            <p:custDataLst>
              <p:tags r:id="rId1"/>
            </p:custDataLst>
            <p:extLst>
              <p:ext uri="{D42A27DB-BD31-4B8C-83A1-F6EECF244321}">
                <p14:modId xmlns:p14="http://schemas.microsoft.com/office/powerpoint/2010/main" val="3013567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Object 4" hidden="1">
                        <a:extLst>
                          <a:ext uri="{FF2B5EF4-FFF2-40B4-BE49-F238E27FC236}">
                            <a16:creationId xmlns:a16="http://schemas.microsoft.com/office/drawing/2014/main" id="{0EE2F682-1F14-4462-8E43-B909FCFBCF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5D2EFDEA-CB56-5C18-B1F9-01169FACDA2F}"/>
              </a:ext>
            </a:extLst>
          </p:cNvPr>
          <p:cNvSpPr/>
          <p:nvPr/>
        </p:nvSpPr>
        <p:spPr>
          <a:xfrm>
            <a:off x="0" y="-1"/>
            <a:ext cx="3465096" cy="6858001"/>
          </a:xfrm>
          <a:prstGeom prst="rect">
            <a:avLst/>
          </a:prstGeom>
          <a:solidFill>
            <a:srgbClr val="1C3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solidFill>
                <a:schemeClr val="bg1"/>
              </a:solidFill>
              <a:latin typeface="Avenir Next LT Pro" panose="020B0504020202020204" pitchFamily="34" charset="0"/>
              <a:sym typeface="Avenir Next LT Pro" panose="020B0504020202020204" pitchFamily="34" charset="0"/>
            </a:endParaRPr>
          </a:p>
        </p:txBody>
      </p:sp>
      <p:sp>
        <p:nvSpPr>
          <p:cNvPr id="15" name="TextBox 14">
            <a:extLst>
              <a:ext uri="{FF2B5EF4-FFF2-40B4-BE49-F238E27FC236}">
                <a16:creationId xmlns:a16="http://schemas.microsoft.com/office/drawing/2014/main" id="{451E2594-B6E1-7B0D-F61F-CC7C31613065}"/>
              </a:ext>
            </a:extLst>
          </p:cNvPr>
          <p:cNvSpPr txBox="1"/>
          <p:nvPr/>
        </p:nvSpPr>
        <p:spPr>
          <a:xfrm>
            <a:off x="3048000" y="6555477"/>
            <a:ext cx="6096000" cy="246221"/>
          </a:xfrm>
          <a:prstGeom prst="rect">
            <a:avLst/>
          </a:prstGeom>
          <a:noFill/>
        </p:spPr>
        <p:txBody>
          <a:bodyPr wrap="square">
            <a:spAutoFit/>
          </a:bodyPr>
          <a:lstStyle/>
          <a:p>
            <a:pPr algn="ctr" rtl="0"/>
            <a:r>
              <a:rPr lang="en-GB" sz="1000" b="0" i="0">
                <a:solidFill>
                  <a:schemeClr val="bg1">
                    <a:lumMod val="65000"/>
                  </a:schemeClr>
                </a:solidFill>
                <a:effectLst/>
                <a:latin typeface="+mj-lt"/>
              </a:rPr>
              <a:t>©2025 Proprietary and Confidential. All Rights Reserved.</a:t>
            </a:r>
            <a:endParaRPr lang="en-GB" sz="1000">
              <a:solidFill>
                <a:schemeClr val="bg1">
                  <a:lumMod val="65000"/>
                </a:schemeClr>
              </a:solidFill>
              <a:latin typeface="+mj-lt"/>
            </a:endParaRPr>
          </a:p>
        </p:txBody>
      </p:sp>
      <p:sp>
        <p:nvSpPr>
          <p:cNvPr id="14" name="Title 5">
            <a:extLst>
              <a:ext uri="{FF2B5EF4-FFF2-40B4-BE49-F238E27FC236}">
                <a16:creationId xmlns:a16="http://schemas.microsoft.com/office/drawing/2014/main" id="{30AA3B7F-B2BD-05DE-962E-D93311C83582}"/>
              </a:ext>
            </a:extLst>
          </p:cNvPr>
          <p:cNvSpPr>
            <a:spLocks noGrp="1"/>
          </p:cNvSpPr>
          <p:nvPr>
            <p:ph type="title" hasCustomPrompt="1"/>
          </p:nvPr>
        </p:nvSpPr>
        <p:spPr>
          <a:xfrm>
            <a:off x="173319" y="164314"/>
            <a:ext cx="3111302" cy="1050875"/>
          </a:xfrm>
          <a:prstGeom prst="rect">
            <a:avLst/>
          </a:prstGeom>
        </p:spPr>
        <p:txBody>
          <a:bodyPr vert="horz" anchor="ctr">
            <a:normAutofit/>
          </a:bodyPr>
          <a:lstStyle>
            <a:lvl1pPr rtl="0">
              <a:spcBef>
                <a:spcPts val="600"/>
              </a:spcBef>
              <a:spcAft>
                <a:spcPts val="600"/>
              </a:spcAft>
              <a:defRPr sz="2800">
                <a:ln>
                  <a:noFill/>
                </a:ln>
                <a:solidFill>
                  <a:schemeClr val="bg1"/>
                </a:solidFill>
                <a:latin typeface="Avenir Next LT Pro" panose="020B0504020202020204" pitchFamily="34" charset="0"/>
                <a:sym typeface="Avenir Next LT Pro" panose="020B0504020202020204" pitchFamily="34" charset="0"/>
              </a:defRPr>
            </a:lvl1pPr>
          </a:lstStyle>
          <a:p>
            <a:r>
              <a:rPr lang="en-GB"/>
              <a:t>Agenda</a:t>
            </a:r>
            <a:br>
              <a:rPr lang="en-GB"/>
            </a:br>
            <a:r>
              <a:rPr lang="en-GB"/>
              <a:t>Day X</a:t>
            </a:r>
          </a:p>
        </p:txBody>
      </p:sp>
      <p:sp>
        <p:nvSpPr>
          <p:cNvPr id="8" name="Rectangle 7">
            <a:extLst>
              <a:ext uri="{FF2B5EF4-FFF2-40B4-BE49-F238E27FC236}">
                <a16:creationId xmlns:a16="http://schemas.microsoft.com/office/drawing/2014/main" id="{8D2CBB94-30CA-0548-ADC3-AF130F79B6CF}"/>
              </a:ext>
            </a:extLst>
          </p:cNvPr>
          <p:cNvSpPr/>
          <p:nvPr userDrawn="1"/>
        </p:nvSpPr>
        <p:spPr>
          <a:xfrm>
            <a:off x="17787" y="6566713"/>
            <a:ext cx="295747" cy="2761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58CDF34-F48D-45C6-9029-6B12C78F5995}" type="slidenum">
              <a:rPr kumimoji="0" lang="en-GB" sz="1000" b="0" i="0" u="none" strike="noStrike" kern="1200" cap="none" spc="0" normalizeH="0" baseline="0" noProof="0" smtClean="0">
                <a:ln>
                  <a:noFill/>
                </a:ln>
                <a:solidFill>
                  <a:schemeClr val="bg1"/>
                </a:solidFill>
                <a:effectLst/>
                <a:uLnTx/>
                <a:uFillTx/>
                <a:latin typeface="Avenir Next LT Pro" panose="020B05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100" b="0" i="0" u="none" strike="noStrike" kern="1200" cap="none" spc="0" normalizeH="0" baseline="0" noProof="0">
              <a:ln>
                <a:noFill/>
              </a:ln>
              <a:solidFill>
                <a:schemeClr val="bg1"/>
              </a:solidFill>
              <a:effectLst/>
              <a:uLnTx/>
              <a:uFillTx/>
              <a:latin typeface="Avenir Next LT Pro" panose="020B0504020202020204" pitchFamily="34" charset="0"/>
              <a:ea typeface="+mn-ea"/>
              <a:cs typeface="+mn-cs"/>
            </a:endParaRPr>
          </a:p>
        </p:txBody>
      </p:sp>
      <p:pic>
        <p:nvPicPr>
          <p:cNvPr id="3" name="Graphic 2">
            <a:extLst>
              <a:ext uri="{FF2B5EF4-FFF2-40B4-BE49-F238E27FC236}">
                <a16:creationId xmlns:a16="http://schemas.microsoft.com/office/drawing/2014/main" id="{D9A303A9-CDBC-5135-E03F-1B40211C1FA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118456" y="6409206"/>
            <a:ext cx="919795" cy="344923"/>
          </a:xfrm>
          <a:prstGeom prst="rect">
            <a:avLst/>
          </a:prstGeom>
        </p:spPr>
      </p:pic>
      <p:sp>
        <p:nvSpPr>
          <p:cNvPr id="7" name="Text Placeholder 6">
            <a:extLst>
              <a:ext uri="{FF2B5EF4-FFF2-40B4-BE49-F238E27FC236}">
                <a16:creationId xmlns:a16="http://schemas.microsoft.com/office/drawing/2014/main" id="{B4CE4123-8538-3E69-C9D5-A37501C101A1}"/>
              </a:ext>
            </a:extLst>
          </p:cNvPr>
          <p:cNvSpPr>
            <a:spLocks noGrp="1"/>
          </p:cNvSpPr>
          <p:nvPr>
            <p:ph type="body" sz="quarter" idx="11"/>
          </p:nvPr>
        </p:nvSpPr>
        <p:spPr>
          <a:xfrm>
            <a:off x="3641725" y="165100"/>
            <a:ext cx="8221663" cy="6084888"/>
          </a:xfr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8339132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469">
          <p15:clr>
            <a:srgbClr val="FBAE40"/>
          </p15:clr>
        </p15:guide>
        <p15:guide id="2" orient="horz" pos="4088">
          <p15:clr>
            <a:srgbClr val="FBAE40"/>
          </p15:clr>
        </p15:guide>
        <p15:guide id="3" orient="horz" pos="686">
          <p15:clr>
            <a:srgbClr val="FBAE40"/>
          </p15:clr>
        </p15:guide>
        <p15:guide id="4" pos="2638">
          <p15:clr>
            <a:srgbClr val="FBAE40"/>
          </p15:clr>
        </p15:guide>
        <p15:guide id="5" pos="21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24ACD37-19F7-B258-024D-C10B633BFFF1}"/>
              </a:ext>
            </a:extLst>
          </p:cNvPr>
          <p:cNvGraphicFramePr>
            <a:graphicFrameLocks noChangeAspect="1"/>
          </p:cNvGraphicFramePr>
          <p:nvPr userDrawn="1">
            <p:custDataLst>
              <p:tags r:id="rId1"/>
            </p:custDataLst>
            <p:extLst>
              <p:ext uri="{D42A27DB-BD31-4B8C-83A1-F6EECF244321}">
                <p14:modId xmlns:p14="http://schemas.microsoft.com/office/powerpoint/2010/main" val="4036759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2" imgH="511" progId="TCLayout.ActiveDocument.1">
                  <p:embed/>
                </p:oleObj>
              </mc:Choice>
              <mc:Fallback>
                <p:oleObj name="think-cell Slide" r:id="rId3" imgW="512" imgH="511" progId="TCLayout.ActiveDocument.1">
                  <p:embed/>
                  <p:pic>
                    <p:nvPicPr>
                      <p:cNvPr id="8" name="think-cell data - do not delete" hidden="1">
                        <a:extLst>
                          <a:ext uri="{FF2B5EF4-FFF2-40B4-BE49-F238E27FC236}">
                            <a16:creationId xmlns:a16="http://schemas.microsoft.com/office/drawing/2014/main" id="{124ACD37-19F7-B258-024D-C10B633BFF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429B2D-5B7B-18C9-7861-1CC66E9BE08C}"/>
              </a:ext>
            </a:extLst>
          </p:cNvPr>
          <p:cNvSpPr>
            <a:spLocks noGrp="1"/>
          </p:cNvSpPr>
          <p:nvPr>
            <p:ph type="title"/>
          </p:nvPr>
        </p:nvSpPr>
        <p:spPr/>
        <p:txBody>
          <a:bodyPr vert="horz"/>
          <a:lstStyle>
            <a:lvl1pPr rtl="0">
              <a:defRPr/>
            </a:lvl1pPr>
          </a:lstStyle>
          <a:p>
            <a:r>
              <a:rPr lang="en-GB"/>
              <a:t>Click to edit Master title style</a:t>
            </a:r>
          </a:p>
        </p:txBody>
      </p:sp>
      <p:sp>
        <p:nvSpPr>
          <p:cNvPr id="3" name="Content Placeholder 2">
            <a:extLst>
              <a:ext uri="{FF2B5EF4-FFF2-40B4-BE49-F238E27FC236}">
                <a16:creationId xmlns:a16="http://schemas.microsoft.com/office/drawing/2014/main" id="{89AD6466-1560-1701-3D6B-9D540C12F49B}"/>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FB8FD672-9C52-3359-6CD9-962CB4247F71}"/>
              </a:ext>
            </a:extLst>
          </p:cNvPr>
          <p:cNvSpPr>
            <a:spLocks noGrp="1"/>
          </p:cNvSpPr>
          <p:nvPr>
            <p:ph type="dt" sz="half" idx="10"/>
          </p:nvPr>
        </p:nvSpPr>
        <p:spPr/>
        <p:txBody>
          <a:bodyPr/>
          <a:lstStyle>
            <a:lvl1pPr rtl="0">
              <a:defRPr/>
            </a:lvl1pPr>
          </a:lstStyle>
          <a:p>
            <a:fld id="{4AC1A3FB-BEFC-4C64-8073-4EEA380970C8}" type="datetimeFigureOut">
              <a:rPr lang="en-GB" smtClean="0"/>
              <a:pPr/>
              <a:t>27/06/2025</a:t>
            </a:fld>
            <a:endParaRPr lang="en-GB"/>
          </a:p>
        </p:txBody>
      </p:sp>
      <p:sp>
        <p:nvSpPr>
          <p:cNvPr id="5" name="Footer Placeholder 4">
            <a:extLst>
              <a:ext uri="{FF2B5EF4-FFF2-40B4-BE49-F238E27FC236}">
                <a16:creationId xmlns:a16="http://schemas.microsoft.com/office/drawing/2014/main" id="{9E9B7511-3272-B5E9-13FF-936866146258}"/>
              </a:ext>
            </a:extLst>
          </p:cNvPr>
          <p:cNvSpPr>
            <a:spLocks noGrp="1"/>
          </p:cNvSpPr>
          <p:nvPr>
            <p:ph type="ftr" sz="quarter" idx="11"/>
          </p:nvPr>
        </p:nvSpPr>
        <p:spPr/>
        <p:txBody>
          <a:bodyPr/>
          <a:lstStyle>
            <a:lvl1pPr rtl="0">
              <a:defRPr/>
            </a:lvl1pPr>
          </a:lstStyle>
          <a:p>
            <a:endParaRPr lang="en-GB"/>
          </a:p>
        </p:txBody>
      </p:sp>
      <p:sp>
        <p:nvSpPr>
          <p:cNvPr id="6" name="Slide Number Placeholder 5">
            <a:extLst>
              <a:ext uri="{FF2B5EF4-FFF2-40B4-BE49-F238E27FC236}">
                <a16:creationId xmlns:a16="http://schemas.microsoft.com/office/drawing/2014/main" id="{38BB8EF6-6222-7665-3F8E-A6093D701149}"/>
              </a:ext>
            </a:extLst>
          </p:cNvPr>
          <p:cNvSpPr>
            <a:spLocks noGrp="1"/>
          </p:cNvSpPr>
          <p:nvPr>
            <p:ph type="sldNum" sz="quarter" idx="12"/>
          </p:nvPr>
        </p:nvSpPr>
        <p:spPr/>
        <p:txBody>
          <a:bodyPr/>
          <a:lstStyle>
            <a:lvl1pPr rtl="0">
              <a:defRPr/>
            </a:lvl1pPr>
          </a:lstStyle>
          <a:p>
            <a:fld id="{780F09D1-36FB-4C13-9940-67331369E9EB}" type="slidenum">
              <a:rPr lang="en-GB" smtClean="0"/>
              <a:pPr/>
              <a:t>‹#›</a:t>
            </a:fld>
            <a:endParaRPr lang="en-GB"/>
          </a:p>
        </p:txBody>
      </p:sp>
    </p:spTree>
    <p:extLst>
      <p:ext uri="{BB962C8B-B14F-4D97-AF65-F5344CB8AC3E}">
        <p14:creationId xmlns:p14="http://schemas.microsoft.com/office/powerpoint/2010/main" val="4158031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892FBB6-BA93-E48A-E891-B0B30A4B8EEF}"/>
              </a:ext>
            </a:extLst>
          </p:cNvPr>
          <p:cNvGraphicFramePr>
            <a:graphicFrameLocks noChangeAspect="1"/>
          </p:cNvGraphicFramePr>
          <p:nvPr userDrawn="1">
            <p:custDataLst>
              <p:tags r:id="rId1"/>
            </p:custDataLst>
            <p:extLst>
              <p:ext uri="{D42A27DB-BD31-4B8C-83A1-F6EECF244321}">
                <p14:modId xmlns:p14="http://schemas.microsoft.com/office/powerpoint/2010/main" val="1875306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2" imgH="511" progId="TCLayout.ActiveDocument.1">
                  <p:embed/>
                </p:oleObj>
              </mc:Choice>
              <mc:Fallback>
                <p:oleObj name="think-cell Slide" r:id="rId3" imgW="512" imgH="511" progId="TCLayout.ActiveDocument.1">
                  <p:embed/>
                  <p:pic>
                    <p:nvPicPr>
                      <p:cNvPr id="8" name="think-cell data - do not delete" hidden="1">
                        <a:extLst>
                          <a:ext uri="{FF2B5EF4-FFF2-40B4-BE49-F238E27FC236}">
                            <a16:creationId xmlns:a16="http://schemas.microsoft.com/office/drawing/2014/main" id="{8892FBB6-BA93-E48A-E891-B0B30A4B8E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9AF41C-714A-0EFA-21BB-AF5396CA4C76}"/>
              </a:ext>
            </a:extLst>
          </p:cNvPr>
          <p:cNvSpPr>
            <a:spLocks noGrp="1"/>
          </p:cNvSpPr>
          <p:nvPr>
            <p:ph type="title"/>
          </p:nvPr>
        </p:nvSpPr>
        <p:spPr>
          <a:xfrm>
            <a:off x="831850" y="1709738"/>
            <a:ext cx="10515600" cy="2852737"/>
          </a:xfrm>
        </p:spPr>
        <p:txBody>
          <a:bodyPr vert="horz" anchor="b"/>
          <a:lstStyle>
            <a:lvl1pPr rtl="0">
              <a:defRPr sz="6000"/>
            </a:lvl1pPr>
          </a:lstStyle>
          <a:p>
            <a:r>
              <a:rPr lang="en-GB"/>
              <a:t>Click to edit Master title style</a:t>
            </a:r>
          </a:p>
        </p:txBody>
      </p:sp>
      <p:sp>
        <p:nvSpPr>
          <p:cNvPr id="3" name="Text Placeholder 2">
            <a:extLst>
              <a:ext uri="{FF2B5EF4-FFF2-40B4-BE49-F238E27FC236}">
                <a16:creationId xmlns:a16="http://schemas.microsoft.com/office/drawing/2014/main" id="{AE27D273-8BC3-9814-6CEE-FCADC34531D7}"/>
              </a:ext>
            </a:extLst>
          </p:cNvPr>
          <p:cNvSpPr>
            <a:spLocks noGrp="1"/>
          </p:cNvSpPr>
          <p:nvPr>
            <p:ph type="body" idx="1"/>
          </p:nvPr>
        </p:nvSpPr>
        <p:spPr>
          <a:xfrm>
            <a:off x="831850" y="4589463"/>
            <a:ext cx="10515600" cy="1500187"/>
          </a:xfrm>
        </p:spPr>
        <p:txBody>
          <a:bodyPr/>
          <a:lstStyle>
            <a:lvl1pPr marL="0" indent="0" rtl="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D7B910DB-82BE-25BE-A479-8C82E75076EA}"/>
              </a:ext>
            </a:extLst>
          </p:cNvPr>
          <p:cNvSpPr>
            <a:spLocks noGrp="1"/>
          </p:cNvSpPr>
          <p:nvPr>
            <p:ph type="dt" sz="half" idx="10"/>
          </p:nvPr>
        </p:nvSpPr>
        <p:spPr/>
        <p:txBody>
          <a:bodyPr/>
          <a:lstStyle>
            <a:lvl1pPr rtl="0">
              <a:defRPr/>
            </a:lvl1pPr>
          </a:lstStyle>
          <a:p>
            <a:fld id="{4AC1A3FB-BEFC-4C64-8073-4EEA380970C8}" type="datetimeFigureOut">
              <a:rPr lang="en-GB" smtClean="0"/>
              <a:pPr/>
              <a:t>27/06/2025</a:t>
            </a:fld>
            <a:endParaRPr lang="en-GB"/>
          </a:p>
        </p:txBody>
      </p:sp>
      <p:sp>
        <p:nvSpPr>
          <p:cNvPr id="5" name="Footer Placeholder 4">
            <a:extLst>
              <a:ext uri="{FF2B5EF4-FFF2-40B4-BE49-F238E27FC236}">
                <a16:creationId xmlns:a16="http://schemas.microsoft.com/office/drawing/2014/main" id="{3BBCECB4-6B5A-E17A-A78A-2C19B3919A22}"/>
              </a:ext>
            </a:extLst>
          </p:cNvPr>
          <p:cNvSpPr>
            <a:spLocks noGrp="1"/>
          </p:cNvSpPr>
          <p:nvPr>
            <p:ph type="ftr" sz="quarter" idx="11"/>
          </p:nvPr>
        </p:nvSpPr>
        <p:spPr/>
        <p:txBody>
          <a:bodyPr/>
          <a:lstStyle>
            <a:lvl1pPr rtl="0">
              <a:defRPr/>
            </a:lvl1pPr>
          </a:lstStyle>
          <a:p>
            <a:endParaRPr lang="en-GB"/>
          </a:p>
        </p:txBody>
      </p:sp>
      <p:sp>
        <p:nvSpPr>
          <p:cNvPr id="6" name="Slide Number Placeholder 5">
            <a:extLst>
              <a:ext uri="{FF2B5EF4-FFF2-40B4-BE49-F238E27FC236}">
                <a16:creationId xmlns:a16="http://schemas.microsoft.com/office/drawing/2014/main" id="{E5DD0249-7A6E-4BCB-CF41-D3AC61F9A9E5}"/>
              </a:ext>
            </a:extLst>
          </p:cNvPr>
          <p:cNvSpPr>
            <a:spLocks noGrp="1"/>
          </p:cNvSpPr>
          <p:nvPr>
            <p:ph type="sldNum" sz="quarter" idx="12"/>
          </p:nvPr>
        </p:nvSpPr>
        <p:spPr/>
        <p:txBody>
          <a:bodyPr/>
          <a:lstStyle>
            <a:lvl1pPr rtl="0">
              <a:defRPr/>
            </a:lvl1pPr>
          </a:lstStyle>
          <a:p>
            <a:fld id="{780F09D1-36FB-4C13-9940-67331369E9EB}" type="slidenum">
              <a:rPr lang="en-GB" smtClean="0"/>
              <a:pPr/>
              <a:t>‹#›</a:t>
            </a:fld>
            <a:endParaRPr lang="en-GB"/>
          </a:p>
        </p:txBody>
      </p:sp>
    </p:spTree>
    <p:extLst>
      <p:ext uri="{BB962C8B-B14F-4D97-AF65-F5344CB8AC3E}">
        <p14:creationId xmlns:p14="http://schemas.microsoft.com/office/powerpoint/2010/main" val="21860741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20B9872-7C28-8DE0-5D2F-DD1AC6992989}"/>
              </a:ext>
            </a:extLst>
          </p:cNvPr>
          <p:cNvGraphicFramePr>
            <a:graphicFrameLocks noChangeAspect="1"/>
          </p:cNvGraphicFramePr>
          <p:nvPr userDrawn="1">
            <p:custDataLst>
              <p:tags r:id="rId1"/>
            </p:custDataLst>
            <p:extLst>
              <p:ext uri="{D42A27DB-BD31-4B8C-83A1-F6EECF244321}">
                <p14:modId xmlns:p14="http://schemas.microsoft.com/office/powerpoint/2010/main" val="342024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2" imgH="511" progId="TCLayout.ActiveDocument.1">
                  <p:embed/>
                </p:oleObj>
              </mc:Choice>
              <mc:Fallback>
                <p:oleObj name="think-cell Slide" r:id="rId3" imgW="512" imgH="511" progId="TCLayout.ActiveDocument.1">
                  <p:embed/>
                  <p:pic>
                    <p:nvPicPr>
                      <p:cNvPr id="9" name="think-cell data - do not delete" hidden="1">
                        <a:extLst>
                          <a:ext uri="{FF2B5EF4-FFF2-40B4-BE49-F238E27FC236}">
                            <a16:creationId xmlns:a16="http://schemas.microsoft.com/office/drawing/2014/main" id="{D20B9872-7C28-8DE0-5D2F-DD1AC69929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47B229F-4489-43AD-7FF3-2926C961E06E}"/>
              </a:ext>
            </a:extLst>
          </p:cNvPr>
          <p:cNvSpPr>
            <a:spLocks noGrp="1"/>
          </p:cNvSpPr>
          <p:nvPr>
            <p:ph type="title"/>
          </p:nvPr>
        </p:nvSpPr>
        <p:spPr/>
        <p:txBody>
          <a:bodyPr vert="horz"/>
          <a:lstStyle>
            <a:lvl1pPr rtl="0">
              <a:defRPr/>
            </a:lvl1pPr>
          </a:lstStyle>
          <a:p>
            <a:r>
              <a:rPr lang="en-GB"/>
              <a:t>Click to edit Master title style</a:t>
            </a:r>
          </a:p>
        </p:txBody>
      </p:sp>
      <p:sp>
        <p:nvSpPr>
          <p:cNvPr id="3" name="Content Placeholder 2">
            <a:extLst>
              <a:ext uri="{FF2B5EF4-FFF2-40B4-BE49-F238E27FC236}">
                <a16:creationId xmlns:a16="http://schemas.microsoft.com/office/drawing/2014/main" id="{401D123A-C81E-E491-2888-723947C363DE}"/>
              </a:ext>
            </a:extLst>
          </p:cNvPr>
          <p:cNvSpPr>
            <a:spLocks noGrp="1"/>
          </p:cNvSpPr>
          <p:nvPr>
            <p:ph sz="half" idx="1"/>
          </p:nvPr>
        </p:nvSpPr>
        <p:spPr>
          <a:xfrm>
            <a:off x="838200" y="1825625"/>
            <a:ext cx="5181600" cy="4351338"/>
          </a:xfr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F68DC563-59E6-1D9A-2768-1E4CEE2DD202}"/>
              </a:ext>
            </a:extLst>
          </p:cNvPr>
          <p:cNvSpPr>
            <a:spLocks noGrp="1"/>
          </p:cNvSpPr>
          <p:nvPr>
            <p:ph sz="half" idx="2"/>
          </p:nvPr>
        </p:nvSpPr>
        <p:spPr>
          <a:xfrm>
            <a:off x="6172200" y="1825625"/>
            <a:ext cx="5181600" cy="4351338"/>
          </a:xfr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B05DF0F1-EEEE-C39D-7C9F-E7235CE2D1CE}"/>
              </a:ext>
            </a:extLst>
          </p:cNvPr>
          <p:cNvSpPr>
            <a:spLocks noGrp="1"/>
          </p:cNvSpPr>
          <p:nvPr>
            <p:ph type="dt" sz="half" idx="10"/>
          </p:nvPr>
        </p:nvSpPr>
        <p:spPr/>
        <p:txBody>
          <a:bodyPr/>
          <a:lstStyle>
            <a:lvl1pPr rtl="0">
              <a:defRPr/>
            </a:lvl1pPr>
          </a:lstStyle>
          <a:p>
            <a:fld id="{4AC1A3FB-BEFC-4C64-8073-4EEA380970C8}" type="datetimeFigureOut">
              <a:rPr lang="en-GB" smtClean="0"/>
              <a:pPr/>
              <a:t>27/06/2025</a:t>
            </a:fld>
            <a:endParaRPr lang="en-GB"/>
          </a:p>
        </p:txBody>
      </p:sp>
      <p:sp>
        <p:nvSpPr>
          <p:cNvPr id="6" name="Footer Placeholder 5">
            <a:extLst>
              <a:ext uri="{FF2B5EF4-FFF2-40B4-BE49-F238E27FC236}">
                <a16:creationId xmlns:a16="http://schemas.microsoft.com/office/drawing/2014/main" id="{6BE57CD6-3ED0-871A-0DBD-F4C67076B964}"/>
              </a:ext>
            </a:extLst>
          </p:cNvPr>
          <p:cNvSpPr>
            <a:spLocks noGrp="1"/>
          </p:cNvSpPr>
          <p:nvPr>
            <p:ph type="ftr" sz="quarter" idx="11"/>
          </p:nvPr>
        </p:nvSpPr>
        <p:spPr/>
        <p:txBody>
          <a:bodyPr/>
          <a:lstStyle>
            <a:lvl1pPr rtl="0">
              <a:defRPr/>
            </a:lvl1pPr>
          </a:lstStyle>
          <a:p>
            <a:endParaRPr lang="en-GB"/>
          </a:p>
        </p:txBody>
      </p:sp>
      <p:sp>
        <p:nvSpPr>
          <p:cNvPr id="7" name="Slide Number Placeholder 6">
            <a:extLst>
              <a:ext uri="{FF2B5EF4-FFF2-40B4-BE49-F238E27FC236}">
                <a16:creationId xmlns:a16="http://schemas.microsoft.com/office/drawing/2014/main" id="{BB8FD6BB-484C-A580-BF52-7B6440B39541}"/>
              </a:ext>
            </a:extLst>
          </p:cNvPr>
          <p:cNvSpPr>
            <a:spLocks noGrp="1"/>
          </p:cNvSpPr>
          <p:nvPr>
            <p:ph type="sldNum" sz="quarter" idx="12"/>
          </p:nvPr>
        </p:nvSpPr>
        <p:spPr/>
        <p:txBody>
          <a:bodyPr/>
          <a:lstStyle>
            <a:lvl1pPr rtl="0">
              <a:defRPr/>
            </a:lvl1pPr>
          </a:lstStyle>
          <a:p>
            <a:fld id="{780F09D1-36FB-4C13-9940-67331369E9EB}" type="slidenum">
              <a:rPr lang="en-GB" smtClean="0"/>
              <a:pPr/>
              <a:t>‹#›</a:t>
            </a:fld>
            <a:endParaRPr lang="en-GB"/>
          </a:p>
        </p:txBody>
      </p:sp>
    </p:spTree>
    <p:extLst>
      <p:ext uri="{BB962C8B-B14F-4D97-AF65-F5344CB8AC3E}">
        <p14:creationId xmlns:p14="http://schemas.microsoft.com/office/powerpoint/2010/main" val="40803439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163B1B1-5F54-2480-3AA5-09BC484E2E31}"/>
              </a:ext>
            </a:extLst>
          </p:cNvPr>
          <p:cNvGraphicFramePr>
            <a:graphicFrameLocks noChangeAspect="1"/>
          </p:cNvGraphicFramePr>
          <p:nvPr userDrawn="1">
            <p:custDataLst>
              <p:tags r:id="rId1"/>
            </p:custDataLst>
            <p:extLst>
              <p:ext uri="{D42A27DB-BD31-4B8C-83A1-F6EECF244321}">
                <p14:modId xmlns:p14="http://schemas.microsoft.com/office/powerpoint/2010/main" val="2420494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2" imgH="511" progId="TCLayout.ActiveDocument.1">
                  <p:embed/>
                </p:oleObj>
              </mc:Choice>
              <mc:Fallback>
                <p:oleObj name="think-cell Slide" r:id="rId3" imgW="512" imgH="511" progId="TCLayout.ActiveDocument.1">
                  <p:embed/>
                  <p:pic>
                    <p:nvPicPr>
                      <p:cNvPr id="11" name="think-cell data - do not delete" hidden="1">
                        <a:extLst>
                          <a:ext uri="{FF2B5EF4-FFF2-40B4-BE49-F238E27FC236}">
                            <a16:creationId xmlns:a16="http://schemas.microsoft.com/office/drawing/2014/main" id="{D163B1B1-5F54-2480-3AA5-09BC484E2E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DFCF9A-F688-4810-5575-FEA50CCC69A1}"/>
              </a:ext>
            </a:extLst>
          </p:cNvPr>
          <p:cNvSpPr>
            <a:spLocks noGrp="1"/>
          </p:cNvSpPr>
          <p:nvPr>
            <p:ph type="title"/>
          </p:nvPr>
        </p:nvSpPr>
        <p:spPr>
          <a:xfrm>
            <a:off x="839788" y="365125"/>
            <a:ext cx="10515600" cy="1325563"/>
          </a:xfrm>
        </p:spPr>
        <p:txBody>
          <a:bodyPr vert="horz"/>
          <a:lstStyle>
            <a:lvl1pPr rtl="0">
              <a:defRPr/>
            </a:lvl1pPr>
          </a:lstStyle>
          <a:p>
            <a:r>
              <a:rPr lang="en-GB"/>
              <a:t>Click to edit Master title style</a:t>
            </a:r>
          </a:p>
        </p:txBody>
      </p:sp>
      <p:sp>
        <p:nvSpPr>
          <p:cNvPr id="3" name="Text Placeholder 2">
            <a:extLst>
              <a:ext uri="{FF2B5EF4-FFF2-40B4-BE49-F238E27FC236}">
                <a16:creationId xmlns:a16="http://schemas.microsoft.com/office/drawing/2014/main" id="{D080867B-381B-0CA1-5BE3-20DB27F9790F}"/>
              </a:ext>
            </a:extLst>
          </p:cNvPr>
          <p:cNvSpPr>
            <a:spLocks noGrp="1"/>
          </p:cNvSpPr>
          <p:nvPr>
            <p:ph type="body" idx="1"/>
          </p:nvPr>
        </p:nvSpPr>
        <p:spPr>
          <a:xfrm>
            <a:off x="839788" y="1681163"/>
            <a:ext cx="5157787"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1BC9348F-926F-6E0D-7740-8B19C11DE409}"/>
              </a:ext>
            </a:extLst>
          </p:cNvPr>
          <p:cNvSpPr>
            <a:spLocks noGrp="1"/>
          </p:cNvSpPr>
          <p:nvPr>
            <p:ph sz="half" idx="2"/>
          </p:nvPr>
        </p:nvSpPr>
        <p:spPr>
          <a:xfrm>
            <a:off x="839788" y="2505075"/>
            <a:ext cx="5157787" cy="3684588"/>
          </a:xfr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F978CC2B-32DE-769B-6BF9-1F46FD80463F}"/>
              </a:ext>
            </a:extLst>
          </p:cNvPr>
          <p:cNvSpPr>
            <a:spLocks noGrp="1"/>
          </p:cNvSpPr>
          <p:nvPr>
            <p:ph type="body" sz="quarter" idx="3"/>
          </p:nvPr>
        </p:nvSpPr>
        <p:spPr>
          <a:xfrm>
            <a:off x="6172200" y="1681163"/>
            <a:ext cx="5183188"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614998D4-BE9E-D84F-27ED-BAD05836E97B}"/>
              </a:ext>
            </a:extLst>
          </p:cNvPr>
          <p:cNvSpPr>
            <a:spLocks noGrp="1"/>
          </p:cNvSpPr>
          <p:nvPr>
            <p:ph sz="quarter" idx="4"/>
          </p:nvPr>
        </p:nvSpPr>
        <p:spPr>
          <a:xfrm>
            <a:off x="6172200" y="2505075"/>
            <a:ext cx="5183188" cy="3684588"/>
          </a:xfr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857DC6F4-8BB3-3910-2B48-660B670AFCAD}"/>
              </a:ext>
            </a:extLst>
          </p:cNvPr>
          <p:cNvSpPr>
            <a:spLocks noGrp="1"/>
          </p:cNvSpPr>
          <p:nvPr>
            <p:ph type="dt" sz="half" idx="10"/>
          </p:nvPr>
        </p:nvSpPr>
        <p:spPr/>
        <p:txBody>
          <a:bodyPr/>
          <a:lstStyle>
            <a:lvl1pPr rtl="0">
              <a:defRPr/>
            </a:lvl1pPr>
          </a:lstStyle>
          <a:p>
            <a:fld id="{4AC1A3FB-BEFC-4C64-8073-4EEA380970C8}" type="datetimeFigureOut">
              <a:rPr lang="en-GB" smtClean="0"/>
              <a:pPr/>
              <a:t>27/06/2025</a:t>
            </a:fld>
            <a:endParaRPr lang="en-GB"/>
          </a:p>
        </p:txBody>
      </p:sp>
      <p:sp>
        <p:nvSpPr>
          <p:cNvPr id="8" name="Footer Placeholder 7">
            <a:extLst>
              <a:ext uri="{FF2B5EF4-FFF2-40B4-BE49-F238E27FC236}">
                <a16:creationId xmlns:a16="http://schemas.microsoft.com/office/drawing/2014/main" id="{81BC6D97-0D00-ED14-5CD0-B2F263161465}"/>
              </a:ext>
            </a:extLst>
          </p:cNvPr>
          <p:cNvSpPr>
            <a:spLocks noGrp="1"/>
          </p:cNvSpPr>
          <p:nvPr>
            <p:ph type="ftr" sz="quarter" idx="11"/>
          </p:nvPr>
        </p:nvSpPr>
        <p:spPr/>
        <p:txBody>
          <a:bodyPr/>
          <a:lstStyle>
            <a:lvl1pPr rtl="0">
              <a:defRPr/>
            </a:lvl1pPr>
          </a:lstStyle>
          <a:p>
            <a:endParaRPr lang="en-GB"/>
          </a:p>
        </p:txBody>
      </p:sp>
      <p:sp>
        <p:nvSpPr>
          <p:cNvPr id="9" name="Slide Number Placeholder 8">
            <a:extLst>
              <a:ext uri="{FF2B5EF4-FFF2-40B4-BE49-F238E27FC236}">
                <a16:creationId xmlns:a16="http://schemas.microsoft.com/office/drawing/2014/main" id="{6346A510-1829-02A4-B864-6BEA192B74BA}"/>
              </a:ext>
            </a:extLst>
          </p:cNvPr>
          <p:cNvSpPr>
            <a:spLocks noGrp="1"/>
          </p:cNvSpPr>
          <p:nvPr>
            <p:ph type="sldNum" sz="quarter" idx="12"/>
          </p:nvPr>
        </p:nvSpPr>
        <p:spPr/>
        <p:txBody>
          <a:bodyPr/>
          <a:lstStyle>
            <a:lvl1pPr rtl="0">
              <a:defRPr/>
            </a:lvl1pPr>
          </a:lstStyle>
          <a:p>
            <a:fld id="{780F09D1-36FB-4C13-9940-67331369E9EB}" type="slidenum">
              <a:rPr lang="en-GB" smtClean="0"/>
              <a:pPr/>
              <a:t>‹#›</a:t>
            </a:fld>
            <a:endParaRPr lang="en-GB"/>
          </a:p>
        </p:txBody>
      </p:sp>
    </p:spTree>
    <p:extLst>
      <p:ext uri="{BB962C8B-B14F-4D97-AF65-F5344CB8AC3E}">
        <p14:creationId xmlns:p14="http://schemas.microsoft.com/office/powerpoint/2010/main" val="36799050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702A65-1F71-8026-5E52-80A06CF7B24D}"/>
              </a:ext>
            </a:extLst>
          </p:cNvPr>
          <p:cNvGraphicFramePr>
            <a:graphicFrameLocks noChangeAspect="1"/>
          </p:cNvGraphicFramePr>
          <p:nvPr userDrawn="1">
            <p:custDataLst>
              <p:tags r:id="rId1"/>
            </p:custDataLst>
            <p:extLst>
              <p:ext uri="{D42A27DB-BD31-4B8C-83A1-F6EECF244321}">
                <p14:modId xmlns:p14="http://schemas.microsoft.com/office/powerpoint/2010/main" val="1646840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2" imgH="511" progId="TCLayout.ActiveDocument.1">
                  <p:embed/>
                </p:oleObj>
              </mc:Choice>
              <mc:Fallback>
                <p:oleObj name="think-cell Slide" r:id="rId3" imgW="512" imgH="511" progId="TCLayout.ActiveDocument.1">
                  <p:embed/>
                  <p:pic>
                    <p:nvPicPr>
                      <p:cNvPr id="7" name="think-cell data - do not delete" hidden="1">
                        <a:extLst>
                          <a:ext uri="{FF2B5EF4-FFF2-40B4-BE49-F238E27FC236}">
                            <a16:creationId xmlns:a16="http://schemas.microsoft.com/office/drawing/2014/main" id="{40702A65-1F71-8026-5E52-80A06CF7B2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DEDE09-5EA7-9D35-22D6-94C76EB233D2}"/>
              </a:ext>
            </a:extLst>
          </p:cNvPr>
          <p:cNvSpPr>
            <a:spLocks noGrp="1"/>
          </p:cNvSpPr>
          <p:nvPr>
            <p:ph type="title"/>
          </p:nvPr>
        </p:nvSpPr>
        <p:spPr/>
        <p:txBody>
          <a:bodyPr vert="horz"/>
          <a:lstStyle>
            <a:lvl1pPr rtl="0">
              <a:defRPr/>
            </a:lvl1pPr>
          </a:lstStyle>
          <a:p>
            <a:r>
              <a:rPr lang="en-GB"/>
              <a:t>Click to edit Master title style</a:t>
            </a:r>
          </a:p>
        </p:txBody>
      </p:sp>
      <p:sp>
        <p:nvSpPr>
          <p:cNvPr id="3" name="Date Placeholder 2">
            <a:extLst>
              <a:ext uri="{FF2B5EF4-FFF2-40B4-BE49-F238E27FC236}">
                <a16:creationId xmlns:a16="http://schemas.microsoft.com/office/drawing/2014/main" id="{2B3689C9-FCD2-EF7B-1A32-5C241210087D}"/>
              </a:ext>
            </a:extLst>
          </p:cNvPr>
          <p:cNvSpPr>
            <a:spLocks noGrp="1"/>
          </p:cNvSpPr>
          <p:nvPr>
            <p:ph type="dt" sz="half" idx="10"/>
          </p:nvPr>
        </p:nvSpPr>
        <p:spPr/>
        <p:txBody>
          <a:bodyPr/>
          <a:lstStyle>
            <a:lvl1pPr rtl="0">
              <a:defRPr/>
            </a:lvl1pPr>
          </a:lstStyle>
          <a:p>
            <a:fld id="{4AC1A3FB-BEFC-4C64-8073-4EEA380970C8}" type="datetimeFigureOut">
              <a:rPr lang="en-GB" smtClean="0"/>
              <a:pPr/>
              <a:t>27/06/2025</a:t>
            </a:fld>
            <a:endParaRPr lang="en-GB"/>
          </a:p>
        </p:txBody>
      </p:sp>
      <p:sp>
        <p:nvSpPr>
          <p:cNvPr id="4" name="Footer Placeholder 3">
            <a:extLst>
              <a:ext uri="{FF2B5EF4-FFF2-40B4-BE49-F238E27FC236}">
                <a16:creationId xmlns:a16="http://schemas.microsoft.com/office/drawing/2014/main" id="{E2E20DD5-861D-BC5D-4A3A-D579067F0F8F}"/>
              </a:ext>
            </a:extLst>
          </p:cNvPr>
          <p:cNvSpPr>
            <a:spLocks noGrp="1"/>
          </p:cNvSpPr>
          <p:nvPr>
            <p:ph type="ftr" sz="quarter" idx="11"/>
          </p:nvPr>
        </p:nvSpPr>
        <p:spPr/>
        <p:txBody>
          <a:bodyPr/>
          <a:lstStyle>
            <a:lvl1pPr rtl="0">
              <a:defRPr/>
            </a:lvl1pPr>
          </a:lstStyle>
          <a:p>
            <a:endParaRPr lang="en-GB"/>
          </a:p>
        </p:txBody>
      </p:sp>
      <p:sp>
        <p:nvSpPr>
          <p:cNvPr id="5" name="Slide Number Placeholder 4">
            <a:extLst>
              <a:ext uri="{FF2B5EF4-FFF2-40B4-BE49-F238E27FC236}">
                <a16:creationId xmlns:a16="http://schemas.microsoft.com/office/drawing/2014/main" id="{8BA80130-827A-FB0E-25DA-FFF79A0564E2}"/>
              </a:ext>
            </a:extLst>
          </p:cNvPr>
          <p:cNvSpPr>
            <a:spLocks noGrp="1"/>
          </p:cNvSpPr>
          <p:nvPr>
            <p:ph type="sldNum" sz="quarter" idx="12"/>
          </p:nvPr>
        </p:nvSpPr>
        <p:spPr/>
        <p:txBody>
          <a:bodyPr/>
          <a:lstStyle>
            <a:lvl1pPr rtl="0">
              <a:defRPr/>
            </a:lvl1pPr>
          </a:lstStyle>
          <a:p>
            <a:fld id="{780F09D1-36FB-4C13-9940-67331369E9EB}" type="slidenum">
              <a:rPr lang="en-GB" smtClean="0"/>
              <a:pPr/>
              <a:t>‹#›</a:t>
            </a:fld>
            <a:endParaRPr lang="en-GB"/>
          </a:p>
        </p:txBody>
      </p:sp>
    </p:spTree>
    <p:extLst>
      <p:ext uri="{BB962C8B-B14F-4D97-AF65-F5344CB8AC3E}">
        <p14:creationId xmlns:p14="http://schemas.microsoft.com/office/powerpoint/2010/main" val="31831882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A817C83-4261-5EE9-BA50-774A71F5F818}"/>
              </a:ext>
            </a:extLst>
          </p:cNvPr>
          <p:cNvGraphicFramePr>
            <a:graphicFrameLocks noChangeAspect="1"/>
          </p:cNvGraphicFramePr>
          <p:nvPr userDrawn="1">
            <p:custDataLst>
              <p:tags r:id="rId1"/>
            </p:custDataLst>
            <p:extLst>
              <p:ext uri="{D42A27DB-BD31-4B8C-83A1-F6EECF244321}">
                <p14:modId xmlns:p14="http://schemas.microsoft.com/office/powerpoint/2010/main" val="462765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2" imgH="511" progId="TCLayout.ActiveDocument.1">
                  <p:embed/>
                </p:oleObj>
              </mc:Choice>
              <mc:Fallback>
                <p:oleObj name="think-cell Slide" r:id="rId3" imgW="512" imgH="511" progId="TCLayout.ActiveDocument.1">
                  <p:embed/>
                  <p:pic>
                    <p:nvPicPr>
                      <p:cNvPr id="5" name="think-cell data - do not delete" hidden="1">
                        <a:extLst>
                          <a:ext uri="{FF2B5EF4-FFF2-40B4-BE49-F238E27FC236}">
                            <a16:creationId xmlns:a16="http://schemas.microsoft.com/office/drawing/2014/main" id="{2A817C83-4261-5EE9-BA50-774A71F5F8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65E48026-C3E7-73B7-0726-84ACB0AA432E}"/>
              </a:ext>
            </a:extLst>
          </p:cNvPr>
          <p:cNvSpPr>
            <a:spLocks noGrp="1"/>
          </p:cNvSpPr>
          <p:nvPr>
            <p:ph type="dt" sz="half" idx="10"/>
          </p:nvPr>
        </p:nvSpPr>
        <p:spPr/>
        <p:txBody>
          <a:bodyPr/>
          <a:lstStyle>
            <a:lvl1pPr rtl="0">
              <a:defRPr/>
            </a:lvl1pPr>
          </a:lstStyle>
          <a:p>
            <a:fld id="{4AC1A3FB-BEFC-4C64-8073-4EEA380970C8}" type="datetimeFigureOut">
              <a:rPr lang="en-GB" smtClean="0"/>
              <a:pPr/>
              <a:t>27/06/2025</a:t>
            </a:fld>
            <a:endParaRPr lang="en-GB"/>
          </a:p>
        </p:txBody>
      </p:sp>
      <p:sp>
        <p:nvSpPr>
          <p:cNvPr id="3" name="Footer Placeholder 2">
            <a:extLst>
              <a:ext uri="{FF2B5EF4-FFF2-40B4-BE49-F238E27FC236}">
                <a16:creationId xmlns:a16="http://schemas.microsoft.com/office/drawing/2014/main" id="{8AE68746-518B-0A8C-30FE-3A52218B1684}"/>
              </a:ext>
            </a:extLst>
          </p:cNvPr>
          <p:cNvSpPr>
            <a:spLocks noGrp="1"/>
          </p:cNvSpPr>
          <p:nvPr>
            <p:ph type="ftr" sz="quarter" idx="11"/>
          </p:nvPr>
        </p:nvSpPr>
        <p:spPr/>
        <p:txBody>
          <a:bodyPr/>
          <a:lstStyle>
            <a:lvl1pPr rtl="0">
              <a:defRPr/>
            </a:lvl1pPr>
          </a:lstStyle>
          <a:p>
            <a:endParaRPr lang="en-GB"/>
          </a:p>
        </p:txBody>
      </p:sp>
      <p:sp>
        <p:nvSpPr>
          <p:cNvPr id="4" name="Slide Number Placeholder 3">
            <a:extLst>
              <a:ext uri="{FF2B5EF4-FFF2-40B4-BE49-F238E27FC236}">
                <a16:creationId xmlns:a16="http://schemas.microsoft.com/office/drawing/2014/main" id="{9DA504FB-072D-F6A7-D17D-2B5B8D677F94}"/>
              </a:ext>
            </a:extLst>
          </p:cNvPr>
          <p:cNvSpPr>
            <a:spLocks noGrp="1"/>
          </p:cNvSpPr>
          <p:nvPr>
            <p:ph type="sldNum" sz="quarter" idx="12"/>
          </p:nvPr>
        </p:nvSpPr>
        <p:spPr/>
        <p:txBody>
          <a:bodyPr/>
          <a:lstStyle>
            <a:lvl1pPr rtl="0">
              <a:defRPr/>
            </a:lvl1pPr>
          </a:lstStyle>
          <a:p>
            <a:fld id="{780F09D1-36FB-4C13-9940-67331369E9EB}" type="slidenum">
              <a:rPr lang="en-GB" smtClean="0"/>
              <a:pPr/>
              <a:t>‹#›</a:t>
            </a:fld>
            <a:endParaRPr lang="en-GB"/>
          </a:p>
        </p:txBody>
      </p:sp>
    </p:spTree>
    <p:extLst>
      <p:ext uri="{BB962C8B-B14F-4D97-AF65-F5344CB8AC3E}">
        <p14:creationId xmlns:p14="http://schemas.microsoft.com/office/powerpoint/2010/main" val="2178437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FBE11DA-8CA6-A2C9-532B-D58E26FD1A9A}"/>
              </a:ext>
            </a:extLst>
          </p:cNvPr>
          <p:cNvGraphicFramePr>
            <a:graphicFrameLocks noChangeAspect="1"/>
          </p:cNvGraphicFramePr>
          <p:nvPr userDrawn="1">
            <p:custDataLst>
              <p:tags r:id="rId1"/>
            </p:custDataLst>
            <p:extLst>
              <p:ext uri="{D42A27DB-BD31-4B8C-83A1-F6EECF244321}">
                <p14:modId xmlns:p14="http://schemas.microsoft.com/office/powerpoint/2010/main" val="3771370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2" imgH="511" progId="TCLayout.ActiveDocument.1">
                  <p:embed/>
                </p:oleObj>
              </mc:Choice>
              <mc:Fallback>
                <p:oleObj name="think-cell Slide" r:id="rId3" imgW="512" imgH="511" progId="TCLayout.ActiveDocument.1">
                  <p:embed/>
                  <p:pic>
                    <p:nvPicPr>
                      <p:cNvPr id="9" name="think-cell data - do not delete" hidden="1">
                        <a:extLst>
                          <a:ext uri="{FF2B5EF4-FFF2-40B4-BE49-F238E27FC236}">
                            <a16:creationId xmlns:a16="http://schemas.microsoft.com/office/drawing/2014/main" id="{4FBE11DA-8CA6-A2C9-532B-D58E26FD1A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B47DD5-819F-5B05-7036-0957BEBD0A66}"/>
              </a:ext>
            </a:extLst>
          </p:cNvPr>
          <p:cNvSpPr>
            <a:spLocks noGrp="1"/>
          </p:cNvSpPr>
          <p:nvPr>
            <p:ph type="title"/>
          </p:nvPr>
        </p:nvSpPr>
        <p:spPr>
          <a:xfrm>
            <a:off x="839788" y="457200"/>
            <a:ext cx="3932237" cy="1600200"/>
          </a:xfrm>
        </p:spPr>
        <p:txBody>
          <a:bodyPr vert="horz" anchor="b"/>
          <a:lstStyle>
            <a:lvl1pPr rtl="0">
              <a:defRPr sz="3200"/>
            </a:lvl1pPr>
          </a:lstStyle>
          <a:p>
            <a:r>
              <a:rPr lang="en-GB"/>
              <a:t>Click to edit Master title style</a:t>
            </a:r>
          </a:p>
        </p:txBody>
      </p:sp>
      <p:sp>
        <p:nvSpPr>
          <p:cNvPr id="3" name="Content Placeholder 2">
            <a:extLst>
              <a:ext uri="{FF2B5EF4-FFF2-40B4-BE49-F238E27FC236}">
                <a16:creationId xmlns:a16="http://schemas.microsoft.com/office/drawing/2014/main" id="{F0DDA3EA-DA5A-233C-DA7C-10D234AE27C5}"/>
              </a:ext>
            </a:extLst>
          </p:cNvPr>
          <p:cNvSpPr>
            <a:spLocks noGrp="1"/>
          </p:cNvSpPr>
          <p:nvPr>
            <p:ph idx="1"/>
          </p:nvPr>
        </p:nvSpPr>
        <p:spPr>
          <a:xfrm>
            <a:off x="5183188" y="987425"/>
            <a:ext cx="6172200" cy="4873625"/>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AAA00261-1333-391E-3B48-991236F2CBB9}"/>
              </a:ext>
            </a:extLst>
          </p:cNvPr>
          <p:cNvSpPr>
            <a:spLocks noGrp="1"/>
          </p:cNvSpPr>
          <p:nvPr>
            <p:ph type="body" sz="half" idx="2"/>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EC0DF5DD-7294-8932-3BD3-7084FB0B0931}"/>
              </a:ext>
            </a:extLst>
          </p:cNvPr>
          <p:cNvSpPr>
            <a:spLocks noGrp="1"/>
          </p:cNvSpPr>
          <p:nvPr>
            <p:ph type="dt" sz="half" idx="10"/>
          </p:nvPr>
        </p:nvSpPr>
        <p:spPr/>
        <p:txBody>
          <a:bodyPr/>
          <a:lstStyle>
            <a:lvl1pPr rtl="0">
              <a:defRPr/>
            </a:lvl1pPr>
          </a:lstStyle>
          <a:p>
            <a:fld id="{4AC1A3FB-BEFC-4C64-8073-4EEA380970C8}" type="datetimeFigureOut">
              <a:rPr lang="en-GB" smtClean="0"/>
              <a:pPr/>
              <a:t>27/06/2025</a:t>
            </a:fld>
            <a:endParaRPr lang="en-GB"/>
          </a:p>
        </p:txBody>
      </p:sp>
      <p:sp>
        <p:nvSpPr>
          <p:cNvPr id="6" name="Footer Placeholder 5">
            <a:extLst>
              <a:ext uri="{FF2B5EF4-FFF2-40B4-BE49-F238E27FC236}">
                <a16:creationId xmlns:a16="http://schemas.microsoft.com/office/drawing/2014/main" id="{3263E19F-3B5A-FC03-E586-CE49E3CA2F9A}"/>
              </a:ext>
            </a:extLst>
          </p:cNvPr>
          <p:cNvSpPr>
            <a:spLocks noGrp="1"/>
          </p:cNvSpPr>
          <p:nvPr>
            <p:ph type="ftr" sz="quarter" idx="11"/>
          </p:nvPr>
        </p:nvSpPr>
        <p:spPr/>
        <p:txBody>
          <a:bodyPr/>
          <a:lstStyle>
            <a:lvl1pPr rtl="0">
              <a:defRPr/>
            </a:lvl1pPr>
          </a:lstStyle>
          <a:p>
            <a:endParaRPr lang="en-GB"/>
          </a:p>
        </p:txBody>
      </p:sp>
      <p:sp>
        <p:nvSpPr>
          <p:cNvPr id="7" name="Slide Number Placeholder 6">
            <a:extLst>
              <a:ext uri="{FF2B5EF4-FFF2-40B4-BE49-F238E27FC236}">
                <a16:creationId xmlns:a16="http://schemas.microsoft.com/office/drawing/2014/main" id="{22EFEDE0-EFCA-D2F2-624E-AB2AE9543265}"/>
              </a:ext>
            </a:extLst>
          </p:cNvPr>
          <p:cNvSpPr>
            <a:spLocks noGrp="1"/>
          </p:cNvSpPr>
          <p:nvPr>
            <p:ph type="sldNum" sz="quarter" idx="12"/>
          </p:nvPr>
        </p:nvSpPr>
        <p:spPr/>
        <p:txBody>
          <a:bodyPr/>
          <a:lstStyle>
            <a:lvl1pPr rtl="0">
              <a:defRPr/>
            </a:lvl1pPr>
          </a:lstStyle>
          <a:p>
            <a:fld id="{780F09D1-36FB-4C13-9940-67331369E9EB}" type="slidenum">
              <a:rPr lang="en-GB" smtClean="0"/>
              <a:pPr/>
              <a:t>‹#›</a:t>
            </a:fld>
            <a:endParaRPr lang="en-GB"/>
          </a:p>
        </p:txBody>
      </p:sp>
    </p:spTree>
    <p:extLst>
      <p:ext uri="{BB962C8B-B14F-4D97-AF65-F5344CB8AC3E}">
        <p14:creationId xmlns:p14="http://schemas.microsoft.com/office/powerpoint/2010/main" val="36145462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39A3FE0-4698-AD1B-772F-821F598CBC61}"/>
              </a:ext>
            </a:extLst>
          </p:cNvPr>
          <p:cNvGraphicFramePr>
            <a:graphicFrameLocks noChangeAspect="1"/>
          </p:cNvGraphicFramePr>
          <p:nvPr userDrawn="1">
            <p:custDataLst>
              <p:tags r:id="rId1"/>
            </p:custDataLst>
            <p:extLst>
              <p:ext uri="{D42A27DB-BD31-4B8C-83A1-F6EECF244321}">
                <p14:modId xmlns:p14="http://schemas.microsoft.com/office/powerpoint/2010/main" val="3634372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2" imgH="511" progId="TCLayout.ActiveDocument.1">
                  <p:embed/>
                </p:oleObj>
              </mc:Choice>
              <mc:Fallback>
                <p:oleObj name="think-cell Slide" r:id="rId3" imgW="512" imgH="511" progId="TCLayout.ActiveDocument.1">
                  <p:embed/>
                  <p:pic>
                    <p:nvPicPr>
                      <p:cNvPr id="9" name="think-cell data - do not delete" hidden="1">
                        <a:extLst>
                          <a:ext uri="{FF2B5EF4-FFF2-40B4-BE49-F238E27FC236}">
                            <a16:creationId xmlns:a16="http://schemas.microsoft.com/office/drawing/2014/main" id="{039A3FE0-4698-AD1B-772F-821F598CB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C1EA3D-987F-CBAA-15F5-4E4213B6B95A}"/>
              </a:ext>
            </a:extLst>
          </p:cNvPr>
          <p:cNvSpPr>
            <a:spLocks noGrp="1"/>
          </p:cNvSpPr>
          <p:nvPr>
            <p:ph type="title"/>
          </p:nvPr>
        </p:nvSpPr>
        <p:spPr>
          <a:xfrm>
            <a:off x="839788" y="457200"/>
            <a:ext cx="3932237" cy="1600200"/>
          </a:xfrm>
        </p:spPr>
        <p:txBody>
          <a:bodyPr vert="horz" anchor="b"/>
          <a:lstStyle>
            <a:lvl1pPr rtl="0">
              <a:defRPr sz="3200"/>
            </a:lvl1pPr>
          </a:lstStyle>
          <a:p>
            <a:r>
              <a:rPr lang="en-GB"/>
              <a:t>Click to edit Master title style</a:t>
            </a:r>
          </a:p>
        </p:txBody>
      </p:sp>
      <p:sp>
        <p:nvSpPr>
          <p:cNvPr id="3" name="Picture Placeholder 2">
            <a:extLst>
              <a:ext uri="{FF2B5EF4-FFF2-40B4-BE49-F238E27FC236}">
                <a16:creationId xmlns:a16="http://schemas.microsoft.com/office/drawing/2014/main" id="{5F5C0AE2-3783-1678-DACA-BAC65961CCE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034C3DE9-45B7-CB8B-15F0-DCB77CE41E06}"/>
              </a:ext>
            </a:extLst>
          </p:cNvPr>
          <p:cNvSpPr>
            <a:spLocks noGrp="1"/>
          </p:cNvSpPr>
          <p:nvPr>
            <p:ph type="body" sz="half" idx="2"/>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0C05A8D0-B76A-96D9-D519-712562B27885}"/>
              </a:ext>
            </a:extLst>
          </p:cNvPr>
          <p:cNvSpPr>
            <a:spLocks noGrp="1"/>
          </p:cNvSpPr>
          <p:nvPr>
            <p:ph type="dt" sz="half" idx="10"/>
          </p:nvPr>
        </p:nvSpPr>
        <p:spPr/>
        <p:txBody>
          <a:bodyPr/>
          <a:lstStyle>
            <a:lvl1pPr rtl="0">
              <a:defRPr/>
            </a:lvl1pPr>
          </a:lstStyle>
          <a:p>
            <a:fld id="{4AC1A3FB-BEFC-4C64-8073-4EEA380970C8}" type="datetimeFigureOut">
              <a:rPr lang="en-GB" smtClean="0"/>
              <a:pPr/>
              <a:t>27/06/2025</a:t>
            </a:fld>
            <a:endParaRPr lang="en-GB"/>
          </a:p>
        </p:txBody>
      </p:sp>
      <p:sp>
        <p:nvSpPr>
          <p:cNvPr id="6" name="Footer Placeholder 5">
            <a:extLst>
              <a:ext uri="{FF2B5EF4-FFF2-40B4-BE49-F238E27FC236}">
                <a16:creationId xmlns:a16="http://schemas.microsoft.com/office/drawing/2014/main" id="{1D75375B-7F6F-64FA-80AF-EA2F4EC1EAD3}"/>
              </a:ext>
            </a:extLst>
          </p:cNvPr>
          <p:cNvSpPr>
            <a:spLocks noGrp="1"/>
          </p:cNvSpPr>
          <p:nvPr>
            <p:ph type="ftr" sz="quarter" idx="11"/>
          </p:nvPr>
        </p:nvSpPr>
        <p:spPr/>
        <p:txBody>
          <a:bodyPr/>
          <a:lstStyle>
            <a:lvl1pPr rtl="0">
              <a:defRPr/>
            </a:lvl1pPr>
          </a:lstStyle>
          <a:p>
            <a:endParaRPr lang="en-GB"/>
          </a:p>
        </p:txBody>
      </p:sp>
      <p:sp>
        <p:nvSpPr>
          <p:cNvPr id="7" name="Slide Number Placeholder 6">
            <a:extLst>
              <a:ext uri="{FF2B5EF4-FFF2-40B4-BE49-F238E27FC236}">
                <a16:creationId xmlns:a16="http://schemas.microsoft.com/office/drawing/2014/main" id="{50C844A4-DA06-B4B4-34C0-D66D9BE6E054}"/>
              </a:ext>
            </a:extLst>
          </p:cNvPr>
          <p:cNvSpPr>
            <a:spLocks noGrp="1"/>
          </p:cNvSpPr>
          <p:nvPr>
            <p:ph type="sldNum" sz="quarter" idx="12"/>
          </p:nvPr>
        </p:nvSpPr>
        <p:spPr/>
        <p:txBody>
          <a:bodyPr/>
          <a:lstStyle>
            <a:lvl1pPr rtl="0">
              <a:defRPr/>
            </a:lvl1pPr>
          </a:lstStyle>
          <a:p>
            <a:fld id="{780F09D1-36FB-4C13-9940-67331369E9EB}" type="slidenum">
              <a:rPr lang="en-GB" smtClean="0"/>
              <a:pPr/>
              <a:t>‹#›</a:t>
            </a:fld>
            <a:endParaRPr lang="en-GB"/>
          </a:p>
        </p:txBody>
      </p:sp>
    </p:spTree>
    <p:extLst>
      <p:ext uri="{BB962C8B-B14F-4D97-AF65-F5344CB8AC3E}">
        <p14:creationId xmlns:p14="http://schemas.microsoft.com/office/powerpoint/2010/main" val="3978811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1F1F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7C2093-6310-4EF9-9A7F-6BCFC2037EB8}"/>
              </a:ext>
            </a:extLst>
          </p:cNvPr>
          <p:cNvGraphicFramePr>
            <a:graphicFrameLocks noChangeAspect="1"/>
          </p:cNvGraphicFramePr>
          <p:nvPr userDrawn="1">
            <p:custDataLst>
              <p:tags r:id="rId17"/>
            </p:custDataLst>
            <p:extLst>
              <p:ext uri="{D42A27DB-BD31-4B8C-83A1-F6EECF244321}">
                <p14:modId xmlns:p14="http://schemas.microsoft.com/office/powerpoint/2010/main" val="2340132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12" imgH="511" progId="TCLayout.ActiveDocument.1">
                  <p:embed/>
                </p:oleObj>
              </mc:Choice>
              <mc:Fallback>
                <p:oleObj name="think-cell Slide" r:id="rId18" imgW="512" imgH="511" progId="TCLayout.ActiveDocument.1">
                  <p:embed/>
                  <p:pic>
                    <p:nvPicPr>
                      <p:cNvPr id="8" name="think-cell data - do not delete" hidden="1">
                        <a:extLst>
                          <a:ext uri="{FF2B5EF4-FFF2-40B4-BE49-F238E27FC236}">
                            <a16:creationId xmlns:a16="http://schemas.microsoft.com/office/drawing/2014/main" id="{627C2093-6310-4EF9-9A7F-6BCFC2037EB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6453D33-6F43-C8EC-F45A-41452BE1EA2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3AB59637-5012-26B7-7485-6DA85E8D340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D258279D-0A9C-98D3-4222-4991D8128C7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rtl="0">
              <a:defRPr sz="1200">
                <a:solidFill>
                  <a:schemeClr val="tx1">
                    <a:tint val="82000"/>
                  </a:schemeClr>
                </a:solidFill>
              </a:defRPr>
            </a:lvl1pPr>
          </a:lstStyle>
          <a:p>
            <a:fld id="{4AC1A3FB-BEFC-4C64-8073-4EEA380970C8}" type="datetimeFigureOut">
              <a:rPr lang="en-GB" smtClean="0"/>
              <a:pPr/>
              <a:t>27/06/2025</a:t>
            </a:fld>
            <a:endParaRPr lang="en-GB"/>
          </a:p>
        </p:txBody>
      </p:sp>
      <p:sp>
        <p:nvSpPr>
          <p:cNvPr id="5" name="Footer Placeholder 4">
            <a:extLst>
              <a:ext uri="{FF2B5EF4-FFF2-40B4-BE49-F238E27FC236}">
                <a16:creationId xmlns:a16="http://schemas.microsoft.com/office/drawing/2014/main" id="{2D67F7DB-0C9A-39C8-406F-0D071CF401B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rtl="0">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E98B73C5-E6C4-9F42-66A7-979833B4332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82000"/>
                  </a:schemeClr>
                </a:solidFill>
              </a:defRPr>
            </a:lvl1pPr>
          </a:lstStyle>
          <a:p>
            <a:fld id="{780F09D1-36FB-4C13-9940-67331369E9EB}" type="slidenum">
              <a:rPr lang="en-GB" smtClean="0"/>
              <a:pPr/>
              <a:t>‹#›</a:t>
            </a:fld>
            <a:endParaRPr lang="en-GB"/>
          </a:p>
        </p:txBody>
      </p:sp>
      <p:sp>
        <p:nvSpPr>
          <p:cNvPr id="11" name="TextBox 10">
            <a:extLst>
              <a:ext uri="{FF2B5EF4-FFF2-40B4-BE49-F238E27FC236}">
                <a16:creationId xmlns:a16="http://schemas.microsoft.com/office/drawing/2014/main" id="{9CED7A93-E3A9-324F-69B5-8BAC1A50D4EB}"/>
              </a:ext>
            </a:extLst>
          </p:cNvPr>
          <p:cNvSpPr txBox="1"/>
          <p:nvPr userDrawn="1">
            <p:extLst>
              <p:ext uri="{1162E1C5-73C7-4A58-AE30-91384D911F3F}">
                <p184:classification xmlns:p184="http://schemas.microsoft.com/office/powerpoint/2018/4/main" val="ftr"/>
              </p:ext>
            </p:extLst>
          </p:nvPr>
        </p:nvSpPr>
        <p:spPr>
          <a:xfrm>
            <a:off x="5649913" y="6642100"/>
            <a:ext cx="920750" cy="152400"/>
          </a:xfrm>
          <a:prstGeom prst="rect">
            <a:avLst/>
          </a:prstGeom>
        </p:spPr>
        <p:txBody>
          <a:bodyPr horzOverflow="overflow" lIns="0" tIns="0" rIns="0" bIns="0">
            <a:spAutoFit/>
          </a:bodyPr>
          <a:lstStyle/>
          <a:p>
            <a:pPr algn="l" rtl="0"/>
            <a:r>
              <a:rPr lang="en-GB" sz="10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Internal Use Only</a:t>
            </a:r>
          </a:p>
        </p:txBody>
      </p:sp>
    </p:spTree>
    <p:extLst>
      <p:ext uri="{BB962C8B-B14F-4D97-AF65-F5344CB8AC3E}">
        <p14:creationId xmlns:p14="http://schemas.microsoft.com/office/powerpoint/2010/main" val="234251805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tags" Target="../tags/tag80.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11.xml.rels><?xml version="1.0" encoding="UTF-8" standalone="yes"?>
<Relationships xmlns="http://schemas.openxmlformats.org/package/2006/relationships"><Relationship Id="rId13" Type="http://schemas.openxmlformats.org/officeDocument/2006/relationships/tags" Target="../tags/tag93.xml"/><Relationship Id="rId18" Type="http://schemas.openxmlformats.org/officeDocument/2006/relationships/tags" Target="../tags/tag98.xml"/><Relationship Id="rId26" Type="http://schemas.openxmlformats.org/officeDocument/2006/relationships/tags" Target="../tags/tag106.xml"/><Relationship Id="rId39" Type="http://schemas.openxmlformats.org/officeDocument/2006/relationships/image" Target="../media/image20.png"/><Relationship Id="rId21" Type="http://schemas.openxmlformats.org/officeDocument/2006/relationships/tags" Target="../tags/tag101.xml"/><Relationship Id="rId34" Type="http://schemas.openxmlformats.org/officeDocument/2006/relationships/notesSlide" Target="../notesSlides/notesSlide11.xml"/><Relationship Id="rId7" Type="http://schemas.openxmlformats.org/officeDocument/2006/relationships/tags" Target="../tags/tag87.xml"/><Relationship Id="rId2" Type="http://schemas.openxmlformats.org/officeDocument/2006/relationships/tags" Target="../tags/tag82.xml"/><Relationship Id="rId16" Type="http://schemas.openxmlformats.org/officeDocument/2006/relationships/tags" Target="../tags/tag96.xml"/><Relationship Id="rId20" Type="http://schemas.openxmlformats.org/officeDocument/2006/relationships/tags" Target="../tags/tag100.xml"/><Relationship Id="rId29" Type="http://schemas.openxmlformats.org/officeDocument/2006/relationships/tags" Target="../tags/tag109.xml"/><Relationship Id="rId41" Type="http://schemas.openxmlformats.org/officeDocument/2006/relationships/image" Target="../media/image22.png"/><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tags" Target="../tags/tag91.xml"/><Relationship Id="rId24" Type="http://schemas.openxmlformats.org/officeDocument/2006/relationships/tags" Target="../tags/tag104.xml"/><Relationship Id="rId32" Type="http://schemas.openxmlformats.org/officeDocument/2006/relationships/tags" Target="../tags/tag112.xml"/><Relationship Id="rId37" Type="http://schemas.openxmlformats.org/officeDocument/2006/relationships/chart" Target="../charts/chart5.xml"/><Relationship Id="rId40" Type="http://schemas.openxmlformats.org/officeDocument/2006/relationships/image" Target="../media/image21.png"/><Relationship Id="rId5" Type="http://schemas.openxmlformats.org/officeDocument/2006/relationships/tags" Target="../tags/tag85.xml"/><Relationship Id="rId15" Type="http://schemas.openxmlformats.org/officeDocument/2006/relationships/tags" Target="../tags/tag95.xml"/><Relationship Id="rId23" Type="http://schemas.openxmlformats.org/officeDocument/2006/relationships/tags" Target="../tags/tag103.xml"/><Relationship Id="rId28" Type="http://schemas.openxmlformats.org/officeDocument/2006/relationships/tags" Target="../tags/tag108.xml"/><Relationship Id="rId36" Type="http://schemas.openxmlformats.org/officeDocument/2006/relationships/image" Target="../media/image1.emf"/><Relationship Id="rId10" Type="http://schemas.openxmlformats.org/officeDocument/2006/relationships/tags" Target="../tags/tag90.xml"/><Relationship Id="rId19" Type="http://schemas.openxmlformats.org/officeDocument/2006/relationships/tags" Target="../tags/tag99.xml"/><Relationship Id="rId31" Type="http://schemas.openxmlformats.org/officeDocument/2006/relationships/tags" Target="../tags/tag111.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tags" Target="../tags/tag102.xml"/><Relationship Id="rId27" Type="http://schemas.openxmlformats.org/officeDocument/2006/relationships/tags" Target="../tags/tag107.xml"/><Relationship Id="rId30" Type="http://schemas.openxmlformats.org/officeDocument/2006/relationships/tags" Target="../tags/tag110.xml"/><Relationship Id="rId35" Type="http://schemas.openxmlformats.org/officeDocument/2006/relationships/oleObject" Target="../embeddings/oleObject24.bin"/><Relationship Id="rId8" Type="http://schemas.openxmlformats.org/officeDocument/2006/relationships/tags" Target="../tags/tag88.xml"/><Relationship Id="rId3" Type="http://schemas.openxmlformats.org/officeDocument/2006/relationships/tags" Target="../tags/tag83.xml"/><Relationship Id="rId12" Type="http://schemas.openxmlformats.org/officeDocument/2006/relationships/tags" Target="../tags/tag92.xml"/><Relationship Id="rId17" Type="http://schemas.openxmlformats.org/officeDocument/2006/relationships/tags" Target="../tags/tag97.xml"/><Relationship Id="rId25" Type="http://schemas.openxmlformats.org/officeDocument/2006/relationships/tags" Target="../tags/tag105.xml"/><Relationship Id="rId33" Type="http://schemas.openxmlformats.org/officeDocument/2006/relationships/slideLayout" Target="../slideLayouts/slideLayout13.xml"/><Relationship Id="rId38" Type="http://schemas.openxmlformats.org/officeDocument/2006/relationships/chart" Target="../charts/chart6.xml"/></Relationships>
</file>

<file path=ppt/slides/_rels/slide12.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tags" Target="../tags/tag125.xml"/><Relationship Id="rId18" Type="http://schemas.openxmlformats.org/officeDocument/2006/relationships/slideLayout" Target="../slideLayouts/slideLayout13.xml"/><Relationship Id="rId26" Type="http://schemas.openxmlformats.org/officeDocument/2006/relationships/image" Target="../media/image25.png"/><Relationship Id="rId3" Type="http://schemas.openxmlformats.org/officeDocument/2006/relationships/tags" Target="../tags/tag115.xml"/><Relationship Id="rId21" Type="http://schemas.openxmlformats.org/officeDocument/2006/relationships/image" Target="../media/image1.emf"/><Relationship Id="rId7" Type="http://schemas.openxmlformats.org/officeDocument/2006/relationships/tags" Target="../tags/tag119.xml"/><Relationship Id="rId12" Type="http://schemas.openxmlformats.org/officeDocument/2006/relationships/tags" Target="../tags/tag124.xml"/><Relationship Id="rId17" Type="http://schemas.openxmlformats.org/officeDocument/2006/relationships/tags" Target="../tags/tag129.xml"/><Relationship Id="rId25" Type="http://schemas.openxmlformats.org/officeDocument/2006/relationships/image" Target="../media/image24.png"/><Relationship Id="rId2" Type="http://schemas.openxmlformats.org/officeDocument/2006/relationships/tags" Target="../tags/tag114.xml"/><Relationship Id="rId16" Type="http://schemas.openxmlformats.org/officeDocument/2006/relationships/tags" Target="../tags/tag128.xml"/><Relationship Id="rId20" Type="http://schemas.openxmlformats.org/officeDocument/2006/relationships/oleObject" Target="../embeddings/oleObject25.bin"/><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tags" Target="../tags/tag123.xml"/><Relationship Id="rId24" Type="http://schemas.openxmlformats.org/officeDocument/2006/relationships/image" Target="../media/image23.png"/><Relationship Id="rId5" Type="http://schemas.openxmlformats.org/officeDocument/2006/relationships/tags" Target="../tags/tag117.xml"/><Relationship Id="rId15" Type="http://schemas.openxmlformats.org/officeDocument/2006/relationships/tags" Target="../tags/tag127.xml"/><Relationship Id="rId23" Type="http://schemas.openxmlformats.org/officeDocument/2006/relationships/chart" Target="../charts/chart8.xml"/><Relationship Id="rId10" Type="http://schemas.openxmlformats.org/officeDocument/2006/relationships/tags" Target="../tags/tag122.xml"/><Relationship Id="rId19" Type="http://schemas.openxmlformats.org/officeDocument/2006/relationships/notesSlide" Target="../notesSlides/notesSlide12.xml"/><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tags" Target="../tags/tag126.xml"/><Relationship Id="rId22" Type="http://schemas.openxmlformats.org/officeDocument/2006/relationships/chart" Target="../charts/chart7.xml"/></Relationships>
</file>

<file path=ppt/slides/_rels/slide13.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tags" Target="../tags/tag142.xml"/><Relationship Id="rId18" Type="http://schemas.openxmlformats.org/officeDocument/2006/relationships/notesSlide" Target="../notesSlides/notesSlide13.xml"/><Relationship Id="rId26" Type="http://schemas.openxmlformats.org/officeDocument/2006/relationships/image" Target="../media/image29.png"/><Relationship Id="rId3" Type="http://schemas.openxmlformats.org/officeDocument/2006/relationships/tags" Target="../tags/tag132.xml"/><Relationship Id="rId21" Type="http://schemas.openxmlformats.org/officeDocument/2006/relationships/chart" Target="../charts/chart9.xml"/><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slideLayout" Target="../slideLayouts/slideLayout13.xml"/><Relationship Id="rId25" Type="http://schemas.openxmlformats.org/officeDocument/2006/relationships/image" Target="../media/image28.png"/><Relationship Id="rId2" Type="http://schemas.openxmlformats.org/officeDocument/2006/relationships/tags" Target="../tags/tag131.xml"/><Relationship Id="rId16" Type="http://schemas.openxmlformats.org/officeDocument/2006/relationships/tags" Target="../tags/tag145.xml"/><Relationship Id="rId20" Type="http://schemas.openxmlformats.org/officeDocument/2006/relationships/image" Target="../media/image1.emf"/><Relationship Id="rId1" Type="http://schemas.openxmlformats.org/officeDocument/2006/relationships/tags" Target="../tags/tag130.xml"/><Relationship Id="rId6" Type="http://schemas.openxmlformats.org/officeDocument/2006/relationships/tags" Target="../tags/tag135.xml"/><Relationship Id="rId11" Type="http://schemas.openxmlformats.org/officeDocument/2006/relationships/tags" Target="../tags/tag140.xml"/><Relationship Id="rId24" Type="http://schemas.openxmlformats.org/officeDocument/2006/relationships/image" Target="../media/image27.png"/><Relationship Id="rId5" Type="http://schemas.openxmlformats.org/officeDocument/2006/relationships/tags" Target="../tags/tag134.xml"/><Relationship Id="rId15" Type="http://schemas.openxmlformats.org/officeDocument/2006/relationships/tags" Target="../tags/tag144.xml"/><Relationship Id="rId23" Type="http://schemas.openxmlformats.org/officeDocument/2006/relationships/image" Target="../media/image26.emf"/><Relationship Id="rId10" Type="http://schemas.openxmlformats.org/officeDocument/2006/relationships/tags" Target="../tags/tag139.xml"/><Relationship Id="rId19" Type="http://schemas.openxmlformats.org/officeDocument/2006/relationships/oleObject" Target="../embeddings/oleObject26.bin"/><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tags" Target="../tags/tag143.xml"/><Relationship Id="rId22" Type="http://schemas.openxmlformats.org/officeDocument/2006/relationships/chart" Target="../charts/chart10.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3.xml"/><Relationship Id="rId1" Type="http://schemas.openxmlformats.org/officeDocument/2006/relationships/tags" Target="../tags/tag146.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3.xml"/><Relationship Id="rId1" Type="http://schemas.openxmlformats.org/officeDocument/2006/relationships/tags" Target="../tags/tag147.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3.xml"/><Relationship Id="rId1" Type="http://schemas.openxmlformats.org/officeDocument/2006/relationships/tags" Target="../tags/tag148.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3.xml"/><Relationship Id="rId1" Type="http://schemas.openxmlformats.org/officeDocument/2006/relationships/tags" Target="../tags/tag149.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18.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tags" Target="../tags/tag162.xml"/><Relationship Id="rId18" Type="http://schemas.openxmlformats.org/officeDocument/2006/relationships/slideLayout" Target="../slideLayouts/slideLayout13.xml"/><Relationship Id="rId3" Type="http://schemas.openxmlformats.org/officeDocument/2006/relationships/tags" Target="../tags/tag152.xml"/><Relationship Id="rId21" Type="http://schemas.openxmlformats.org/officeDocument/2006/relationships/image" Target="../media/image1.emf"/><Relationship Id="rId7" Type="http://schemas.openxmlformats.org/officeDocument/2006/relationships/tags" Target="../tags/tag156.xml"/><Relationship Id="rId12" Type="http://schemas.openxmlformats.org/officeDocument/2006/relationships/tags" Target="../tags/tag161.xml"/><Relationship Id="rId17" Type="http://schemas.openxmlformats.org/officeDocument/2006/relationships/tags" Target="../tags/tag166.xml"/><Relationship Id="rId2" Type="http://schemas.openxmlformats.org/officeDocument/2006/relationships/tags" Target="../tags/tag151.xml"/><Relationship Id="rId16" Type="http://schemas.openxmlformats.org/officeDocument/2006/relationships/tags" Target="../tags/tag165.xml"/><Relationship Id="rId20" Type="http://schemas.openxmlformats.org/officeDocument/2006/relationships/oleObject" Target="../embeddings/oleObject31.bin"/><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tags" Target="../tags/tag160.xml"/><Relationship Id="rId24" Type="http://schemas.openxmlformats.org/officeDocument/2006/relationships/image" Target="../media/image31.jpeg"/><Relationship Id="rId5" Type="http://schemas.openxmlformats.org/officeDocument/2006/relationships/tags" Target="../tags/tag154.xml"/><Relationship Id="rId15" Type="http://schemas.openxmlformats.org/officeDocument/2006/relationships/tags" Target="../tags/tag164.xml"/><Relationship Id="rId23" Type="http://schemas.openxmlformats.org/officeDocument/2006/relationships/chart" Target="../charts/chart12.xml"/><Relationship Id="rId10" Type="http://schemas.openxmlformats.org/officeDocument/2006/relationships/tags" Target="../tags/tag159.xml"/><Relationship Id="rId19" Type="http://schemas.openxmlformats.org/officeDocument/2006/relationships/notesSlide" Target="../notesSlides/notesSlide18.xml"/><Relationship Id="rId4" Type="http://schemas.openxmlformats.org/officeDocument/2006/relationships/tags" Target="../tags/tag153.xml"/><Relationship Id="rId9" Type="http://schemas.openxmlformats.org/officeDocument/2006/relationships/tags" Target="../tags/tag158.xml"/><Relationship Id="rId14" Type="http://schemas.openxmlformats.org/officeDocument/2006/relationships/tags" Target="../tags/tag163.xml"/><Relationship Id="rId22" Type="http://schemas.openxmlformats.org/officeDocument/2006/relationships/chart" Target="../charts/chart1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3.xml"/><Relationship Id="rId1" Type="http://schemas.openxmlformats.org/officeDocument/2006/relationships/tags" Target="../tags/tag167.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notesSlide" Target="../notesSlides/notesSlide2.xml"/><Relationship Id="rId7" Type="http://schemas.openxmlformats.org/officeDocument/2006/relationships/image" Target="../media/image6.png"/><Relationship Id="rId2" Type="http://schemas.openxmlformats.org/officeDocument/2006/relationships/slideLayout" Target="../slideLayouts/slideLayout15.xml"/><Relationship Id="rId1" Type="http://schemas.openxmlformats.org/officeDocument/2006/relationships/tags" Target="../tags/tag20.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5.bin"/><Relationship Id="rId9"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3.xml"/><Relationship Id="rId1" Type="http://schemas.openxmlformats.org/officeDocument/2006/relationships/tags" Target="../tags/tag168.xml"/><Relationship Id="rId6" Type="http://schemas.openxmlformats.org/officeDocument/2006/relationships/image" Target="../media/image32.jpe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2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21.xml"/><Relationship Id="rId7" Type="http://schemas.openxmlformats.org/officeDocument/2006/relationships/image" Target="../media/image34.svg"/><Relationship Id="rId2" Type="http://schemas.openxmlformats.org/officeDocument/2006/relationships/slideLayout" Target="../slideLayouts/slideLayout13.xml"/><Relationship Id="rId1" Type="http://schemas.openxmlformats.org/officeDocument/2006/relationships/tags" Target="../tags/tag169.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1.emf"/><Relationship Id="rId10" Type="http://schemas.openxmlformats.org/officeDocument/2006/relationships/image" Target="../media/image37.png"/><Relationship Id="rId4" Type="http://schemas.openxmlformats.org/officeDocument/2006/relationships/oleObject" Target="../embeddings/oleObject34.bin"/><Relationship Id="rId9" Type="http://schemas.openxmlformats.org/officeDocument/2006/relationships/image" Target="../media/image36.svg"/></Relationships>
</file>

<file path=ppt/slides/_rels/slide2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22.xml"/><Relationship Id="rId7" Type="http://schemas.openxmlformats.org/officeDocument/2006/relationships/image" Target="../media/image34.svg"/><Relationship Id="rId2" Type="http://schemas.openxmlformats.org/officeDocument/2006/relationships/slideLayout" Target="../slideLayouts/slideLayout13.xml"/><Relationship Id="rId1" Type="http://schemas.openxmlformats.org/officeDocument/2006/relationships/tags" Target="../tags/tag170.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1.emf"/><Relationship Id="rId10" Type="http://schemas.openxmlformats.org/officeDocument/2006/relationships/image" Target="../media/image37.png"/><Relationship Id="rId4" Type="http://schemas.openxmlformats.org/officeDocument/2006/relationships/oleObject" Target="../embeddings/oleObject35.bin"/><Relationship Id="rId9" Type="http://schemas.openxmlformats.org/officeDocument/2006/relationships/image" Target="../media/image36.svg"/></Relationships>
</file>

<file path=ppt/slides/_rels/slide2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23.xml"/><Relationship Id="rId7" Type="http://schemas.openxmlformats.org/officeDocument/2006/relationships/image" Target="../media/image34.svg"/><Relationship Id="rId2" Type="http://schemas.openxmlformats.org/officeDocument/2006/relationships/slideLayout" Target="../slideLayouts/slideLayout13.xml"/><Relationship Id="rId1" Type="http://schemas.openxmlformats.org/officeDocument/2006/relationships/tags" Target="../tags/tag171.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1.emf"/><Relationship Id="rId10" Type="http://schemas.openxmlformats.org/officeDocument/2006/relationships/image" Target="../media/image37.png"/><Relationship Id="rId4" Type="http://schemas.openxmlformats.org/officeDocument/2006/relationships/oleObject" Target="../embeddings/oleObject35.bin"/><Relationship Id="rId9" Type="http://schemas.openxmlformats.org/officeDocument/2006/relationships/image" Target="../media/image36.sv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3.xml"/><Relationship Id="rId1" Type="http://schemas.openxmlformats.org/officeDocument/2006/relationships/tags" Target="../tags/tag172.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microsoft.com/office/2007/relationships/hdphoto" Target="../media/hdphoto1.wdp"/><Relationship Id="rId2" Type="http://schemas.openxmlformats.org/officeDocument/2006/relationships/slideLayout" Target="../slideLayouts/slideLayout13.xml"/><Relationship Id="rId1" Type="http://schemas.openxmlformats.org/officeDocument/2006/relationships/tags" Target="../tags/tag173.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41.png"/><Relationship Id="rId2" Type="http://schemas.openxmlformats.org/officeDocument/2006/relationships/slideLayout" Target="../slideLayouts/slideLayout13.xml"/><Relationship Id="rId1" Type="http://schemas.openxmlformats.org/officeDocument/2006/relationships/tags" Target="../tags/tag174.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2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27.xml"/><Relationship Id="rId7" Type="http://schemas.openxmlformats.org/officeDocument/2006/relationships/image" Target="../media/image43.png"/><Relationship Id="rId2" Type="http://schemas.openxmlformats.org/officeDocument/2006/relationships/slideLayout" Target="../slideLayouts/slideLayout13.xml"/><Relationship Id="rId1" Type="http://schemas.openxmlformats.org/officeDocument/2006/relationships/tags" Target="../tags/tag175.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3.xml"/><Relationship Id="rId1" Type="http://schemas.openxmlformats.org/officeDocument/2006/relationships/tags" Target="../tags/tag176.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29.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29.xml"/><Relationship Id="rId7" Type="http://schemas.microsoft.com/office/2007/relationships/hdphoto" Target="../media/hdphoto2.wdp"/><Relationship Id="rId2" Type="http://schemas.openxmlformats.org/officeDocument/2006/relationships/slideLayout" Target="../slideLayouts/slideLayout13.xml"/><Relationship Id="rId1" Type="http://schemas.openxmlformats.org/officeDocument/2006/relationships/tags" Target="../tags/tag177.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41.bin"/><Relationship Id="rId9" Type="http://schemas.openxmlformats.org/officeDocument/2006/relationships/image" Target="../media/image47.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image" Target="../media/image11.emf"/><Relationship Id="rId5" Type="http://schemas.openxmlformats.org/officeDocument/2006/relationships/oleObject" Target="../embeddings/oleObject42.bin"/><Relationship Id="rId4" Type="http://schemas.openxmlformats.org/officeDocument/2006/relationships/notesSlide" Target="../notesSlides/notesSlide3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5.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3.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8.xml.rels><?xml version="1.0" encoding="UTF-8" standalone="yes"?>
<Relationships xmlns="http://schemas.openxmlformats.org/package/2006/relationships"><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tags" Target="../tags/tag52.xml"/><Relationship Id="rId21" Type="http://schemas.openxmlformats.org/officeDocument/2006/relationships/tags" Target="../tags/tag47.xml"/><Relationship Id="rId34" Type="http://schemas.openxmlformats.org/officeDocument/2006/relationships/notesSlide" Target="../notesSlides/notesSlide8.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tags" Target="../tags/tag51.xml"/><Relationship Id="rId33" Type="http://schemas.openxmlformats.org/officeDocument/2006/relationships/slideLayout" Target="../slideLayouts/slideLayout13.xml"/><Relationship Id="rId38" Type="http://schemas.openxmlformats.org/officeDocument/2006/relationships/chart" Target="../charts/chart2.xml"/><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29" Type="http://schemas.openxmlformats.org/officeDocument/2006/relationships/tags" Target="../tags/tag55.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tags" Target="../tags/tag50.xml"/><Relationship Id="rId32" Type="http://schemas.openxmlformats.org/officeDocument/2006/relationships/tags" Target="../tags/tag58.xml"/><Relationship Id="rId37" Type="http://schemas.openxmlformats.org/officeDocument/2006/relationships/chart" Target="../charts/chart1.xml"/><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tags" Target="../tags/tag54.xml"/><Relationship Id="rId36" Type="http://schemas.openxmlformats.org/officeDocument/2006/relationships/image" Target="../media/image1.emf"/><Relationship Id="rId10" Type="http://schemas.openxmlformats.org/officeDocument/2006/relationships/tags" Target="../tags/tag36.xml"/><Relationship Id="rId19" Type="http://schemas.openxmlformats.org/officeDocument/2006/relationships/tags" Target="../tags/tag45.xml"/><Relationship Id="rId31" Type="http://schemas.openxmlformats.org/officeDocument/2006/relationships/tags" Target="../tags/tag57.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tags" Target="../tags/tag53.xml"/><Relationship Id="rId30" Type="http://schemas.openxmlformats.org/officeDocument/2006/relationships/tags" Target="../tags/tag56.xml"/><Relationship Id="rId35" Type="http://schemas.openxmlformats.org/officeDocument/2006/relationships/oleObject" Target="../embeddings/oleObject21.bin"/><Relationship Id="rId8" Type="http://schemas.openxmlformats.org/officeDocument/2006/relationships/tags" Target="../tags/tag34.xml"/><Relationship Id="rId3" Type="http://schemas.openxmlformats.org/officeDocument/2006/relationships/tags" Target="../tags/tag29.xml"/></Relationships>
</file>

<file path=ppt/slides/_rels/slide9.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18" Type="http://schemas.openxmlformats.org/officeDocument/2006/relationships/tags" Target="../tags/tag76.xml"/><Relationship Id="rId26" Type="http://schemas.openxmlformats.org/officeDocument/2006/relationships/chart" Target="../charts/chart3.xml"/><Relationship Id="rId3" Type="http://schemas.openxmlformats.org/officeDocument/2006/relationships/tags" Target="../tags/tag61.xml"/><Relationship Id="rId21" Type="http://schemas.openxmlformats.org/officeDocument/2006/relationships/tags" Target="../tags/tag79.xml"/><Relationship Id="rId7" Type="http://schemas.openxmlformats.org/officeDocument/2006/relationships/tags" Target="../tags/tag65.xml"/><Relationship Id="rId12" Type="http://schemas.openxmlformats.org/officeDocument/2006/relationships/tags" Target="../tags/tag70.xml"/><Relationship Id="rId17" Type="http://schemas.openxmlformats.org/officeDocument/2006/relationships/tags" Target="../tags/tag75.xml"/><Relationship Id="rId25" Type="http://schemas.openxmlformats.org/officeDocument/2006/relationships/image" Target="../media/image1.emf"/><Relationship Id="rId2" Type="http://schemas.openxmlformats.org/officeDocument/2006/relationships/tags" Target="../tags/tag60.xml"/><Relationship Id="rId16" Type="http://schemas.openxmlformats.org/officeDocument/2006/relationships/tags" Target="../tags/tag74.xml"/><Relationship Id="rId20" Type="http://schemas.openxmlformats.org/officeDocument/2006/relationships/tags" Target="../tags/tag78.xml"/><Relationship Id="rId29" Type="http://schemas.openxmlformats.org/officeDocument/2006/relationships/image" Target="../media/image17.png"/><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tags" Target="../tags/tag69.xml"/><Relationship Id="rId24" Type="http://schemas.openxmlformats.org/officeDocument/2006/relationships/oleObject" Target="../embeddings/oleObject22.bin"/><Relationship Id="rId5" Type="http://schemas.openxmlformats.org/officeDocument/2006/relationships/tags" Target="../tags/tag63.xml"/><Relationship Id="rId15" Type="http://schemas.openxmlformats.org/officeDocument/2006/relationships/tags" Target="../tags/tag73.xml"/><Relationship Id="rId23" Type="http://schemas.openxmlformats.org/officeDocument/2006/relationships/notesSlide" Target="../notesSlides/notesSlide9.xml"/><Relationship Id="rId28" Type="http://schemas.openxmlformats.org/officeDocument/2006/relationships/image" Target="../media/image16.png"/><Relationship Id="rId10" Type="http://schemas.openxmlformats.org/officeDocument/2006/relationships/tags" Target="../tags/tag68.xml"/><Relationship Id="rId19" Type="http://schemas.openxmlformats.org/officeDocument/2006/relationships/tags" Target="../tags/tag77.xml"/><Relationship Id="rId31" Type="http://schemas.openxmlformats.org/officeDocument/2006/relationships/image" Target="../media/image19.png"/><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tags" Target="../tags/tag72.xml"/><Relationship Id="rId22" Type="http://schemas.openxmlformats.org/officeDocument/2006/relationships/slideLayout" Target="../slideLayouts/slideLayout13.xml"/><Relationship Id="rId27" Type="http://schemas.openxmlformats.org/officeDocument/2006/relationships/chart" Target="../charts/chart4.xml"/><Relationship Id="rId30"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FB4019-A778-1531-5BED-D7A38506D4DB}"/>
              </a:ext>
            </a:extLst>
          </p:cNvPr>
          <p:cNvGraphicFramePr>
            <a:graphicFrameLocks noChangeAspect="1"/>
          </p:cNvGraphicFramePr>
          <p:nvPr>
            <p:custDataLst>
              <p:tags r:id="rId2"/>
            </p:custDataLst>
            <p:extLst>
              <p:ext uri="{D42A27DB-BD31-4B8C-83A1-F6EECF244321}">
                <p14:modId xmlns:p14="http://schemas.microsoft.com/office/powerpoint/2010/main" val="1997030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8" progId="TCLayout.ActiveDocument.1">
                  <p:embed/>
                </p:oleObj>
              </mc:Choice>
              <mc:Fallback>
                <p:oleObj name="think-cell Slide" r:id="rId5" imgW="426" imgH="428" progId="TCLayout.ActiveDocument.1">
                  <p:embed/>
                  <p:pic>
                    <p:nvPicPr>
                      <p:cNvPr id="6" name="think-cell data - do not delete" hidden="1">
                        <a:extLst>
                          <a:ext uri="{FF2B5EF4-FFF2-40B4-BE49-F238E27FC236}">
                            <a16:creationId xmlns:a16="http://schemas.microsoft.com/office/drawing/2014/main" id="{83FB4019-A778-1531-5BED-D7A38506D4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578FE43-6388-31D4-4132-C9A5934693F1}"/>
              </a:ext>
            </a:extLst>
          </p:cNvPr>
          <p:cNvSpPr>
            <a:spLocks noGrp="1"/>
          </p:cNvSpPr>
          <p:nvPr>
            <p:ph type="body" sz="quarter" idx="10"/>
          </p:nvPr>
        </p:nvSpPr>
        <p:spPr/>
        <p:txBody>
          <a:bodyPr>
            <a:normAutofit/>
          </a:bodyPr>
          <a:lstStyle/>
          <a:p>
            <a:r>
              <a:rPr lang="en-GB" sz="2800" noProof="0"/>
              <a:t>How to Win: the Value Proposition</a:t>
            </a:r>
          </a:p>
        </p:txBody>
      </p:sp>
      <p:sp>
        <p:nvSpPr>
          <p:cNvPr id="3" name="Text Placeholder 2">
            <a:extLst>
              <a:ext uri="{FF2B5EF4-FFF2-40B4-BE49-F238E27FC236}">
                <a16:creationId xmlns:a16="http://schemas.microsoft.com/office/drawing/2014/main" id="{E62870D2-BD04-7C36-ECAD-A42F5410710A}"/>
              </a:ext>
            </a:extLst>
          </p:cNvPr>
          <p:cNvSpPr>
            <a:spLocks noGrp="1"/>
          </p:cNvSpPr>
          <p:nvPr>
            <p:ph type="body" sz="quarter" idx="12"/>
          </p:nvPr>
        </p:nvSpPr>
        <p:spPr/>
        <p:txBody>
          <a:bodyPr/>
          <a:lstStyle/>
          <a:p>
            <a:r>
              <a:rPr lang="en-GB" noProof="0"/>
              <a:t>Training</a:t>
            </a:r>
          </a:p>
        </p:txBody>
      </p:sp>
      <p:sp>
        <p:nvSpPr>
          <p:cNvPr id="4" name="Text Placeholder 3">
            <a:extLst>
              <a:ext uri="{FF2B5EF4-FFF2-40B4-BE49-F238E27FC236}">
                <a16:creationId xmlns:a16="http://schemas.microsoft.com/office/drawing/2014/main" id="{3B173936-1223-96C8-CD2C-1F0D5E885859}"/>
              </a:ext>
            </a:extLst>
          </p:cNvPr>
          <p:cNvSpPr>
            <a:spLocks noGrp="1"/>
          </p:cNvSpPr>
          <p:nvPr>
            <p:ph type="body" sz="quarter" idx="13"/>
          </p:nvPr>
        </p:nvSpPr>
        <p:spPr/>
        <p:txBody>
          <a:bodyPr/>
          <a:lstStyle/>
          <a:p>
            <a:r>
              <a:rPr lang="en-GB" noProof="0"/>
              <a:t>15 July 2025</a:t>
            </a:r>
          </a:p>
        </p:txBody>
      </p:sp>
    </p:spTree>
    <p:custDataLst>
      <p:tags r:id="rId1"/>
    </p:custDataLst>
    <p:extLst>
      <p:ext uri="{BB962C8B-B14F-4D97-AF65-F5344CB8AC3E}">
        <p14:creationId xmlns:p14="http://schemas.microsoft.com/office/powerpoint/2010/main" val="1103344515"/>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057A4-CAC3-3923-21D7-0CA63833E52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2200CD8-96B8-7E85-020A-5104D9030D62}"/>
              </a:ext>
            </a:extLst>
          </p:cNvPr>
          <p:cNvGraphicFramePr>
            <a:graphicFrameLocks noChangeAspect="1"/>
          </p:cNvGraphicFramePr>
          <p:nvPr>
            <p:custDataLst>
              <p:tags r:id="rId1"/>
            </p:custDataLst>
            <p:extLst>
              <p:ext uri="{D42A27DB-BD31-4B8C-83A1-F6EECF244321}">
                <p14:modId xmlns:p14="http://schemas.microsoft.com/office/powerpoint/2010/main" val="2835894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82200CD8-96B8-7E85-020A-5104D9030D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3FA140-62C9-B1F6-5920-DF24AACF2ACD}"/>
              </a:ext>
            </a:extLst>
          </p:cNvPr>
          <p:cNvSpPr>
            <a:spLocks noGrp="1"/>
          </p:cNvSpPr>
          <p:nvPr>
            <p:ph type="title"/>
          </p:nvPr>
        </p:nvSpPr>
        <p:spPr>
          <a:xfrm>
            <a:off x="137786" y="125260"/>
            <a:ext cx="7888614" cy="806754"/>
          </a:xfrm>
        </p:spPr>
        <p:txBody>
          <a:bodyPr vert="horz"/>
          <a:lstStyle/>
          <a:p>
            <a:r>
              <a:rPr lang="en-GB" b="1" noProof="0"/>
              <a:t>Choice of Generic Positioning</a:t>
            </a:r>
          </a:p>
        </p:txBody>
      </p:sp>
      <p:sp>
        <p:nvSpPr>
          <p:cNvPr id="38" name="Rectangle 37">
            <a:extLst>
              <a:ext uri="{FF2B5EF4-FFF2-40B4-BE49-F238E27FC236}">
                <a16:creationId xmlns:a16="http://schemas.microsoft.com/office/drawing/2014/main" id="{BA5BB2A2-74B3-8F04-2B7B-8D4CB4367664}"/>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400" noProof="0">
                <a:solidFill>
                  <a:schemeClr val="tx1"/>
                </a:solidFill>
                <a:latin typeface="Avenir Next LT Pro" panose="020B0504020202020204" pitchFamily="34" charset="0"/>
              </a:rPr>
              <a:t>In </a:t>
            </a:r>
            <a:r>
              <a:rPr lang="en-GB" sz="1400" b="1" noProof="0">
                <a:solidFill>
                  <a:schemeClr val="tx1"/>
                </a:solidFill>
                <a:latin typeface="Avenir Next LT Pro" panose="020B0504020202020204" pitchFamily="34" charset="0"/>
              </a:rPr>
              <a:t>Cost Leadership</a:t>
            </a:r>
            <a:r>
              <a:rPr lang="en-GB" sz="1400" noProof="0">
                <a:solidFill>
                  <a:schemeClr val="tx1"/>
                </a:solidFill>
                <a:latin typeface="Avenir Next LT Pro" panose="020B0504020202020204" pitchFamily="34" charset="0"/>
              </a:rPr>
              <a:t>, the low relative prices are enabled by </a:t>
            </a:r>
            <a:r>
              <a:rPr lang="en-GB" sz="1400" b="1" noProof="0">
                <a:solidFill>
                  <a:schemeClr val="tx1"/>
                </a:solidFill>
                <a:latin typeface="Avenir Next LT Pro" panose="020B0504020202020204" pitchFamily="34" charset="0"/>
              </a:rPr>
              <a:t>superior efficiency across the entire value chain</a:t>
            </a:r>
            <a:r>
              <a:rPr lang="en-GB" sz="1400" noProof="0">
                <a:solidFill>
                  <a:schemeClr val="tx1"/>
                </a:solidFill>
                <a:latin typeface="Avenir Next LT Pro" panose="020B0504020202020204" pitchFamily="34" charset="0"/>
              </a:rPr>
              <a:t>.</a:t>
            </a:r>
          </a:p>
          <a:p>
            <a:pPr marL="285750" indent="-285750">
              <a:spcAft>
                <a:spcPts val="600"/>
              </a:spcAft>
              <a:buFont typeface="Arial" panose="020B0604020202020204" pitchFamily="34" charset="0"/>
              <a:buChar char="•"/>
            </a:pPr>
            <a:r>
              <a:rPr lang="en-GB" sz="1400" noProof="0">
                <a:solidFill>
                  <a:schemeClr val="tx1"/>
                </a:solidFill>
                <a:latin typeface="Avenir Next LT Pro" panose="020B0504020202020204" pitchFamily="34" charset="0"/>
              </a:rPr>
              <a:t>In </a:t>
            </a:r>
            <a:r>
              <a:rPr lang="en-GB" sz="1400" b="1" noProof="0">
                <a:solidFill>
                  <a:schemeClr val="tx1"/>
                </a:solidFill>
                <a:latin typeface="Avenir Next LT Pro" panose="020B0504020202020204" pitchFamily="34" charset="0"/>
              </a:rPr>
              <a:t>Differentiation</a:t>
            </a:r>
            <a:r>
              <a:rPr lang="en-GB" sz="1400" noProof="0">
                <a:solidFill>
                  <a:schemeClr val="tx1"/>
                </a:solidFill>
                <a:latin typeface="Avenir Next LT Pro" panose="020B0504020202020204" pitchFamily="34" charset="0"/>
              </a:rPr>
              <a:t>, higher relative prices are commanded by creating </a:t>
            </a:r>
            <a:r>
              <a:rPr lang="en-GB" sz="1400" b="1" noProof="0">
                <a:solidFill>
                  <a:schemeClr val="tx1"/>
                </a:solidFill>
                <a:latin typeface="Avenir Next LT Pro" panose="020B0504020202020204" pitchFamily="34" charset="0"/>
              </a:rPr>
              <a:t>superior value</a:t>
            </a:r>
            <a:r>
              <a:rPr lang="en-GB" sz="1400" noProof="0">
                <a:solidFill>
                  <a:schemeClr val="tx1"/>
                </a:solidFill>
                <a:latin typeface="Avenir Next LT Pro" panose="020B0504020202020204" pitchFamily="34" charset="0"/>
              </a:rPr>
              <a:t>, and it being </a:t>
            </a:r>
            <a:r>
              <a:rPr lang="en-GB" sz="1400" b="1" noProof="0">
                <a:solidFill>
                  <a:schemeClr val="tx1"/>
                </a:solidFill>
                <a:latin typeface="Avenir Next LT Pro" panose="020B0504020202020204" pitchFamily="34" charset="0"/>
              </a:rPr>
              <a:t>perceived by customers</a:t>
            </a:r>
            <a:r>
              <a:rPr lang="en-GB" sz="1400" noProof="0">
                <a:solidFill>
                  <a:schemeClr val="tx1"/>
                </a:solidFill>
                <a:latin typeface="Avenir Next LT Pro" panose="020B0504020202020204" pitchFamily="34" charset="0"/>
              </a:rPr>
              <a:t>.</a:t>
            </a:r>
          </a:p>
          <a:p>
            <a:pPr marL="285750" indent="-285750">
              <a:spcAft>
                <a:spcPts val="600"/>
              </a:spcAft>
              <a:buFont typeface="Arial" panose="020B0604020202020204" pitchFamily="34" charset="0"/>
              <a:buChar char="•"/>
            </a:pPr>
            <a:r>
              <a:rPr lang="en-GB" sz="1400" b="1" noProof="0">
                <a:solidFill>
                  <a:schemeClr val="tx1"/>
                </a:solidFill>
                <a:latin typeface="Avenir Next LT Pro" panose="020B0504020202020204" pitchFamily="34" charset="0"/>
              </a:rPr>
              <a:t>Blue Ocean </a:t>
            </a:r>
            <a:r>
              <a:rPr lang="en-GB" sz="1400" noProof="0">
                <a:solidFill>
                  <a:schemeClr val="tx1"/>
                </a:solidFill>
                <a:latin typeface="Avenir Next LT Pro" panose="020B0504020202020204" pitchFamily="34" charset="0"/>
              </a:rPr>
              <a:t>or Hybrid Strategy allow pursuing </a:t>
            </a:r>
            <a:r>
              <a:rPr lang="en-GB" sz="1400" b="1" noProof="0">
                <a:solidFill>
                  <a:schemeClr val="tx1"/>
                </a:solidFill>
                <a:latin typeface="Avenir Next LT Pro" panose="020B0504020202020204" pitchFamily="34" charset="0"/>
              </a:rPr>
              <a:t>differentiation and low cost </a:t>
            </a:r>
            <a:r>
              <a:rPr lang="en-GB" sz="1400" noProof="0">
                <a:solidFill>
                  <a:schemeClr val="tx1"/>
                </a:solidFill>
                <a:latin typeface="Avenir Next LT Pro" panose="020B0504020202020204" pitchFamily="34" charset="0"/>
              </a:rPr>
              <a:t>by reconstructing industry boundaries and </a:t>
            </a:r>
            <a:r>
              <a:rPr lang="en-GB" sz="1400" b="1" noProof="0">
                <a:solidFill>
                  <a:schemeClr val="tx1"/>
                </a:solidFill>
                <a:latin typeface="Avenir Next LT Pro" panose="020B0504020202020204" pitchFamily="34" charset="0"/>
              </a:rPr>
              <a:t>eliminating the traditional value-cost trade-off</a:t>
            </a:r>
            <a:r>
              <a:rPr lang="en-GB" sz="1400" noProof="0">
                <a:solidFill>
                  <a:schemeClr val="tx1"/>
                </a:solidFill>
                <a:latin typeface="Avenir Next LT Pro" panose="020B0504020202020204" pitchFamily="34" charset="0"/>
              </a:rPr>
              <a:t>. It creates new demand, rather than fighting over existing customers, and is enabled through systematic </a:t>
            </a:r>
            <a:r>
              <a:rPr lang="en-GB" sz="1400" b="1" noProof="0">
                <a:solidFill>
                  <a:schemeClr val="tx1"/>
                </a:solidFill>
                <a:latin typeface="Avenir Next LT Pro" panose="020B0504020202020204" pitchFamily="34" charset="0"/>
              </a:rPr>
              <a:t>value innovation</a:t>
            </a:r>
            <a:r>
              <a:rPr lang="en-GB" sz="1400" noProof="0">
                <a:solidFill>
                  <a:schemeClr val="tx1"/>
                </a:solidFill>
                <a:latin typeface="Avenir Next LT Pro" panose="020B0504020202020204" pitchFamily="34" charset="0"/>
              </a:rPr>
              <a:t>.</a:t>
            </a:r>
          </a:p>
        </p:txBody>
      </p:sp>
      <p:grpSp>
        <p:nvGrpSpPr>
          <p:cNvPr id="55" name="Group 54">
            <a:extLst>
              <a:ext uri="{FF2B5EF4-FFF2-40B4-BE49-F238E27FC236}">
                <a16:creationId xmlns:a16="http://schemas.microsoft.com/office/drawing/2014/main" id="{F401C56D-8221-77CA-A91E-494EFBC879E5}"/>
              </a:ext>
            </a:extLst>
          </p:cNvPr>
          <p:cNvGrpSpPr/>
          <p:nvPr/>
        </p:nvGrpSpPr>
        <p:grpSpPr>
          <a:xfrm>
            <a:off x="8416182" y="1059803"/>
            <a:ext cx="858460" cy="673769"/>
            <a:chOff x="368907" y="1700531"/>
            <a:chExt cx="4038920" cy="4275927"/>
          </a:xfrm>
          <a:effectLst/>
        </p:grpSpPr>
        <p:sp>
          <p:nvSpPr>
            <p:cNvPr id="57" name="Isosceles Triangle 62">
              <a:extLst>
                <a:ext uri="{FF2B5EF4-FFF2-40B4-BE49-F238E27FC236}">
                  <a16:creationId xmlns:a16="http://schemas.microsoft.com/office/drawing/2014/main" id="{87983369-1FA1-59D6-192D-7BE56CD467F3}"/>
                </a:ext>
              </a:extLst>
            </p:cNvPr>
            <p:cNvSpPr/>
            <p:nvPr/>
          </p:nvSpPr>
          <p:spPr>
            <a:xfrm>
              <a:off x="1106945" y="2957333"/>
              <a:ext cx="2556494" cy="1456051"/>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481647" y="2614"/>
                  </a:lnTo>
                  <a:lnTo>
                    <a:pt x="1325344" y="0"/>
                  </a:lnTo>
                  <a:lnTo>
                    <a:pt x="1810264" y="968810"/>
                  </a:lnTo>
                  <a:lnTo>
                    <a:pt x="0" y="968810"/>
                  </a:lnTo>
                  <a:close/>
                </a:path>
              </a:pathLst>
            </a:cu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grpSp>
          <p:nvGrpSpPr>
            <p:cNvPr id="58" name="Group 57">
              <a:extLst>
                <a:ext uri="{FF2B5EF4-FFF2-40B4-BE49-F238E27FC236}">
                  <a16:creationId xmlns:a16="http://schemas.microsoft.com/office/drawing/2014/main" id="{65C14EAF-E822-537E-E65A-729B5AE7AA9D}"/>
                </a:ext>
              </a:extLst>
            </p:cNvPr>
            <p:cNvGrpSpPr/>
            <p:nvPr/>
          </p:nvGrpSpPr>
          <p:grpSpPr>
            <a:xfrm>
              <a:off x="368907" y="2954958"/>
              <a:ext cx="4038920" cy="3021500"/>
              <a:chOff x="364847" y="3312617"/>
              <a:chExt cx="4038920" cy="3021500"/>
            </a:xfrm>
          </p:grpSpPr>
          <p:cxnSp>
            <p:nvCxnSpPr>
              <p:cNvPr id="59" name="Straight Connector 58">
                <a:extLst>
                  <a:ext uri="{FF2B5EF4-FFF2-40B4-BE49-F238E27FC236}">
                    <a16:creationId xmlns:a16="http://schemas.microsoft.com/office/drawing/2014/main" id="{1ECDE37C-EE9E-5F0E-1878-57B09264C5B4}"/>
                  </a:ext>
                </a:extLst>
              </p:cNvPr>
              <p:cNvCxnSpPr>
                <a:cxnSpLocks/>
              </p:cNvCxnSpPr>
              <p:nvPr/>
            </p:nvCxnSpPr>
            <p:spPr>
              <a:xfrm>
                <a:off x="1110997" y="4771043"/>
                <a:ext cx="254556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60" name="Isosceles Triangle 62">
                <a:extLst>
                  <a:ext uri="{FF2B5EF4-FFF2-40B4-BE49-F238E27FC236}">
                    <a16:creationId xmlns:a16="http://schemas.microsoft.com/office/drawing/2014/main" id="{9AE975FB-D51D-C534-AAAF-5C2B8FFBF298}"/>
                  </a:ext>
                </a:extLst>
              </p:cNvPr>
              <p:cNvSpPr/>
              <p:nvPr/>
            </p:nvSpPr>
            <p:spPr>
              <a:xfrm>
                <a:off x="364847" y="4771043"/>
                <a:ext cx="4038920" cy="1562778"/>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476069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326400" y="396"/>
                    </a:lnTo>
                    <a:lnTo>
                      <a:pt x="1476069" y="0"/>
                    </a:lnTo>
                    <a:lnTo>
                      <a:pt x="1810264" y="968810"/>
                    </a:lnTo>
                    <a:lnTo>
                      <a:pt x="0" y="968810"/>
                    </a:lnTo>
                    <a:close/>
                  </a:path>
                </a:pathLst>
              </a:cu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cxnSp>
            <p:nvCxnSpPr>
              <p:cNvPr id="61" name="Straight Connector 60">
                <a:extLst>
                  <a:ext uri="{FF2B5EF4-FFF2-40B4-BE49-F238E27FC236}">
                    <a16:creationId xmlns:a16="http://schemas.microsoft.com/office/drawing/2014/main" id="{F7CDF57F-515A-FF7C-C783-58DC8D7D20E3}"/>
                  </a:ext>
                </a:extLst>
              </p:cNvPr>
              <p:cNvCxnSpPr>
                <a:cxnSpLocks/>
              </p:cNvCxnSpPr>
              <p:nvPr/>
            </p:nvCxnSpPr>
            <p:spPr>
              <a:xfrm flipH="1">
                <a:off x="1833796" y="3312617"/>
                <a:ext cx="287660" cy="148830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602A6C6-DCF1-18C4-7F23-C2AA9343AD5F}"/>
                  </a:ext>
                </a:extLst>
              </p:cNvPr>
              <p:cNvCxnSpPr>
                <a:cxnSpLocks/>
              </p:cNvCxnSpPr>
              <p:nvPr/>
            </p:nvCxnSpPr>
            <p:spPr>
              <a:xfrm>
                <a:off x="2562892" y="4771043"/>
                <a:ext cx="106051" cy="1562778"/>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9EDE8CF-51E4-3AF1-6F41-32992C49BF50}"/>
                  </a:ext>
                </a:extLst>
              </p:cNvPr>
              <p:cNvCxnSpPr>
                <a:cxnSpLocks/>
              </p:cNvCxnSpPr>
              <p:nvPr/>
            </p:nvCxnSpPr>
            <p:spPr>
              <a:xfrm flipH="1">
                <a:off x="2089604" y="4771042"/>
                <a:ext cx="76090" cy="156277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4" name="Straight Connector 6143">
                <a:extLst>
                  <a:ext uri="{FF2B5EF4-FFF2-40B4-BE49-F238E27FC236}">
                    <a16:creationId xmlns:a16="http://schemas.microsoft.com/office/drawing/2014/main" id="{81154FD4-4256-36B0-CC6C-C7AAC8DDFCD1}"/>
                  </a:ext>
                </a:extLst>
              </p:cNvPr>
              <p:cNvCxnSpPr>
                <a:cxnSpLocks/>
              </p:cNvCxnSpPr>
              <p:nvPr/>
            </p:nvCxnSpPr>
            <p:spPr>
              <a:xfrm flipH="1">
                <a:off x="957027" y="4771042"/>
                <a:ext cx="526604" cy="156277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5" name="Straight Connector 6144">
                <a:extLst>
                  <a:ext uri="{FF2B5EF4-FFF2-40B4-BE49-F238E27FC236}">
                    <a16:creationId xmlns:a16="http://schemas.microsoft.com/office/drawing/2014/main" id="{B63EAFE3-5EFD-1D2A-70CB-B8940D687286}"/>
                  </a:ext>
                </a:extLst>
              </p:cNvPr>
              <p:cNvCxnSpPr>
                <a:cxnSpLocks/>
              </p:cNvCxnSpPr>
              <p:nvPr/>
            </p:nvCxnSpPr>
            <p:spPr>
              <a:xfrm>
                <a:off x="2706590" y="3312617"/>
                <a:ext cx="267090" cy="145942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6" name="Straight Connector 6145">
                <a:extLst>
                  <a:ext uri="{FF2B5EF4-FFF2-40B4-BE49-F238E27FC236}">
                    <a16:creationId xmlns:a16="http://schemas.microsoft.com/office/drawing/2014/main" id="{8747FB74-DEE3-9F39-256E-ADC22D3D3CC5}"/>
                  </a:ext>
                </a:extLst>
              </p:cNvPr>
              <p:cNvCxnSpPr>
                <a:cxnSpLocks/>
              </p:cNvCxnSpPr>
              <p:nvPr/>
            </p:nvCxnSpPr>
            <p:spPr>
              <a:xfrm>
                <a:off x="3336756" y="4771043"/>
                <a:ext cx="506582" cy="1563074"/>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7" name="Straight Connector 6146">
                <a:extLst>
                  <a:ext uri="{FF2B5EF4-FFF2-40B4-BE49-F238E27FC236}">
                    <a16:creationId xmlns:a16="http://schemas.microsoft.com/office/drawing/2014/main" id="{680EA6D6-7664-B77A-DA11-A5F10E2B78B5}"/>
                  </a:ext>
                </a:extLst>
              </p:cNvPr>
              <p:cNvCxnSpPr>
                <a:cxnSpLocks/>
              </p:cNvCxnSpPr>
              <p:nvPr/>
            </p:nvCxnSpPr>
            <p:spPr>
              <a:xfrm flipH="1">
                <a:off x="1539549" y="4772039"/>
                <a:ext cx="300668" cy="156178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8" name="Straight Connector 6147">
                <a:extLst>
                  <a:ext uri="{FF2B5EF4-FFF2-40B4-BE49-F238E27FC236}">
                    <a16:creationId xmlns:a16="http://schemas.microsoft.com/office/drawing/2014/main" id="{FADEAB40-6DC6-F709-C2E4-FE402248FE17}"/>
                  </a:ext>
                </a:extLst>
              </p:cNvPr>
              <p:cNvCxnSpPr>
                <a:cxnSpLocks/>
              </p:cNvCxnSpPr>
              <p:nvPr/>
            </p:nvCxnSpPr>
            <p:spPr>
              <a:xfrm>
                <a:off x="2973680" y="4778378"/>
                <a:ext cx="284662" cy="155544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50" name="Straight Connector 6149">
                <a:extLst>
                  <a:ext uri="{FF2B5EF4-FFF2-40B4-BE49-F238E27FC236}">
                    <a16:creationId xmlns:a16="http://schemas.microsoft.com/office/drawing/2014/main" id="{A0DACDBA-1439-747C-CA6D-5388B2F69504}"/>
                  </a:ext>
                </a:extLst>
              </p:cNvPr>
              <p:cNvCxnSpPr>
                <a:cxnSpLocks/>
                <a:stCxn id="60" idx="1"/>
                <a:endCxn id="57" idx="3"/>
              </p:cNvCxnSpPr>
              <p:nvPr/>
            </p:nvCxnSpPr>
            <p:spPr>
              <a:xfrm flipV="1">
                <a:off x="1093085" y="4771043"/>
                <a:ext cx="2566294" cy="6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6" name="Isosceles Triangle 55">
              <a:extLst>
                <a:ext uri="{FF2B5EF4-FFF2-40B4-BE49-F238E27FC236}">
                  <a16:creationId xmlns:a16="http://schemas.microsoft.com/office/drawing/2014/main" id="{1D2D818B-68CC-B457-1CED-222AE309713F}"/>
                </a:ext>
              </a:extLst>
            </p:cNvPr>
            <p:cNvSpPr/>
            <p:nvPr/>
          </p:nvSpPr>
          <p:spPr>
            <a:xfrm>
              <a:off x="1792513" y="1700531"/>
              <a:ext cx="1191709" cy="1248079"/>
            </a:xfrm>
            <a:prstGeom prst="triangle">
              <a:avLst>
                <a:gd name="adj" fmla="val 49710"/>
              </a:avLst>
            </a:prstGeom>
            <a:solidFill>
              <a:srgbClr val="FFE4CD"/>
            </a:solidFill>
            <a:ln w="9525">
              <a:solidFill>
                <a:srgbClr val="FF834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grpSp>
      <p:sp>
        <p:nvSpPr>
          <p:cNvPr id="6183" name="Rectangle: Rounded Corners 6182">
            <a:extLst>
              <a:ext uri="{FF2B5EF4-FFF2-40B4-BE49-F238E27FC236}">
                <a16:creationId xmlns:a16="http://schemas.microsoft.com/office/drawing/2014/main" id="{81B3C9F1-3915-7604-7008-7FDD97886A7F}"/>
              </a:ext>
            </a:extLst>
          </p:cNvPr>
          <p:cNvSpPr/>
          <p:nvPr/>
        </p:nvSpPr>
        <p:spPr>
          <a:xfrm>
            <a:off x="156745" y="3126829"/>
            <a:ext cx="1725702" cy="1999891"/>
          </a:xfrm>
          <a:prstGeom prst="roundRect">
            <a:avLst>
              <a:gd name="adj" fmla="val 7284"/>
            </a:avLst>
          </a:prstGeom>
          <a:solidFill>
            <a:srgbClr val="FFFFFF"/>
          </a:solidFill>
          <a:ln w="19050" cap="flat" cmpd="sng" algn="ctr">
            <a:solidFill>
              <a:srgbClr val="1C3144"/>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86863"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FFFFFF"/>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sp>
        <p:nvSpPr>
          <p:cNvPr id="6184" name="Rectangle: Rounded Corners 6183">
            <a:extLst>
              <a:ext uri="{FF2B5EF4-FFF2-40B4-BE49-F238E27FC236}">
                <a16:creationId xmlns:a16="http://schemas.microsoft.com/office/drawing/2014/main" id="{47304F1D-52BD-41A0-7D9B-B00E830260F5}"/>
              </a:ext>
            </a:extLst>
          </p:cNvPr>
          <p:cNvSpPr/>
          <p:nvPr/>
        </p:nvSpPr>
        <p:spPr>
          <a:xfrm>
            <a:off x="2316476" y="1535837"/>
            <a:ext cx="3275658" cy="1593124"/>
          </a:xfrm>
          <a:prstGeom prst="roundRect">
            <a:avLst>
              <a:gd name="adj" fmla="val 5349"/>
            </a:avLst>
          </a:prstGeom>
          <a:noFill/>
          <a:ln w="19050" cap="flat" cmpd="sng" algn="ctr">
            <a:solidFill>
              <a:srgbClr val="1C3144"/>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08395" marR="0" lvl="0" indent="-308395" algn="l" defTabSz="986863" eaLnBrk="1" fontAlgn="auto" latinLnBrk="0" hangingPunct="1">
              <a:lnSpc>
                <a:spcPct val="100000"/>
              </a:lnSpc>
              <a:spcBef>
                <a:spcPct val="0"/>
              </a:spcBef>
              <a:spcAft>
                <a:spcPct val="0"/>
              </a:spcAft>
              <a:buClrTx/>
              <a:buSzTx/>
              <a:buFont typeface="Arial" pitchFamily="34" charset="0"/>
              <a:buChar char="•"/>
              <a:tabLst/>
              <a:defRPr/>
            </a:pPr>
            <a:endParaRPr kumimoji="0" lang="en-GB" sz="1100" b="0" i="0" u="none" strike="noStrike" kern="0" cap="none" spc="0" normalizeH="0" baseline="0" noProof="0">
              <a:ln>
                <a:noFill/>
              </a:ln>
              <a:solidFill>
                <a:srgbClr val="5E5E5E">
                  <a:lumMod val="50000"/>
                </a:srgbClr>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sp>
        <p:nvSpPr>
          <p:cNvPr id="6185" name="Rectangle: Rounded Corners 6184">
            <a:extLst>
              <a:ext uri="{FF2B5EF4-FFF2-40B4-BE49-F238E27FC236}">
                <a16:creationId xmlns:a16="http://schemas.microsoft.com/office/drawing/2014/main" id="{FF5B014B-03D7-0F84-9A88-FB15C8A6B64E}"/>
              </a:ext>
            </a:extLst>
          </p:cNvPr>
          <p:cNvSpPr/>
          <p:nvPr/>
        </p:nvSpPr>
        <p:spPr>
          <a:xfrm>
            <a:off x="2316476" y="3210883"/>
            <a:ext cx="3275658" cy="1627532"/>
          </a:xfrm>
          <a:prstGeom prst="roundRect">
            <a:avLst>
              <a:gd name="adj" fmla="val 3777"/>
            </a:avLst>
          </a:prstGeom>
          <a:noFill/>
          <a:ln w="19050" cap="flat" cmpd="sng" algn="ctr">
            <a:solidFill>
              <a:srgbClr val="1C3144"/>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08395" marR="0" lvl="0" indent="-308395" algn="l" defTabSz="986863" eaLnBrk="1" fontAlgn="auto" latinLnBrk="0" hangingPunct="1">
              <a:lnSpc>
                <a:spcPct val="100000"/>
              </a:lnSpc>
              <a:spcBef>
                <a:spcPct val="0"/>
              </a:spcBef>
              <a:spcAft>
                <a:spcPct val="0"/>
              </a:spcAft>
              <a:buClrTx/>
              <a:buSzTx/>
              <a:buFont typeface="Arial" pitchFamily="34" charset="0"/>
              <a:buChar char="•"/>
              <a:tabLst/>
              <a:defRPr/>
            </a:pPr>
            <a:endParaRPr kumimoji="0" lang="en-GB" sz="1100" b="0" i="0" u="none" strike="noStrike" kern="0" cap="none" spc="0" normalizeH="0" baseline="0" noProof="0">
              <a:ln>
                <a:noFill/>
              </a:ln>
              <a:solidFill>
                <a:srgbClr val="5E5E5E">
                  <a:lumMod val="50000"/>
                </a:srgbClr>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sp>
        <p:nvSpPr>
          <p:cNvPr id="6186" name="Rectangle: Rounded Corners 6185">
            <a:extLst>
              <a:ext uri="{FF2B5EF4-FFF2-40B4-BE49-F238E27FC236}">
                <a16:creationId xmlns:a16="http://schemas.microsoft.com/office/drawing/2014/main" id="{8DF0318A-141F-E6C6-095F-CCF120EA08C8}"/>
              </a:ext>
            </a:extLst>
          </p:cNvPr>
          <p:cNvSpPr/>
          <p:nvPr/>
        </p:nvSpPr>
        <p:spPr>
          <a:xfrm>
            <a:off x="2316476" y="4920339"/>
            <a:ext cx="3275658" cy="1627532"/>
          </a:xfrm>
          <a:prstGeom prst="roundRect">
            <a:avLst>
              <a:gd name="adj" fmla="val 4406"/>
            </a:avLst>
          </a:prstGeom>
          <a:noFill/>
          <a:ln w="19050" cap="flat" cmpd="sng" algn="ctr">
            <a:solidFill>
              <a:srgbClr val="1C3144"/>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08395" marR="0" lvl="0" indent="-308395" algn="l" defTabSz="986863" eaLnBrk="1" fontAlgn="auto" latinLnBrk="0" hangingPunct="1">
              <a:lnSpc>
                <a:spcPct val="100000"/>
              </a:lnSpc>
              <a:spcBef>
                <a:spcPct val="0"/>
              </a:spcBef>
              <a:spcAft>
                <a:spcPct val="0"/>
              </a:spcAft>
              <a:buClrTx/>
              <a:buSzTx/>
              <a:buFont typeface="Arial" pitchFamily="34" charset="0"/>
              <a:buChar char="•"/>
              <a:tabLst/>
              <a:defRPr/>
            </a:pPr>
            <a:endParaRPr kumimoji="0" lang="en-GB" sz="1100" b="0" i="0" u="none" strike="noStrike" kern="0" cap="none" spc="0" normalizeH="0" baseline="0" noProof="0">
              <a:ln>
                <a:noFill/>
              </a:ln>
              <a:solidFill>
                <a:srgbClr val="5E5E5E">
                  <a:lumMod val="50000"/>
                </a:srgbClr>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sp>
        <p:nvSpPr>
          <p:cNvPr id="6187" name="Rectangle 6186">
            <a:extLst>
              <a:ext uri="{FF2B5EF4-FFF2-40B4-BE49-F238E27FC236}">
                <a16:creationId xmlns:a16="http://schemas.microsoft.com/office/drawing/2014/main" id="{4696D614-C3EA-49F9-20C2-55FD0A83A042}"/>
              </a:ext>
            </a:extLst>
          </p:cNvPr>
          <p:cNvSpPr/>
          <p:nvPr/>
        </p:nvSpPr>
        <p:spPr>
          <a:xfrm flipV="1">
            <a:off x="3834706" y="5602537"/>
            <a:ext cx="440250" cy="229112"/>
          </a:xfrm>
          <a:prstGeom prst="rect">
            <a:avLst/>
          </a:prstGeom>
          <a:solidFill>
            <a:srgbClr val="FF710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86863"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FFFFFF"/>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sp>
        <p:nvSpPr>
          <p:cNvPr id="6188" name="Rectangle 6187">
            <a:extLst>
              <a:ext uri="{FF2B5EF4-FFF2-40B4-BE49-F238E27FC236}">
                <a16:creationId xmlns:a16="http://schemas.microsoft.com/office/drawing/2014/main" id="{70412B45-C426-6C05-03B7-B59C768D273B}"/>
              </a:ext>
            </a:extLst>
          </p:cNvPr>
          <p:cNvSpPr/>
          <p:nvPr/>
        </p:nvSpPr>
        <p:spPr>
          <a:xfrm flipV="1">
            <a:off x="3842984" y="1983205"/>
            <a:ext cx="440250" cy="407900"/>
          </a:xfrm>
          <a:prstGeom prst="rect">
            <a:avLst/>
          </a:prstGeom>
          <a:solidFill>
            <a:srgbClr val="FF710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86863"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FFFFFF"/>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sp>
        <p:nvSpPr>
          <p:cNvPr id="6189" name="Rectangle 6188">
            <a:extLst>
              <a:ext uri="{FF2B5EF4-FFF2-40B4-BE49-F238E27FC236}">
                <a16:creationId xmlns:a16="http://schemas.microsoft.com/office/drawing/2014/main" id="{AEFB3EFB-FBD4-E1D3-4BDD-0037EDDAD002}"/>
              </a:ext>
            </a:extLst>
          </p:cNvPr>
          <p:cNvSpPr/>
          <p:nvPr/>
        </p:nvSpPr>
        <p:spPr>
          <a:xfrm flipV="1">
            <a:off x="3851329" y="3897119"/>
            <a:ext cx="440250" cy="432256"/>
          </a:xfrm>
          <a:prstGeom prst="rect">
            <a:avLst/>
          </a:prstGeom>
          <a:solidFill>
            <a:srgbClr val="FF710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86863"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FFFFFF"/>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cxnSp>
        <p:nvCxnSpPr>
          <p:cNvPr id="6190" name="Straight Connector 6189">
            <a:extLst>
              <a:ext uri="{FF2B5EF4-FFF2-40B4-BE49-F238E27FC236}">
                <a16:creationId xmlns:a16="http://schemas.microsoft.com/office/drawing/2014/main" id="{A80EE96D-3231-BE1E-FE26-250DC2115905}"/>
              </a:ext>
            </a:extLst>
          </p:cNvPr>
          <p:cNvCxnSpPr/>
          <p:nvPr/>
        </p:nvCxnSpPr>
        <p:spPr>
          <a:xfrm flipV="1">
            <a:off x="204316" y="4669424"/>
            <a:ext cx="1545763" cy="8492"/>
          </a:xfrm>
          <a:prstGeom prst="line">
            <a:avLst/>
          </a:prstGeom>
          <a:noFill/>
          <a:ln w="6350" cap="flat" cmpd="sng" algn="ctr">
            <a:solidFill>
              <a:srgbClr val="5E5E5E">
                <a:lumMod val="50000"/>
              </a:srgbClr>
            </a:solidFill>
            <a:prstDash val="solid"/>
            <a:miter lim="800000"/>
          </a:ln>
          <a:effectLst/>
        </p:spPr>
      </p:cxnSp>
      <p:sp>
        <p:nvSpPr>
          <p:cNvPr id="6191" name="Rectangle 6190">
            <a:extLst>
              <a:ext uri="{FF2B5EF4-FFF2-40B4-BE49-F238E27FC236}">
                <a16:creationId xmlns:a16="http://schemas.microsoft.com/office/drawing/2014/main" id="{2F1BDBD0-C92D-1814-ACAE-3B01C75D3E3A}"/>
              </a:ext>
            </a:extLst>
          </p:cNvPr>
          <p:cNvSpPr/>
          <p:nvPr/>
        </p:nvSpPr>
        <p:spPr>
          <a:xfrm>
            <a:off x="322767" y="3818204"/>
            <a:ext cx="440250" cy="861537"/>
          </a:xfrm>
          <a:prstGeom prst="rect">
            <a:avLst/>
          </a:prstGeom>
          <a:solidFill>
            <a:srgbClr val="FF7101"/>
          </a:solidFill>
          <a:ln w="12700" cap="flat" cmpd="sng" algn="ctr">
            <a:solidFill>
              <a:srgbClr val="5E5E5E">
                <a:lumMod val="50000"/>
              </a:srgb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86863"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FFFFFF"/>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sp>
        <p:nvSpPr>
          <p:cNvPr id="6192" name="Rectangle 6191">
            <a:extLst>
              <a:ext uri="{FF2B5EF4-FFF2-40B4-BE49-F238E27FC236}">
                <a16:creationId xmlns:a16="http://schemas.microsoft.com/office/drawing/2014/main" id="{0CF46CFE-A191-00DD-6BCE-869A18182487}"/>
              </a:ext>
            </a:extLst>
          </p:cNvPr>
          <p:cNvSpPr/>
          <p:nvPr/>
        </p:nvSpPr>
        <p:spPr>
          <a:xfrm>
            <a:off x="1086366" y="4069251"/>
            <a:ext cx="440250" cy="599028"/>
          </a:xfrm>
          <a:prstGeom prst="rect">
            <a:avLst/>
          </a:prstGeom>
          <a:solidFill>
            <a:srgbClr val="FF7101"/>
          </a:solidFill>
          <a:ln w="12700" cap="flat" cmpd="sng" algn="ctr">
            <a:solidFill>
              <a:srgbClr val="5E5E5E">
                <a:lumMod val="50000"/>
              </a:srgb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86863"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FFFFFF"/>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cxnSp>
        <p:nvCxnSpPr>
          <p:cNvPr id="6193" name="Straight Connector 6192">
            <a:extLst>
              <a:ext uri="{FF2B5EF4-FFF2-40B4-BE49-F238E27FC236}">
                <a16:creationId xmlns:a16="http://schemas.microsoft.com/office/drawing/2014/main" id="{760F106C-B5DB-6BC3-0B8D-AE76A1486F89}"/>
              </a:ext>
            </a:extLst>
          </p:cNvPr>
          <p:cNvCxnSpPr/>
          <p:nvPr/>
        </p:nvCxnSpPr>
        <p:spPr>
          <a:xfrm>
            <a:off x="280004" y="4069360"/>
            <a:ext cx="1470076" cy="0"/>
          </a:xfrm>
          <a:prstGeom prst="line">
            <a:avLst/>
          </a:prstGeom>
          <a:noFill/>
          <a:ln w="6350" cap="flat" cmpd="sng" algn="ctr">
            <a:solidFill>
              <a:srgbClr val="5E5E5E">
                <a:lumMod val="50000"/>
              </a:srgbClr>
            </a:solidFill>
            <a:prstDash val="lgDash"/>
            <a:miter lim="800000"/>
          </a:ln>
          <a:effectLst/>
        </p:spPr>
      </p:cxnSp>
      <p:cxnSp>
        <p:nvCxnSpPr>
          <p:cNvPr id="6194" name="Straight Connector 6193">
            <a:extLst>
              <a:ext uri="{FF2B5EF4-FFF2-40B4-BE49-F238E27FC236}">
                <a16:creationId xmlns:a16="http://schemas.microsoft.com/office/drawing/2014/main" id="{EBF74405-75F1-30D6-1881-6AD9567092E6}"/>
              </a:ext>
            </a:extLst>
          </p:cNvPr>
          <p:cNvCxnSpPr/>
          <p:nvPr/>
        </p:nvCxnSpPr>
        <p:spPr>
          <a:xfrm>
            <a:off x="280004" y="3807842"/>
            <a:ext cx="1470076" cy="0"/>
          </a:xfrm>
          <a:prstGeom prst="line">
            <a:avLst/>
          </a:prstGeom>
          <a:noFill/>
          <a:ln w="6350" cap="flat" cmpd="sng" algn="ctr">
            <a:solidFill>
              <a:srgbClr val="5E5E5E">
                <a:lumMod val="50000"/>
              </a:srgbClr>
            </a:solidFill>
            <a:prstDash val="lgDash"/>
            <a:miter lim="800000"/>
          </a:ln>
          <a:effectLst/>
        </p:spPr>
      </p:cxnSp>
      <p:sp>
        <p:nvSpPr>
          <p:cNvPr id="6195" name="TextBox 6194">
            <a:extLst>
              <a:ext uri="{FF2B5EF4-FFF2-40B4-BE49-F238E27FC236}">
                <a16:creationId xmlns:a16="http://schemas.microsoft.com/office/drawing/2014/main" id="{EF9AA056-40C3-CE87-D8DB-9A8347E7AE45}"/>
              </a:ext>
            </a:extLst>
          </p:cNvPr>
          <p:cNvSpPr txBox="1"/>
          <p:nvPr/>
        </p:nvSpPr>
        <p:spPr>
          <a:xfrm>
            <a:off x="717177" y="3818644"/>
            <a:ext cx="1119319"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6863">
              <a:spcBef>
                <a:spcPct val="0"/>
              </a:spcBef>
              <a:spcAft>
                <a:spcPct val="0"/>
              </a:spcAft>
              <a:defRPr/>
            </a:pPr>
            <a:r>
              <a:rPr lang="en-GB" sz="1000" b="1" kern="0" noProof="0">
                <a:solidFill>
                  <a:srgbClr val="262322"/>
                </a:solidFill>
                <a:latin typeface="Avenir Next LT Pro" panose="020B0504020202020204" pitchFamily="34" charset="0"/>
                <a:cs typeface="Calibri" panose="020F0502020204030204" pitchFamily="34" charset="0"/>
                <a:sym typeface="Avenir Next LT Pro" panose="020B0504020202020204" pitchFamily="34" charset="0"/>
              </a:rPr>
              <a:t>ADVANTAGE</a:t>
            </a:r>
          </a:p>
        </p:txBody>
      </p:sp>
      <p:sp>
        <p:nvSpPr>
          <p:cNvPr id="6196" name="TextBox 6195">
            <a:extLst>
              <a:ext uri="{FF2B5EF4-FFF2-40B4-BE49-F238E27FC236}">
                <a16:creationId xmlns:a16="http://schemas.microsoft.com/office/drawing/2014/main" id="{AAFDDEC0-6BA5-7A8A-7488-3071CA605F3E}"/>
              </a:ext>
            </a:extLst>
          </p:cNvPr>
          <p:cNvSpPr txBox="1"/>
          <p:nvPr/>
        </p:nvSpPr>
        <p:spPr>
          <a:xfrm>
            <a:off x="731839" y="4671034"/>
            <a:ext cx="1119319" cy="2616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6863">
              <a:spcBef>
                <a:spcPct val="0"/>
              </a:spcBef>
              <a:spcAft>
                <a:spcPct val="0"/>
              </a:spcAft>
              <a:defRPr/>
            </a:pPr>
            <a:r>
              <a:rPr lang="en-GB" sz="1050" b="1" kern="0" noProof="0">
                <a:solidFill>
                  <a:srgbClr val="262322"/>
                </a:solidFill>
                <a:latin typeface="Avenir Next LT Pro" panose="020B0504020202020204" pitchFamily="34" charset="0"/>
                <a:cs typeface="Calibri" panose="020F0502020204030204" pitchFamily="34" charset="0"/>
                <a:sym typeface="Avenir Next LT Pro" panose="020B0504020202020204" pitchFamily="34" charset="0"/>
              </a:rPr>
              <a:t>Industry</a:t>
            </a:r>
          </a:p>
        </p:txBody>
      </p:sp>
      <p:sp>
        <p:nvSpPr>
          <p:cNvPr id="6197" name="Rectangle 6196">
            <a:extLst>
              <a:ext uri="{FF2B5EF4-FFF2-40B4-BE49-F238E27FC236}">
                <a16:creationId xmlns:a16="http://schemas.microsoft.com/office/drawing/2014/main" id="{77EB3E35-E630-BFC2-37D3-DE330387BC14}"/>
              </a:ext>
            </a:extLst>
          </p:cNvPr>
          <p:cNvSpPr/>
          <p:nvPr/>
        </p:nvSpPr>
        <p:spPr>
          <a:xfrm flipV="1">
            <a:off x="3075345" y="1983204"/>
            <a:ext cx="440250" cy="646961"/>
          </a:xfrm>
          <a:prstGeom prst="rect">
            <a:avLst/>
          </a:prstGeom>
          <a:solidFill>
            <a:srgbClr val="FF710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86863"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FFFFFF"/>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cxnSp>
        <p:nvCxnSpPr>
          <p:cNvPr id="6198" name="Straight Connector 6197">
            <a:extLst>
              <a:ext uri="{FF2B5EF4-FFF2-40B4-BE49-F238E27FC236}">
                <a16:creationId xmlns:a16="http://schemas.microsoft.com/office/drawing/2014/main" id="{B31E7483-D566-0320-6406-BAC94DAF143A}"/>
              </a:ext>
            </a:extLst>
          </p:cNvPr>
          <p:cNvCxnSpPr/>
          <p:nvPr/>
        </p:nvCxnSpPr>
        <p:spPr>
          <a:xfrm>
            <a:off x="2768884" y="2836365"/>
            <a:ext cx="1805032" cy="1"/>
          </a:xfrm>
          <a:prstGeom prst="line">
            <a:avLst/>
          </a:prstGeom>
          <a:noFill/>
          <a:ln w="6350" cap="flat" cmpd="sng" algn="ctr">
            <a:solidFill>
              <a:srgbClr val="5E5E5E">
                <a:lumMod val="50000"/>
              </a:srgbClr>
            </a:solidFill>
            <a:prstDash val="solid"/>
            <a:miter lim="800000"/>
          </a:ln>
          <a:effectLst/>
        </p:spPr>
      </p:cxnSp>
      <p:sp>
        <p:nvSpPr>
          <p:cNvPr id="6199" name="Rectangle 6198">
            <a:extLst>
              <a:ext uri="{FF2B5EF4-FFF2-40B4-BE49-F238E27FC236}">
                <a16:creationId xmlns:a16="http://schemas.microsoft.com/office/drawing/2014/main" id="{B4754805-D84A-6834-3002-773BEBBE90A1}"/>
              </a:ext>
            </a:extLst>
          </p:cNvPr>
          <p:cNvSpPr/>
          <p:nvPr/>
        </p:nvSpPr>
        <p:spPr>
          <a:xfrm>
            <a:off x="3075345" y="1974813"/>
            <a:ext cx="440250" cy="861552"/>
          </a:xfrm>
          <a:prstGeom prst="rect">
            <a:avLst/>
          </a:prstGeom>
          <a:noFill/>
          <a:ln w="12700" cap="flat" cmpd="sng" algn="ctr">
            <a:solidFill>
              <a:srgbClr val="5E5E5E">
                <a:lumMod val="50000"/>
              </a:srgb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6863">
              <a:spcBef>
                <a:spcPct val="0"/>
              </a:spcBef>
              <a:spcAft>
                <a:spcPct val="0"/>
              </a:spcAft>
              <a:defRPr/>
            </a:pPr>
            <a:endParaRPr lang="en-GB" sz="1100" kern="0" noProof="0">
              <a:solidFill>
                <a:srgbClr val="FFFFFF"/>
              </a:solidFill>
              <a:latin typeface="Avenir Next LT Pro" panose="020B0504020202020204" pitchFamily="34" charset="0"/>
              <a:cs typeface="Calibri" panose="020F0502020204030204" pitchFamily="34" charset="0"/>
              <a:sym typeface="Avenir Next LT Pro" panose="020B0504020202020204" pitchFamily="34" charset="0"/>
            </a:endParaRPr>
          </a:p>
        </p:txBody>
      </p:sp>
      <p:sp>
        <p:nvSpPr>
          <p:cNvPr id="6200" name="Rectangle 6199">
            <a:extLst>
              <a:ext uri="{FF2B5EF4-FFF2-40B4-BE49-F238E27FC236}">
                <a16:creationId xmlns:a16="http://schemas.microsoft.com/office/drawing/2014/main" id="{781F364B-9EA0-1B17-8244-BD0B7897595C}"/>
              </a:ext>
            </a:extLst>
          </p:cNvPr>
          <p:cNvSpPr/>
          <p:nvPr/>
        </p:nvSpPr>
        <p:spPr>
          <a:xfrm>
            <a:off x="3838944" y="1974813"/>
            <a:ext cx="440250" cy="861552"/>
          </a:xfrm>
          <a:prstGeom prst="rect">
            <a:avLst/>
          </a:prstGeom>
          <a:noFill/>
          <a:ln w="12700" cap="flat" cmpd="sng" algn="ctr">
            <a:solidFill>
              <a:srgbClr val="5E5E5E">
                <a:lumMod val="50000"/>
              </a:srgb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6863">
              <a:spcBef>
                <a:spcPct val="0"/>
              </a:spcBef>
              <a:spcAft>
                <a:spcPct val="0"/>
              </a:spcAft>
              <a:defRPr/>
            </a:pPr>
            <a:endParaRPr lang="en-GB" sz="1100" kern="0" noProof="0">
              <a:solidFill>
                <a:srgbClr val="FFFFFF"/>
              </a:solidFill>
              <a:latin typeface="Avenir Next LT Pro" panose="020B0504020202020204" pitchFamily="34" charset="0"/>
              <a:cs typeface="Calibri" panose="020F0502020204030204" pitchFamily="34" charset="0"/>
              <a:sym typeface="Avenir Next LT Pro" panose="020B0504020202020204" pitchFamily="34" charset="0"/>
            </a:endParaRPr>
          </a:p>
        </p:txBody>
      </p:sp>
      <p:cxnSp>
        <p:nvCxnSpPr>
          <p:cNvPr id="6201" name="Straight Connector 6200">
            <a:extLst>
              <a:ext uri="{FF2B5EF4-FFF2-40B4-BE49-F238E27FC236}">
                <a16:creationId xmlns:a16="http://schemas.microsoft.com/office/drawing/2014/main" id="{3409DDEC-AB4E-B4DC-C54A-B055841133B5}"/>
              </a:ext>
            </a:extLst>
          </p:cNvPr>
          <p:cNvCxnSpPr/>
          <p:nvPr/>
        </p:nvCxnSpPr>
        <p:spPr>
          <a:xfrm>
            <a:off x="2809502" y="2616273"/>
            <a:ext cx="1727226" cy="0"/>
          </a:xfrm>
          <a:prstGeom prst="line">
            <a:avLst/>
          </a:prstGeom>
          <a:noFill/>
          <a:ln w="6350" cap="flat" cmpd="sng" algn="ctr">
            <a:solidFill>
              <a:srgbClr val="5E5E5E">
                <a:lumMod val="50000"/>
              </a:srgbClr>
            </a:solidFill>
            <a:prstDash val="lgDash"/>
            <a:miter lim="800000"/>
          </a:ln>
          <a:effectLst/>
        </p:spPr>
      </p:cxnSp>
      <p:cxnSp>
        <p:nvCxnSpPr>
          <p:cNvPr id="6202" name="Straight Connector 6201">
            <a:extLst>
              <a:ext uri="{FF2B5EF4-FFF2-40B4-BE49-F238E27FC236}">
                <a16:creationId xmlns:a16="http://schemas.microsoft.com/office/drawing/2014/main" id="{F59F2BD5-8DCB-82C1-15C1-BEEAF7B32BFC}"/>
              </a:ext>
            </a:extLst>
          </p:cNvPr>
          <p:cNvCxnSpPr/>
          <p:nvPr/>
        </p:nvCxnSpPr>
        <p:spPr>
          <a:xfrm>
            <a:off x="2809502" y="2391106"/>
            <a:ext cx="1727226" cy="0"/>
          </a:xfrm>
          <a:prstGeom prst="line">
            <a:avLst/>
          </a:prstGeom>
          <a:noFill/>
          <a:ln w="6350" cap="flat" cmpd="sng" algn="ctr">
            <a:solidFill>
              <a:srgbClr val="5E5E5E">
                <a:lumMod val="50000"/>
              </a:srgbClr>
            </a:solidFill>
            <a:prstDash val="lgDash"/>
            <a:miter lim="800000"/>
          </a:ln>
          <a:effectLst/>
        </p:spPr>
      </p:cxnSp>
      <p:sp>
        <p:nvSpPr>
          <p:cNvPr id="6203" name="TextBox 6202">
            <a:extLst>
              <a:ext uri="{FF2B5EF4-FFF2-40B4-BE49-F238E27FC236}">
                <a16:creationId xmlns:a16="http://schemas.microsoft.com/office/drawing/2014/main" id="{0C4E5E8C-25AC-FDE1-910A-542B3571FEB6}"/>
              </a:ext>
            </a:extLst>
          </p:cNvPr>
          <p:cNvSpPr txBox="1"/>
          <p:nvPr/>
        </p:nvSpPr>
        <p:spPr>
          <a:xfrm>
            <a:off x="4511662" y="2393482"/>
            <a:ext cx="1079248"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6863">
              <a:spcBef>
                <a:spcPct val="0"/>
              </a:spcBef>
              <a:spcAft>
                <a:spcPct val="0"/>
              </a:spcAft>
              <a:defRPr/>
            </a:pPr>
            <a:r>
              <a:rPr lang="en-GB" sz="1000" b="1" kern="0" noProof="0">
                <a:solidFill>
                  <a:srgbClr val="262322"/>
                </a:solidFill>
                <a:latin typeface="Avenir Next LT Pro" panose="020B0504020202020204" pitchFamily="34" charset="0"/>
                <a:cs typeface="Calibri" panose="020F0502020204030204" pitchFamily="34" charset="0"/>
                <a:sym typeface="Avenir Next LT Pro" panose="020B0504020202020204" pitchFamily="34" charset="0"/>
              </a:rPr>
              <a:t>ADVANTAGE</a:t>
            </a:r>
          </a:p>
        </p:txBody>
      </p:sp>
      <p:sp>
        <p:nvSpPr>
          <p:cNvPr id="6204" name="Rectangle 6203">
            <a:extLst>
              <a:ext uri="{FF2B5EF4-FFF2-40B4-BE49-F238E27FC236}">
                <a16:creationId xmlns:a16="http://schemas.microsoft.com/office/drawing/2014/main" id="{AB5E6DC5-DF0F-A8A6-5E12-2BF5FD633B6B}"/>
              </a:ext>
            </a:extLst>
          </p:cNvPr>
          <p:cNvSpPr/>
          <p:nvPr/>
        </p:nvSpPr>
        <p:spPr>
          <a:xfrm>
            <a:off x="4485598" y="2393502"/>
            <a:ext cx="77854" cy="225568"/>
          </a:xfrm>
          <a:prstGeom prst="rect">
            <a:avLst/>
          </a:prstGeom>
          <a:solidFill>
            <a:srgbClr val="486580"/>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86863"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FFFFFF"/>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sp>
        <p:nvSpPr>
          <p:cNvPr id="6205" name="TextBox 6204">
            <a:extLst>
              <a:ext uri="{FF2B5EF4-FFF2-40B4-BE49-F238E27FC236}">
                <a16:creationId xmlns:a16="http://schemas.microsoft.com/office/drawing/2014/main" id="{B0910D8A-29A7-6914-2DCB-EB153F0DA5B5}"/>
              </a:ext>
            </a:extLst>
          </p:cNvPr>
          <p:cNvSpPr txBox="1"/>
          <p:nvPr/>
        </p:nvSpPr>
        <p:spPr>
          <a:xfrm>
            <a:off x="2696290" y="2826116"/>
            <a:ext cx="1119318" cy="2616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6863">
              <a:spcBef>
                <a:spcPct val="0"/>
              </a:spcBef>
              <a:spcAft>
                <a:spcPct val="0"/>
              </a:spcAft>
              <a:defRPr/>
            </a:pPr>
            <a:r>
              <a:rPr lang="en-GB" sz="1050" kern="0" noProof="0">
                <a:solidFill>
                  <a:srgbClr val="5E5E5E">
                    <a:lumMod val="50000"/>
                  </a:srgbClr>
                </a:solidFill>
                <a:latin typeface="Avenir Next LT Pro" panose="020B0504020202020204" pitchFamily="34" charset="0"/>
                <a:cs typeface="Calibri" panose="020F0502020204030204" pitchFamily="34" charset="0"/>
                <a:sym typeface="Avenir Next LT Pro" panose="020B0504020202020204" pitchFamily="34" charset="0"/>
              </a:rPr>
              <a:t>Company</a:t>
            </a:r>
          </a:p>
        </p:txBody>
      </p:sp>
      <p:sp>
        <p:nvSpPr>
          <p:cNvPr id="6206" name="TextBox 6205">
            <a:extLst>
              <a:ext uri="{FF2B5EF4-FFF2-40B4-BE49-F238E27FC236}">
                <a16:creationId xmlns:a16="http://schemas.microsoft.com/office/drawing/2014/main" id="{43389625-787C-DA26-B258-01DF0F8706CB}"/>
              </a:ext>
            </a:extLst>
          </p:cNvPr>
          <p:cNvSpPr txBox="1"/>
          <p:nvPr/>
        </p:nvSpPr>
        <p:spPr>
          <a:xfrm>
            <a:off x="3546855" y="2848401"/>
            <a:ext cx="1119318" cy="2616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6863">
              <a:spcBef>
                <a:spcPct val="0"/>
              </a:spcBef>
              <a:spcAft>
                <a:spcPct val="0"/>
              </a:spcAft>
              <a:defRPr/>
            </a:pPr>
            <a:r>
              <a:rPr lang="en-GB" sz="1050" kern="0" noProof="0">
                <a:solidFill>
                  <a:srgbClr val="5E5E5E">
                    <a:lumMod val="50000"/>
                  </a:srgbClr>
                </a:solidFill>
                <a:latin typeface="Avenir Next LT Pro" panose="020B0504020202020204" pitchFamily="34" charset="0"/>
                <a:cs typeface="Calibri" panose="020F0502020204030204" pitchFamily="34" charset="0"/>
                <a:sym typeface="Avenir Next LT Pro" panose="020B0504020202020204" pitchFamily="34" charset="0"/>
              </a:rPr>
              <a:t>Industry</a:t>
            </a:r>
          </a:p>
        </p:txBody>
      </p:sp>
      <p:sp>
        <p:nvSpPr>
          <p:cNvPr id="6207" name="Rectangle 6206">
            <a:extLst>
              <a:ext uri="{FF2B5EF4-FFF2-40B4-BE49-F238E27FC236}">
                <a16:creationId xmlns:a16="http://schemas.microsoft.com/office/drawing/2014/main" id="{AF3AC14A-D245-765D-B04A-55B1EC2B8C43}"/>
              </a:ext>
            </a:extLst>
          </p:cNvPr>
          <p:cNvSpPr/>
          <p:nvPr/>
        </p:nvSpPr>
        <p:spPr>
          <a:xfrm>
            <a:off x="1750079" y="3808283"/>
            <a:ext cx="77854" cy="263470"/>
          </a:xfrm>
          <a:prstGeom prst="rect">
            <a:avLst/>
          </a:prstGeom>
          <a:solidFill>
            <a:srgbClr val="486580"/>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86863"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FFFFFF"/>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sp>
        <p:nvSpPr>
          <p:cNvPr id="6208" name="TextBox 6207">
            <a:extLst>
              <a:ext uri="{FF2B5EF4-FFF2-40B4-BE49-F238E27FC236}">
                <a16:creationId xmlns:a16="http://schemas.microsoft.com/office/drawing/2014/main" id="{B9DAFEEC-E42E-9C71-862D-05FE6E787E6A}"/>
              </a:ext>
            </a:extLst>
          </p:cNvPr>
          <p:cNvSpPr txBox="1"/>
          <p:nvPr/>
        </p:nvSpPr>
        <p:spPr>
          <a:xfrm>
            <a:off x="2292259" y="1830875"/>
            <a:ext cx="706038" cy="2616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86863">
              <a:spcBef>
                <a:spcPct val="0"/>
              </a:spcBef>
              <a:spcAft>
                <a:spcPct val="0"/>
              </a:spcAft>
              <a:defRPr/>
            </a:pPr>
            <a:r>
              <a:rPr lang="en-GB" sz="1050" kern="0" noProof="0">
                <a:solidFill>
                  <a:srgbClr val="5E5E5E">
                    <a:lumMod val="50000"/>
                  </a:srgbClr>
                </a:solidFill>
                <a:latin typeface="Avenir Next LT Pro" panose="020B0504020202020204" pitchFamily="34" charset="0"/>
                <a:cs typeface="Calibri" panose="020F0502020204030204" pitchFamily="34" charset="0"/>
                <a:sym typeface="Avenir Next LT Pro" panose="020B0504020202020204" pitchFamily="34" charset="0"/>
              </a:rPr>
              <a:t>Price</a:t>
            </a:r>
          </a:p>
        </p:txBody>
      </p:sp>
      <p:sp>
        <p:nvSpPr>
          <p:cNvPr id="6209" name="TextBox 6208">
            <a:extLst>
              <a:ext uri="{FF2B5EF4-FFF2-40B4-BE49-F238E27FC236}">
                <a16:creationId xmlns:a16="http://schemas.microsoft.com/office/drawing/2014/main" id="{3F64CF45-88DA-FFE0-E7CE-F18B8D8EA494}"/>
              </a:ext>
            </a:extLst>
          </p:cNvPr>
          <p:cNvSpPr txBox="1"/>
          <p:nvPr/>
        </p:nvSpPr>
        <p:spPr>
          <a:xfrm>
            <a:off x="2292258" y="2482893"/>
            <a:ext cx="697462" cy="2616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86863">
              <a:spcBef>
                <a:spcPct val="0"/>
              </a:spcBef>
              <a:spcAft>
                <a:spcPct val="0"/>
              </a:spcAft>
              <a:defRPr/>
            </a:pPr>
            <a:r>
              <a:rPr lang="en-GB" sz="1050" kern="0" noProof="0">
                <a:solidFill>
                  <a:srgbClr val="5E5E5E">
                    <a:lumMod val="50000"/>
                  </a:srgbClr>
                </a:solidFill>
                <a:latin typeface="Avenir Next LT Pro" panose="020B0504020202020204" pitchFamily="34" charset="0"/>
                <a:cs typeface="Calibri" panose="020F0502020204030204" pitchFamily="34" charset="0"/>
                <a:sym typeface="Avenir Next LT Pro" panose="020B0504020202020204" pitchFamily="34" charset="0"/>
              </a:rPr>
              <a:t>Cost</a:t>
            </a:r>
          </a:p>
        </p:txBody>
      </p:sp>
      <p:sp>
        <p:nvSpPr>
          <p:cNvPr id="6210" name="TextBox 6209">
            <a:extLst>
              <a:ext uri="{FF2B5EF4-FFF2-40B4-BE49-F238E27FC236}">
                <a16:creationId xmlns:a16="http://schemas.microsoft.com/office/drawing/2014/main" id="{B6EB989F-9DB0-5F37-C7CC-4028383CD53B}"/>
              </a:ext>
            </a:extLst>
          </p:cNvPr>
          <p:cNvSpPr txBox="1"/>
          <p:nvPr/>
        </p:nvSpPr>
        <p:spPr>
          <a:xfrm>
            <a:off x="158537" y="5200304"/>
            <a:ext cx="1723986" cy="408623"/>
          </a:xfrm>
          <a:prstGeom prst="roundRect">
            <a:avLst/>
          </a:prstGeom>
          <a:noFill/>
          <a:ln w="19050">
            <a:solidFill>
              <a:srgbClr val="1C3144"/>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86863" eaLnBrk="1" fontAlgn="auto"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a:ln>
                  <a:noFill/>
                </a:ln>
                <a:solidFill>
                  <a:srgbClr val="262322"/>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rPr>
              <a:t>Comparison at same volumes</a:t>
            </a:r>
          </a:p>
        </p:txBody>
      </p:sp>
      <p:sp>
        <p:nvSpPr>
          <p:cNvPr id="6211" name="TextBox 6210">
            <a:extLst>
              <a:ext uri="{FF2B5EF4-FFF2-40B4-BE49-F238E27FC236}">
                <a16:creationId xmlns:a16="http://schemas.microsoft.com/office/drawing/2014/main" id="{EDD5A2E9-5FDE-E259-BF45-FFF336F2E7D2}"/>
              </a:ext>
            </a:extLst>
          </p:cNvPr>
          <p:cNvSpPr txBox="1"/>
          <p:nvPr/>
        </p:nvSpPr>
        <p:spPr>
          <a:xfrm>
            <a:off x="156746" y="3199332"/>
            <a:ext cx="1694412" cy="2616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6863">
              <a:spcBef>
                <a:spcPct val="0"/>
              </a:spcBef>
              <a:spcAft>
                <a:spcPct val="0"/>
              </a:spcAft>
              <a:defRPr/>
            </a:pPr>
            <a:r>
              <a:rPr lang="en-GB" sz="1100" b="1" kern="0" noProof="0">
                <a:solidFill>
                  <a:srgbClr val="262322"/>
                </a:solidFill>
                <a:latin typeface="Avenir Next LT Pro" panose="020B0504020202020204" pitchFamily="34" charset="0"/>
                <a:cs typeface="Calibri" panose="020F0502020204030204" pitchFamily="34" charset="0"/>
                <a:sym typeface="Avenir Next LT Pro" panose="020B0504020202020204" pitchFamily="34" charset="0"/>
              </a:rPr>
              <a:t>ROIC</a:t>
            </a:r>
          </a:p>
        </p:txBody>
      </p:sp>
      <p:sp>
        <p:nvSpPr>
          <p:cNvPr id="6212" name="Rectangle: Rounded Corners 6211">
            <a:extLst>
              <a:ext uri="{FF2B5EF4-FFF2-40B4-BE49-F238E27FC236}">
                <a16:creationId xmlns:a16="http://schemas.microsoft.com/office/drawing/2014/main" id="{3017A995-B8A8-F9FD-72E1-12655D261D05}"/>
              </a:ext>
            </a:extLst>
          </p:cNvPr>
          <p:cNvSpPr/>
          <p:nvPr/>
        </p:nvSpPr>
        <p:spPr>
          <a:xfrm>
            <a:off x="5746456" y="1532749"/>
            <a:ext cx="2826448" cy="1593124"/>
          </a:xfrm>
          <a:prstGeom prst="roundRect">
            <a:avLst>
              <a:gd name="adj" fmla="val 4638"/>
            </a:avLst>
          </a:prstGeom>
          <a:noFill/>
          <a:ln w="19050" cap="flat" cmpd="sng" algn="ctr">
            <a:solidFill>
              <a:srgbClr val="1C3144"/>
            </a:solidFill>
            <a:prstDash val="solid"/>
            <a:miter lim="800000"/>
          </a:ln>
          <a:effectLst/>
        </p:spPr>
        <p:txBody>
          <a:bodyPr rot="0" spcFirstLastPara="0" vertOverflow="overflow" horzOverflow="overflow" vert="horz" wrap="square" lIns="98678" tIns="49340" rIns="98678" bIns="4934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08395" marR="0" lvl="0" indent="-308395" algn="l" defTabSz="646572" eaLnBrk="1" fontAlgn="base" latinLnBrk="0" hangingPunct="1">
              <a:lnSpc>
                <a:spcPct val="100000"/>
              </a:lnSpc>
              <a:spcBef>
                <a:spcPct val="0"/>
              </a:spcBef>
              <a:spcAft>
                <a:spcPts val="600"/>
              </a:spcAft>
              <a:buClrTx/>
              <a:buSzTx/>
              <a:buFont typeface="Arial" pitchFamily="34" charset="0"/>
              <a:buChar char="•"/>
              <a:tabLst/>
              <a:defRPr/>
            </a:pPr>
            <a:r>
              <a:rPr kumimoji="0" lang="en-GB" sz="1200" b="0" i="0" u="none" strike="noStrike" kern="0" cap="none" spc="0" normalizeH="0" baseline="0" noProof="0">
                <a:ln>
                  <a:noFill/>
                </a:ln>
                <a:solidFill>
                  <a:sysClr val="windowText" lastClr="000000"/>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rPr>
              <a:t>Similar pricing</a:t>
            </a:r>
          </a:p>
          <a:p>
            <a:pPr marL="308395" marR="0" lvl="0" indent="-308395" algn="l" defTabSz="646572" eaLnBrk="1" fontAlgn="base" latinLnBrk="0" hangingPunct="1">
              <a:lnSpc>
                <a:spcPct val="100000"/>
              </a:lnSpc>
              <a:spcBef>
                <a:spcPct val="0"/>
              </a:spcBef>
              <a:spcAft>
                <a:spcPts val="600"/>
              </a:spcAft>
              <a:buClrTx/>
              <a:buSzTx/>
              <a:buFont typeface="Arial" pitchFamily="34" charset="0"/>
              <a:buChar char="•"/>
              <a:tabLst/>
              <a:defRPr/>
            </a:pPr>
            <a:r>
              <a:rPr kumimoji="0" lang="en-GB" sz="1200" b="0" i="0" u="none" strike="noStrike" kern="0" cap="none" spc="0" normalizeH="0" baseline="0" noProof="0">
                <a:ln>
                  <a:noFill/>
                </a:ln>
                <a:solidFill>
                  <a:sysClr val="windowText" lastClr="000000"/>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rPr>
              <a:t>Different (LOWER) cost structure</a:t>
            </a:r>
          </a:p>
          <a:p>
            <a:pPr marL="308395" marR="0" lvl="0" indent="-308395" algn="l" defTabSz="646572" eaLnBrk="1" fontAlgn="base" latinLnBrk="0" hangingPunct="1">
              <a:lnSpc>
                <a:spcPct val="100000"/>
              </a:lnSpc>
              <a:spcBef>
                <a:spcPct val="0"/>
              </a:spcBef>
              <a:spcAft>
                <a:spcPts val="600"/>
              </a:spcAft>
              <a:buClrTx/>
              <a:buSzTx/>
              <a:buFont typeface="Arial" pitchFamily="34" charset="0"/>
              <a:buChar char="•"/>
              <a:tabLst/>
              <a:defRPr/>
            </a:pPr>
            <a:r>
              <a:rPr kumimoji="0" lang="en-GB" sz="1200" b="0" i="0" u="none" strike="noStrike" kern="0" cap="none" spc="0" normalizeH="0" baseline="0" noProof="0">
                <a:ln>
                  <a:noFill/>
                </a:ln>
                <a:solidFill>
                  <a:sysClr val="windowText" lastClr="000000"/>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rPr>
              <a:t>Advantage derived from cost</a:t>
            </a:r>
          </a:p>
        </p:txBody>
      </p:sp>
      <p:sp>
        <p:nvSpPr>
          <p:cNvPr id="6213" name="Rectangle: Rounded Corners 6212">
            <a:extLst>
              <a:ext uri="{FF2B5EF4-FFF2-40B4-BE49-F238E27FC236}">
                <a16:creationId xmlns:a16="http://schemas.microsoft.com/office/drawing/2014/main" id="{458E71B9-9FC8-EED8-FF98-7942F9956355}"/>
              </a:ext>
            </a:extLst>
          </p:cNvPr>
          <p:cNvSpPr/>
          <p:nvPr/>
        </p:nvSpPr>
        <p:spPr>
          <a:xfrm>
            <a:off x="5746457" y="3210883"/>
            <a:ext cx="2826448" cy="1627530"/>
          </a:xfrm>
          <a:prstGeom prst="roundRect">
            <a:avLst>
              <a:gd name="adj" fmla="val 3777"/>
            </a:avLst>
          </a:prstGeom>
          <a:noFill/>
          <a:ln w="19050" cap="flat" cmpd="sng" algn="ctr">
            <a:solidFill>
              <a:srgbClr val="1C3144"/>
            </a:solidFill>
            <a:prstDash val="solid"/>
            <a:miter lim="800000"/>
          </a:ln>
          <a:effectLst/>
        </p:spPr>
        <p:txBody>
          <a:bodyPr rot="0" spcFirstLastPara="0" vertOverflow="overflow" horzOverflow="overflow" vert="horz" wrap="square" lIns="98678" tIns="49340" rIns="98678" bIns="4934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08395" marR="0" lvl="0" indent="-308395" algn="l" defTabSz="646572" eaLnBrk="1" fontAlgn="base" latinLnBrk="0" hangingPunct="1">
              <a:lnSpc>
                <a:spcPct val="100000"/>
              </a:lnSpc>
              <a:spcBef>
                <a:spcPct val="0"/>
              </a:spcBef>
              <a:spcAft>
                <a:spcPts val="600"/>
              </a:spcAft>
              <a:buClrTx/>
              <a:buSzTx/>
              <a:buFont typeface="Arial" pitchFamily="34" charset="0"/>
              <a:buChar char="•"/>
              <a:tabLst/>
              <a:defRPr/>
            </a:pPr>
            <a:r>
              <a:rPr kumimoji="0" lang="en-GB" sz="1200" b="0" i="0" u="none" strike="noStrike" kern="0" cap="none" spc="0" normalizeH="0" baseline="0" noProof="0">
                <a:ln>
                  <a:noFill/>
                </a:ln>
                <a:solidFill>
                  <a:sysClr val="windowText" lastClr="000000"/>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rPr>
              <a:t>Different (HIGHER) pricing</a:t>
            </a:r>
          </a:p>
          <a:p>
            <a:pPr marL="308395" marR="0" lvl="0" indent="-308395" algn="l" defTabSz="646572" eaLnBrk="1" fontAlgn="base" latinLnBrk="0" hangingPunct="1">
              <a:lnSpc>
                <a:spcPct val="100000"/>
              </a:lnSpc>
              <a:spcBef>
                <a:spcPct val="0"/>
              </a:spcBef>
              <a:spcAft>
                <a:spcPts val="600"/>
              </a:spcAft>
              <a:buClrTx/>
              <a:buSzTx/>
              <a:buFont typeface="Arial" pitchFamily="34" charset="0"/>
              <a:buChar char="•"/>
              <a:tabLst/>
              <a:defRPr/>
            </a:pPr>
            <a:r>
              <a:rPr kumimoji="0" lang="en-GB" sz="1200" b="0" i="0" u="none" strike="noStrike" kern="0" cap="none" spc="0" normalizeH="0" baseline="0" noProof="0">
                <a:ln>
                  <a:noFill/>
                </a:ln>
                <a:solidFill>
                  <a:sysClr val="windowText" lastClr="000000"/>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rPr>
              <a:t>Similar cost structure</a:t>
            </a:r>
          </a:p>
          <a:p>
            <a:pPr marL="287835" marR="0" lvl="0" indent="-287835" algn="l" defTabSz="646572" eaLnBrk="1" fontAlgn="base" latinLnBrk="0" hangingPunct="1">
              <a:lnSpc>
                <a:spcPct val="100000"/>
              </a:lnSpc>
              <a:spcBef>
                <a:spcPct val="0"/>
              </a:spcBef>
              <a:spcAft>
                <a:spcPts val="600"/>
              </a:spcAft>
              <a:buClrTx/>
              <a:buSzTx/>
              <a:buFont typeface="Arial" pitchFamily="34" charset="0"/>
              <a:buChar char="•"/>
              <a:tabLst/>
              <a:defRPr/>
            </a:pPr>
            <a:r>
              <a:rPr kumimoji="0" lang="en-GB" sz="1200" b="0" i="0" u="none" strike="noStrike" kern="0" cap="none" spc="0" normalizeH="0" baseline="0" noProof="0">
                <a:ln>
                  <a:noFill/>
                </a:ln>
                <a:solidFill>
                  <a:sysClr val="windowText" lastClr="000000"/>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rPr>
              <a:t>Advantage derived from pricing</a:t>
            </a:r>
          </a:p>
        </p:txBody>
      </p:sp>
      <p:sp>
        <p:nvSpPr>
          <p:cNvPr id="6214" name="Rectangle: Rounded Corners 6213">
            <a:extLst>
              <a:ext uri="{FF2B5EF4-FFF2-40B4-BE49-F238E27FC236}">
                <a16:creationId xmlns:a16="http://schemas.microsoft.com/office/drawing/2014/main" id="{DEAC0AEA-4ACF-9E81-0102-77089E06B059}"/>
              </a:ext>
            </a:extLst>
          </p:cNvPr>
          <p:cNvSpPr/>
          <p:nvPr/>
        </p:nvSpPr>
        <p:spPr>
          <a:xfrm>
            <a:off x="5749457" y="4919442"/>
            <a:ext cx="2823966" cy="1627532"/>
          </a:xfrm>
          <a:prstGeom prst="roundRect">
            <a:avLst>
              <a:gd name="adj" fmla="val 4091"/>
            </a:avLst>
          </a:prstGeom>
          <a:noFill/>
          <a:ln w="19050" cap="flat" cmpd="sng" algn="ctr">
            <a:solidFill>
              <a:srgbClr val="1C3144"/>
            </a:solidFill>
            <a:prstDash val="solid"/>
            <a:miter lim="800000"/>
          </a:ln>
          <a:effectLst/>
        </p:spPr>
        <p:txBody>
          <a:bodyPr rot="0" spcFirstLastPara="0" vertOverflow="overflow" horzOverflow="overflow" vert="horz" wrap="square" lIns="98678" tIns="49340" rIns="98678" bIns="4934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08395" indent="-308395" defTabSz="646572" fontAlgn="base">
              <a:spcBef>
                <a:spcPct val="0"/>
              </a:spcBef>
              <a:spcAft>
                <a:spcPts val="600"/>
              </a:spcAft>
              <a:buFont typeface="Arial" pitchFamily="34" charset="0"/>
              <a:buChar char="•"/>
            </a:pPr>
            <a:endParaRPr lang="en-GB" sz="1200" kern="0" noProof="0">
              <a:solidFill>
                <a:sysClr val="windowText" lastClr="000000"/>
              </a:solidFill>
              <a:latin typeface="Avenir Next LT Pro" panose="020B0504020202020204" pitchFamily="34" charset="0"/>
              <a:cs typeface="Calibri" panose="020F0502020204030204" pitchFamily="34" charset="0"/>
              <a:sym typeface="Avenir Next LT Pro" panose="020B0504020202020204" pitchFamily="34" charset="0"/>
            </a:endParaRPr>
          </a:p>
          <a:p>
            <a:pPr marL="308395" indent="-308395" defTabSz="646572" fontAlgn="base">
              <a:spcBef>
                <a:spcPct val="0"/>
              </a:spcBef>
              <a:spcAft>
                <a:spcPts val="600"/>
              </a:spcAft>
              <a:buFont typeface="Arial" pitchFamily="34" charset="0"/>
              <a:buChar char="•"/>
            </a:pPr>
            <a:r>
              <a:rPr lang="en-GB" sz="1200" kern="0" noProof="0">
                <a:solidFill>
                  <a:sysClr val="windowText" lastClr="000000"/>
                </a:solidFill>
                <a:latin typeface="Avenir Next LT Pro" panose="020B0504020202020204" pitchFamily="34" charset="0"/>
                <a:cs typeface="Calibri" panose="020F0502020204030204" pitchFamily="34" charset="0"/>
                <a:sym typeface="Avenir Next LT Pro" panose="020B0504020202020204" pitchFamily="34" charset="0"/>
              </a:rPr>
              <a:t>Different pricing</a:t>
            </a:r>
          </a:p>
          <a:p>
            <a:pPr marL="308395" indent="-308395" defTabSz="646572" fontAlgn="base">
              <a:spcBef>
                <a:spcPct val="0"/>
              </a:spcBef>
              <a:spcAft>
                <a:spcPts val="600"/>
              </a:spcAft>
              <a:buFont typeface="Arial" pitchFamily="34" charset="0"/>
              <a:buChar char="•"/>
            </a:pPr>
            <a:r>
              <a:rPr lang="en-GB" sz="1200" kern="0" noProof="0">
                <a:solidFill>
                  <a:sysClr val="windowText" lastClr="000000"/>
                </a:solidFill>
                <a:latin typeface="Avenir Next LT Pro" panose="020B0504020202020204" pitchFamily="34" charset="0"/>
                <a:cs typeface="Calibri" panose="020F0502020204030204" pitchFamily="34" charset="0"/>
                <a:sym typeface="Avenir Next LT Pro" panose="020B0504020202020204" pitchFamily="34" charset="0"/>
              </a:rPr>
              <a:t>Different cost structure</a:t>
            </a:r>
          </a:p>
          <a:p>
            <a:pPr marL="308395" indent="-308395" defTabSz="646572" fontAlgn="base">
              <a:spcBef>
                <a:spcPct val="0"/>
              </a:spcBef>
              <a:spcAft>
                <a:spcPts val="600"/>
              </a:spcAft>
              <a:buFont typeface="Arial" pitchFamily="34" charset="0"/>
              <a:buChar char="•"/>
            </a:pPr>
            <a:r>
              <a:rPr lang="en-GB" sz="1200" kern="0" noProof="0">
                <a:solidFill>
                  <a:sysClr val="windowText" lastClr="000000"/>
                </a:solidFill>
                <a:latin typeface="Avenir Next LT Pro" panose="020B0504020202020204" pitchFamily="34" charset="0"/>
                <a:cs typeface="Calibri" panose="020F0502020204030204" pitchFamily="34" charset="0"/>
                <a:sym typeface="Avenir Next LT Pro" panose="020B0504020202020204" pitchFamily="34" charset="0"/>
              </a:rPr>
              <a:t>Advantage derived from both pricing and cost structure</a:t>
            </a:r>
          </a:p>
          <a:p>
            <a:pPr marL="308395" indent="-308395" defTabSz="646572" fontAlgn="base">
              <a:spcBef>
                <a:spcPct val="0"/>
              </a:spcBef>
              <a:spcAft>
                <a:spcPts val="600"/>
              </a:spcAft>
              <a:buFont typeface="Arial" pitchFamily="34" charset="0"/>
              <a:buChar char="•"/>
            </a:pPr>
            <a:r>
              <a:rPr lang="en-GB" sz="1200" kern="0" noProof="0">
                <a:solidFill>
                  <a:sysClr val="windowText" lastClr="000000"/>
                </a:solidFill>
                <a:latin typeface="Avenir Next LT Pro" panose="020B0504020202020204" pitchFamily="34" charset="0"/>
                <a:cs typeface="Calibri" panose="020F0502020204030204" pitchFamily="34" charset="0"/>
                <a:sym typeface="Avenir Next LT Pro" panose="020B0504020202020204" pitchFamily="34" charset="0"/>
              </a:rPr>
              <a:t>Creation of new, </a:t>
            </a:r>
            <a:r>
              <a:rPr lang="en-GB" sz="1200" kern="0" noProof="0" err="1">
                <a:solidFill>
                  <a:sysClr val="windowText" lastClr="000000"/>
                </a:solidFill>
                <a:latin typeface="Avenir Next LT Pro" panose="020B0504020202020204" pitchFamily="34" charset="0"/>
                <a:cs typeface="Calibri" panose="020F0502020204030204" pitchFamily="34" charset="0"/>
                <a:sym typeface="Avenir Next LT Pro" panose="020B0504020202020204" pitchFamily="34" charset="0"/>
              </a:rPr>
              <a:t>unconstested</a:t>
            </a:r>
            <a:r>
              <a:rPr lang="en-GB" sz="1200" kern="0" noProof="0">
                <a:solidFill>
                  <a:sysClr val="windowText" lastClr="000000"/>
                </a:solidFill>
                <a:latin typeface="Avenir Next LT Pro" panose="020B0504020202020204" pitchFamily="34" charset="0"/>
                <a:cs typeface="Calibri" panose="020F0502020204030204" pitchFamily="34" charset="0"/>
                <a:sym typeface="Avenir Next LT Pro" panose="020B0504020202020204" pitchFamily="34" charset="0"/>
              </a:rPr>
              <a:t> market spaces</a:t>
            </a:r>
          </a:p>
        </p:txBody>
      </p:sp>
      <p:sp>
        <p:nvSpPr>
          <p:cNvPr id="6215" name="Rectangle 6214">
            <a:extLst>
              <a:ext uri="{FF2B5EF4-FFF2-40B4-BE49-F238E27FC236}">
                <a16:creationId xmlns:a16="http://schemas.microsoft.com/office/drawing/2014/main" id="{15A8F84C-453D-0405-AA73-9C3A2F25C1C0}"/>
              </a:ext>
            </a:extLst>
          </p:cNvPr>
          <p:cNvSpPr/>
          <p:nvPr/>
        </p:nvSpPr>
        <p:spPr>
          <a:xfrm flipV="1">
            <a:off x="3087730" y="3686865"/>
            <a:ext cx="440250" cy="642897"/>
          </a:xfrm>
          <a:prstGeom prst="rect">
            <a:avLst/>
          </a:prstGeom>
          <a:solidFill>
            <a:srgbClr val="FF710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86863"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FFFFFF"/>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cxnSp>
        <p:nvCxnSpPr>
          <p:cNvPr id="6216" name="Straight Connector 6215">
            <a:extLst>
              <a:ext uri="{FF2B5EF4-FFF2-40B4-BE49-F238E27FC236}">
                <a16:creationId xmlns:a16="http://schemas.microsoft.com/office/drawing/2014/main" id="{5169103D-A9E9-F6BC-4F84-AF14DD072B5B}"/>
              </a:ext>
            </a:extLst>
          </p:cNvPr>
          <p:cNvCxnSpPr/>
          <p:nvPr/>
        </p:nvCxnSpPr>
        <p:spPr>
          <a:xfrm>
            <a:off x="2781268" y="4552476"/>
            <a:ext cx="1805032" cy="1"/>
          </a:xfrm>
          <a:prstGeom prst="line">
            <a:avLst/>
          </a:prstGeom>
          <a:noFill/>
          <a:ln w="6350" cap="flat" cmpd="sng" algn="ctr">
            <a:solidFill>
              <a:srgbClr val="5E5E5E">
                <a:lumMod val="50000"/>
              </a:srgbClr>
            </a:solidFill>
            <a:prstDash val="solid"/>
            <a:miter lim="800000"/>
          </a:ln>
          <a:effectLst/>
        </p:spPr>
      </p:cxnSp>
      <p:sp>
        <p:nvSpPr>
          <p:cNvPr id="6217" name="Rectangle 6216">
            <a:extLst>
              <a:ext uri="{FF2B5EF4-FFF2-40B4-BE49-F238E27FC236}">
                <a16:creationId xmlns:a16="http://schemas.microsoft.com/office/drawing/2014/main" id="{5B207863-83A8-3AA8-2874-571831DE596E}"/>
              </a:ext>
            </a:extLst>
          </p:cNvPr>
          <p:cNvSpPr/>
          <p:nvPr/>
        </p:nvSpPr>
        <p:spPr>
          <a:xfrm>
            <a:off x="3087730" y="3690924"/>
            <a:ext cx="440250" cy="861552"/>
          </a:xfrm>
          <a:prstGeom prst="rect">
            <a:avLst/>
          </a:prstGeom>
          <a:noFill/>
          <a:ln w="12700" cap="flat" cmpd="sng" algn="ctr">
            <a:solidFill>
              <a:srgbClr val="5E5E5E">
                <a:lumMod val="50000"/>
              </a:srgb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6863">
              <a:spcBef>
                <a:spcPct val="0"/>
              </a:spcBef>
              <a:spcAft>
                <a:spcPct val="0"/>
              </a:spcAft>
              <a:defRPr/>
            </a:pPr>
            <a:endParaRPr lang="en-GB" sz="1100" kern="0" noProof="0">
              <a:solidFill>
                <a:srgbClr val="FFFFFF"/>
              </a:solidFill>
              <a:latin typeface="Avenir Next LT Pro" panose="020B0504020202020204" pitchFamily="34" charset="0"/>
              <a:cs typeface="Calibri" panose="020F0502020204030204" pitchFamily="34" charset="0"/>
              <a:sym typeface="Avenir Next LT Pro" panose="020B0504020202020204" pitchFamily="34" charset="0"/>
            </a:endParaRPr>
          </a:p>
        </p:txBody>
      </p:sp>
      <p:sp>
        <p:nvSpPr>
          <p:cNvPr id="6218" name="Rectangle 6217">
            <a:extLst>
              <a:ext uri="{FF2B5EF4-FFF2-40B4-BE49-F238E27FC236}">
                <a16:creationId xmlns:a16="http://schemas.microsoft.com/office/drawing/2014/main" id="{92D9425D-7F0C-86AD-C3DB-BF0491B69A7C}"/>
              </a:ext>
            </a:extLst>
          </p:cNvPr>
          <p:cNvSpPr/>
          <p:nvPr/>
        </p:nvSpPr>
        <p:spPr>
          <a:xfrm>
            <a:off x="3851329" y="3892590"/>
            <a:ext cx="440250" cy="659885"/>
          </a:xfrm>
          <a:prstGeom prst="rect">
            <a:avLst/>
          </a:prstGeom>
          <a:noFill/>
          <a:ln w="12700" cap="flat" cmpd="sng" algn="ctr">
            <a:solidFill>
              <a:srgbClr val="5E5E5E">
                <a:lumMod val="50000"/>
              </a:srgb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6863">
              <a:spcBef>
                <a:spcPct val="0"/>
              </a:spcBef>
              <a:spcAft>
                <a:spcPct val="0"/>
              </a:spcAft>
              <a:defRPr/>
            </a:pPr>
            <a:endParaRPr lang="en-GB" sz="1100" kern="0" noProof="0">
              <a:solidFill>
                <a:srgbClr val="FFFFFF"/>
              </a:solidFill>
              <a:latin typeface="Avenir Next LT Pro" panose="020B0504020202020204" pitchFamily="34" charset="0"/>
              <a:cs typeface="Calibri" panose="020F0502020204030204" pitchFamily="34" charset="0"/>
              <a:sym typeface="Avenir Next LT Pro" panose="020B0504020202020204" pitchFamily="34" charset="0"/>
            </a:endParaRPr>
          </a:p>
        </p:txBody>
      </p:sp>
      <p:cxnSp>
        <p:nvCxnSpPr>
          <p:cNvPr id="6219" name="Straight Connector 6218">
            <a:extLst>
              <a:ext uri="{FF2B5EF4-FFF2-40B4-BE49-F238E27FC236}">
                <a16:creationId xmlns:a16="http://schemas.microsoft.com/office/drawing/2014/main" id="{BA487302-6568-7456-9C2A-EA90E9B030F3}"/>
              </a:ext>
            </a:extLst>
          </p:cNvPr>
          <p:cNvCxnSpPr/>
          <p:nvPr/>
        </p:nvCxnSpPr>
        <p:spPr>
          <a:xfrm>
            <a:off x="2821887" y="4329375"/>
            <a:ext cx="1727226" cy="0"/>
          </a:xfrm>
          <a:prstGeom prst="line">
            <a:avLst/>
          </a:prstGeom>
          <a:noFill/>
          <a:ln w="6350" cap="flat" cmpd="sng" algn="ctr">
            <a:solidFill>
              <a:srgbClr val="5E5E5E">
                <a:lumMod val="50000"/>
              </a:srgbClr>
            </a:solidFill>
            <a:prstDash val="lgDash"/>
            <a:miter lim="800000"/>
          </a:ln>
          <a:effectLst/>
        </p:spPr>
      </p:cxnSp>
      <p:cxnSp>
        <p:nvCxnSpPr>
          <p:cNvPr id="6220" name="Straight Connector 6219">
            <a:extLst>
              <a:ext uri="{FF2B5EF4-FFF2-40B4-BE49-F238E27FC236}">
                <a16:creationId xmlns:a16="http://schemas.microsoft.com/office/drawing/2014/main" id="{2A9FCBB2-54A3-D183-C912-11D85C270469}"/>
              </a:ext>
            </a:extLst>
          </p:cNvPr>
          <p:cNvCxnSpPr/>
          <p:nvPr/>
        </p:nvCxnSpPr>
        <p:spPr>
          <a:xfrm>
            <a:off x="2844236" y="3892589"/>
            <a:ext cx="1684474" cy="0"/>
          </a:xfrm>
          <a:prstGeom prst="line">
            <a:avLst/>
          </a:prstGeom>
          <a:noFill/>
          <a:ln w="6350" cap="flat" cmpd="sng" algn="ctr">
            <a:solidFill>
              <a:srgbClr val="5E5E5E">
                <a:lumMod val="50000"/>
              </a:srgbClr>
            </a:solidFill>
            <a:prstDash val="lgDash"/>
            <a:miter lim="800000"/>
          </a:ln>
          <a:effectLst/>
        </p:spPr>
      </p:cxnSp>
      <p:cxnSp>
        <p:nvCxnSpPr>
          <p:cNvPr id="6221" name="Straight Connector 6220">
            <a:extLst>
              <a:ext uri="{FF2B5EF4-FFF2-40B4-BE49-F238E27FC236}">
                <a16:creationId xmlns:a16="http://schemas.microsoft.com/office/drawing/2014/main" id="{09C73AC5-ED87-0D21-33C5-970587B09EDD}"/>
              </a:ext>
            </a:extLst>
          </p:cNvPr>
          <p:cNvCxnSpPr/>
          <p:nvPr/>
        </p:nvCxnSpPr>
        <p:spPr>
          <a:xfrm>
            <a:off x="2842184" y="3690923"/>
            <a:ext cx="1727226" cy="0"/>
          </a:xfrm>
          <a:prstGeom prst="line">
            <a:avLst/>
          </a:prstGeom>
          <a:noFill/>
          <a:ln w="6350" cap="flat" cmpd="sng" algn="ctr">
            <a:solidFill>
              <a:srgbClr val="5E5E5E">
                <a:lumMod val="50000"/>
              </a:srgbClr>
            </a:solidFill>
            <a:prstDash val="lgDash"/>
            <a:miter lim="800000"/>
          </a:ln>
          <a:effectLst/>
        </p:spPr>
      </p:cxnSp>
      <p:sp>
        <p:nvSpPr>
          <p:cNvPr id="6222" name="TextBox 6221">
            <a:extLst>
              <a:ext uri="{FF2B5EF4-FFF2-40B4-BE49-F238E27FC236}">
                <a16:creationId xmlns:a16="http://schemas.microsoft.com/office/drawing/2014/main" id="{371CC4B0-E0A7-C409-AA31-40A08FC2FA57}"/>
              </a:ext>
            </a:extLst>
          </p:cNvPr>
          <p:cNvSpPr txBox="1"/>
          <p:nvPr/>
        </p:nvSpPr>
        <p:spPr>
          <a:xfrm>
            <a:off x="4439264" y="3676469"/>
            <a:ext cx="1159507"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6863">
              <a:spcBef>
                <a:spcPct val="0"/>
              </a:spcBef>
              <a:spcAft>
                <a:spcPct val="0"/>
              </a:spcAft>
              <a:defRPr/>
            </a:pPr>
            <a:r>
              <a:rPr lang="en-GB" sz="1000" b="1" kern="0" noProof="0">
                <a:solidFill>
                  <a:srgbClr val="262322"/>
                </a:solidFill>
                <a:latin typeface="Avenir Next LT Pro" panose="020B0504020202020204" pitchFamily="34" charset="0"/>
                <a:cs typeface="Calibri" panose="020F0502020204030204" pitchFamily="34" charset="0"/>
                <a:sym typeface="Avenir Next LT Pro" panose="020B0504020202020204" pitchFamily="34" charset="0"/>
              </a:rPr>
              <a:t>ADVANTAGE</a:t>
            </a:r>
          </a:p>
        </p:txBody>
      </p:sp>
      <p:sp>
        <p:nvSpPr>
          <p:cNvPr id="6223" name="TextBox 6222">
            <a:extLst>
              <a:ext uri="{FF2B5EF4-FFF2-40B4-BE49-F238E27FC236}">
                <a16:creationId xmlns:a16="http://schemas.microsoft.com/office/drawing/2014/main" id="{531509F4-0DFB-31DB-FBB7-E98E180EC998}"/>
              </a:ext>
            </a:extLst>
          </p:cNvPr>
          <p:cNvSpPr txBox="1"/>
          <p:nvPr/>
        </p:nvSpPr>
        <p:spPr>
          <a:xfrm>
            <a:off x="2715388" y="4553125"/>
            <a:ext cx="1119318" cy="2616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6863">
              <a:spcBef>
                <a:spcPct val="0"/>
              </a:spcBef>
              <a:spcAft>
                <a:spcPct val="0"/>
              </a:spcAft>
              <a:defRPr/>
            </a:pPr>
            <a:r>
              <a:rPr lang="en-GB" sz="1050" kern="0" noProof="0">
                <a:solidFill>
                  <a:srgbClr val="5E5E5E">
                    <a:lumMod val="50000"/>
                  </a:srgbClr>
                </a:solidFill>
                <a:latin typeface="Avenir Next LT Pro" panose="020B0504020202020204" pitchFamily="34" charset="0"/>
                <a:cs typeface="Calibri" panose="020F0502020204030204" pitchFamily="34" charset="0"/>
                <a:sym typeface="Avenir Next LT Pro" panose="020B0504020202020204" pitchFamily="34" charset="0"/>
              </a:rPr>
              <a:t>Company</a:t>
            </a:r>
          </a:p>
        </p:txBody>
      </p:sp>
      <p:sp>
        <p:nvSpPr>
          <p:cNvPr id="6224" name="TextBox 6223">
            <a:extLst>
              <a:ext uri="{FF2B5EF4-FFF2-40B4-BE49-F238E27FC236}">
                <a16:creationId xmlns:a16="http://schemas.microsoft.com/office/drawing/2014/main" id="{F6B01DCB-B861-D246-69C0-842941D10271}"/>
              </a:ext>
            </a:extLst>
          </p:cNvPr>
          <p:cNvSpPr txBox="1"/>
          <p:nvPr/>
        </p:nvSpPr>
        <p:spPr>
          <a:xfrm>
            <a:off x="3478986" y="4553125"/>
            <a:ext cx="1119318" cy="2616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6863">
              <a:spcBef>
                <a:spcPct val="0"/>
              </a:spcBef>
              <a:spcAft>
                <a:spcPct val="0"/>
              </a:spcAft>
              <a:defRPr/>
            </a:pPr>
            <a:r>
              <a:rPr lang="en-GB" sz="1050" kern="0" noProof="0">
                <a:solidFill>
                  <a:srgbClr val="5E5E5E">
                    <a:lumMod val="50000"/>
                  </a:srgbClr>
                </a:solidFill>
                <a:latin typeface="Avenir Next LT Pro" panose="020B0504020202020204" pitchFamily="34" charset="0"/>
                <a:cs typeface="Calibri" panose="020F0502020204030204" pitchFamily="34" charset="0"/>
                <a:sym typeface="Avenir Next LT Pro" panose="020B0504020202020204" pitchFamily="34" charset="0"/>
              </a:rPr>
              <a:t>Industry</a:t>
            </a:r>
          </a:p>
        </p:txBody>
      </p:sp>
      <p:sp>
        <p:nvSpPr>
          <p:cNvPr id="6225" name="TextBox 6224">
            <a:extLst>
              <a:ext uri="{FF2B5EF4-FFF2-40B4-BE49-F238E27FC236}">
                <a16:creationId xmlns:a16="http://schemas.microsoft.com/office/drawing/2014/main" id="{9C01D509-2A37-8CE3-03D8-DF89B3658B8C}"/>
              </a:ext>
            </a:extLst>
          </p:cNvPr>
          <p:cNvSpPr txBox="1"/>
          <p:nvPr/>
        </p:nvSpPr>
        <p:spPr>
          <a:xfrm>
            <a:off x="2294337" y="3534935"/>
            <a:ext cx="706038" cy="2616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86863">
              <a:spcBef>
                <a:spcPct val="0"/>
              </a:spcBef>
              <a:spcAft>
                <a:spcPct val="0"/>
              </a:spcAft>
              <a:defRPr/>
            </a:pPr>
            <a:r>
              <a:rPr lang="en-GB" sz="1050" kern="0" noProof="0">
                <a:solidFill>
                  <a:srgbClr val="5E5E5E">
                    <a:lumMod val="50000"/>
                  </a:srgbClr>
                </a:solidFill>
                <a:latin typeface="Avenir Next LT Pro" panose="020B0504020202020204" pitchFamily="34" charset="0"/>
                <a:cs typeface="Calibri" panose="020F0502020204030204" pitchFamily="34" charset="0"/>
                <a:sym typeface="Avenir Next LT Pro" panose="020B0504020202020204" pitchFamily="34" charset="0"/>
              </a:rPr>
              <a:t>Price</a:t>
            </a:r>
          </a:p>
        </p:txBody>
      </p:sp>
      <p:sp>
        <p:nvSpPr>
          <p:cNvPr id="6226" name="TextBox 6225">
            <a:extLst>
              <a:ext uri="{FF2B5EF4-FFF2-40B4-BE49-F238E27FC236}">
                <a16:creationId xmlns:a16="http://schemas.microsoft.com/office/drawing/2014/main" id="{227A7512-5AEF-642C-6E87-A2C56FC51150}"/>
              </a:ext>
            </a:extLst>
          </p:cNvPr>
          <p:cNvSpPr txBox="1"/>
          <p:nvPr/>
        </p:nvSpPr>
        <p:spPr>
          <a:xfrm>
            <a:off x="2292258" y="4176433"/>
            <a:ext cx="697462" cy="2616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86863">
              <a:spcBef>
                <a:spcPct val="0"/>
              </a:spcBef>
              <a:spcAft>
                <a:spcPct val="0"/>
              </a:spcAft>
              <a:defRPr/>
            </a:pPr>
            <a:r>
              <a:rPr lang="en-GB" sz="1050" kern="0" noProof="0">
                <a:solidFill>
                  <a:srgbClr val="5E5E5E">
                    <a:lumMod val="50000"/>
                  </a:srgbClr>
                </a:solidFill>
                <a:latin typeface="Avenir Next LT Pro" panose="020B0504020202020204" pitchFamily="34" charset="0"/>
                <a:cs typeface="Calibri" panose="020F0502020204030204" pitchFamily="34" charset="0"/>
                <a:sym typeface="Avenir Next LT Pro" panose="020B0504020202020204" pitchFamily="34" charset="0"/>
              </a:rPr>
              <a:t>Cost</a:t>
            </a:r>
          </a:p>
        </p:txBody>
      </p:sp>
      <p:sp>
        <p:nvSpPr>
          <p:cNvPr id="6227" name="Rectangle 6226">
            <a:extLst>
              <a:ext uri="{FF2B5EF4-FFF2-40B4-BE49-F238E27FC236}">
                <a16:creationId xmlns:a16="http://schemas.microsoft.com/office/drawing/2014/main" id="{02230E32-AD68-8ABA-4A0A-FA3F86CEF14C}"/>
              </a:ext>
            </a:extLst>
          </p:cNvPr>
          <p:cNvSpPr/>
          <p:nvPr/>
        </p:nvSpPr>
        <p:spPr>
          <a:xfrm flipV="1">
            <a:off x="3067327" y="5404151"/>
            <a:ext cx="440250" cy="634702"/>
          </a:xfrm>
          <a:prstGeom prst="rect">
            <a:avLst/>
          </a:prstGeom>
          <a:solidFill>
            <a:srgbClr val="FF710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86863"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FFFFFF"/>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cxnSp>
        <p:nvCxnSpPr>
          <p:cNvPr id="6228" name="Straight Connector 6227">
            <a:extLst>
              <a:ext uri="{FF2B5EF4-FFF2-40B4-BE49-F238E27FC236}">
                <a16:creationId xmlns:a16="http://schemas.microsoft.com/office/drawing/2014/main" id="{739AAB05-9D94-4A21-84CE-5830F26F89CB}"/>
              </a:ext>
            </a:extLst>
          </p:cNvPr>
          <p:cNvCxnSpPr/>
          <p:nvPr/>
        </p:nvCxnSpPr>
        <p:spPr>
          <a:xfrm>
            <a:off x="2760865" y="6262422"/>
            <a:ext cx="1805032" cy="1"/>
          </a:xfrm>
          <a:prstGeom prst="line">
            <a:avLst/>
          </a:prstGeom>
          <a:noFill/>
          <a:ln w="6350" cap="flat" cmpd="sng" algn="ctr">
            <a:solidFill>
              <a:srgbClr val="5E5E5E">
                <a:lumMod val="50000"/>
              </a:srgbClr>
            </a:solidFill>
            <a:prstDash val="solid"/>
            <a:miter lim="800000"/>
          </a:ln>
          <a:effectLst/>
        </p:spPr>
      </p:cxnSp>
      <p:sp>
        <p:nvSpPr>
          <p:cNvPr id="6229" name="Rectangle 6228">
            <a:extLst>
              <a:ext uri="{FF2B5EF4-FFF2-40B4-BE49-F238E27FC236}">
                <a16:creationId xmlns:a16="http://schemas.microsoft.com/office/drawing/2014/main" id="{C68D9ABB-C1AE-0337-6D7A-A3427F495D2C}"/>
              </a:ext>
            </a:extLst>
          </p:cNvPr>
          <p:cNvSpPr/>
          <p:nvPr/>
        </p:nvSpPr>
        <p:spPr>
          <a:xfrm>
            <a:off x="3067327" y="5400869"/>
            <a:ext cx="440250" cy="861552"/>
          </a:xfrm>
          <a:prstGeom prst="rect">
            <a:avLst/>
          </a:prstGeom>
          <a:noFill/>
          <a:ln w="12700" cap="flat" cmpd="sng" algn="ctr">
            <a:solidFill>
              <a:srgbClr val="5E5E5E">
                <a:lumMod val="50000"/>
              </a:srgb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6863">
              <a:spcBef>
                <a:spcPct val="0"/>
              </a:spcBef>
              <a:spcAft>
                <a:spcPct val="0"/>
              </a:spcAft>
              <a:defRPr/>
            </a:pPr>
            <a:endParaRPr lang="en-GB" sz="1100" kern="0" noProof="0">
              <a:solidFill>
                <a:srgbClr val="FFFFFF"/>
              </a:solidFill>
              <a:latin typeface="Avenir Next LT Pro" panose="020B0504020202020204" pitchFamily="34" charset="0"/>
              <a:cs typeface="Calibri" panose="020F0502020204030204" pitchFamily="34" charset="0"/>
              <a:sym typeface="Avenir Next LT Pro" panose="020B0504020202020204" pitchFamily="34" charset="0"/>
            </a:endParaRPr>
          </a:p>
        </p:txBody>
      </p:sp>
      <p:sp>
        <p:nvSpPr>
          <p:cNvPr id="6230" name="Rectangle 6229">
            <a:extLst>
              <a:ext uri="{FF2B5EF4-FFF2-40B4-BE49-F238E27FC236}">
                <a16:creationId xmlns:a16="http://schemas.microsoft.com/office/drawing/2014/main" id="{A629ECCD-9FD3-1F80-C9C6-998F55A3A84D}"/>
              </a:ext>
            </a:extLst>
          </p:cNvPr>
          <p:cNvSpPr/>
          <p:nvPr/>
        </p:nvSpPr>
        <p:spPr>
          <a:xfrm>
            <a:off x="3830925" y="5602537"/>
            <a:ext cx="440250" cy="659885"/>
          </a:xfrm>
          <a:prstGeom prst="rect">
            <a:avLst/>
          </a:prstGeom>
          <a:noFill/>
          <a:ln w="12700" cap="flat" cmpd="sng" algn="ctr">
            <a:solidFill>
              <a:srgbClr val="5E5E5E">
                <a:lumMod val="50000"/>
              </a:srgb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6863">
              <a:spcBef>
                <a:spcPct val="0"/>
              </a:spcBef>
              <a:spcAft>
                <a:spcPct val="0"/>
              </a:spcAft>
              <a:defRPr/>
            </a:pPr>
            <a:endParaRPr lang="en-GB" sz="1100" kern="0" noProof="0">
              <a:solidFill>
                <a:srgbClr val="FFFFFF"/>
              </a:solidFill>
              <a:latin typeface="Avenir Next LT Pro" panose="020B0504020202020204" pitchFamily="34" charset="0"/>
              <a:cs typeface="Calibri" panose="020F0502020204030204" pitchFamily="34" charset="0"/>
              <a:sym typeface="Avenir Next LT Pro" panose="020B0504020202020204" pitchFamily="34" charset="0"/>
            </a:endParaRPr>
          </a:p>
        </p:txBody>
      </p:sp>
      <p:cxnSp>
        <p:nvCxnSpPr>
          <p:cNvPr id="6231" name="Straight Connector 6230">
            <a:extLst>
              <a:ext uri="{FF2B5EF4-FFF2-40B4-BE49-F238E27FC236}">
                <a16:creationId xmlns:a16="http://schemas.microsoft.com/office/drawing/2014/main" id="{416C8D5C-E107-2A6E-70D4-B3C95C879EB9}"/>
              </a:ext>
            </a:extLst>
          </p:cNvPr>
          <p:cNvCxnSpPr/>
          <p:nvPr/>
        </p:nvCxnSpPr>
        <p:spPr>
          <a:xfrm>
            <a:off x="2807785" y="6037843"/>
            <a:ext cx="1727226" cy="0"/>
          </a:xfrm>
          <a:prstGeom prst="line">
            <a:avLst/>
          </a:prstGeom>
          <a:noFill/>
          <a:ln w="6350" cap="flat" cmpd="sng" algn="ctr">
            <a:solidFill>
              <a:srgbClr val="5E5E5E">
                <a:lumMod val="50000"/>
              </a:srgbClr>
            </a:solidFill>
            <a:prstDash val="lgDash"/>
            <a:miter lim="800000"/>
          </a:ln>
          <a:effectLst/>
        </p:spPr>
      </p:cxnSp>
      <p:cxnSp>
        <p:nvCxnSpPr>
          <p:cNvPr id="6232" name="Straight Connector 6231">
            <a:extLst>
              <a:ext uri="{FF2B5EF4-FFF2-40B4-BE49-F238E27FC236}">
                <a16:creationId xmlns:a16="http://schemas.microsoft.com/office/drawing/2014/main" id="{EB7400E9-0021-5841-20C3-E9B4BACC0F13}"/>
              </a:ext>
            </a:extLst>
          </p:cNvPr>
          <p:cNvCxnSpPr/>
          <p:nvPr/>
        </p:nvCxnSpPr>
        <p:spPr>
          <a:xfrm>
            <a:off x="2823834" y="5602536"/>
            <a:ext cx="1727226" cy="0"/>
          </a:xfrm>
          <a:prstGeom prst="line">
            <a:avLst/>
          </a:prstGeom>
          <a:noFill/>
          <a:ln w="6350" cap="flat" cmpd="sng" algn="ctr">
            <a:solidFill>
              <a:srgbClr val="5E5E5E">
                <a:lumMod val="50000"/>
              </a:srgbClr>
            </a:solidFill>
            <a:prstDash val="lgDash"/>
            <a:miter lim="800000"/>
          </a:ln>
          <a:effectLst/>
        </p:spPr>
      </p:cxnSp>
      <p:cxnSp>
        <p:nvCxnSpPr>
          <p:cNvPr id="6233" name="Straight Connector 6232">
            <a:extLst>
              <a:ext uri="{FF2B5EF4-FFF2-40B4-BE49-F238E27FC236}">
                <a16:creationId xmlns:a16="http://schemas.microsoft.com/office/drawing/2014/main" id="{2D4AB0CF-0372-633B-55AF-516B4F570241}"/>
              </a:ext>
            </a:extLst>
          </p:cNvPr>
          <p:cNvCxnSpPr/>
          <p:nvPr/>
        </p:nvCxnSpPr>
        <p:spPr>
          <a:xfrm>
            <a:off x="2821779" y="5400869"/>
            <a:ext cx="1727226" cy="0"/>
          </a:xfrm>
          <a:prstGeom prst="line">
            <a:avLst/>
          </a:prstGeom>
          <a:noFill/>
          <a:ln w="6350" cap="flat" cmpd="sng" algn="ctr">
            <a:solidFill>
              <a:srgbClr val="5E5E5E">
                <a:lumMod val="50000"/>
              </a:srgbClr>
            </a:solidFill>
            <a:prstDash val="lgDash"/>
            <a:miter lim="800000"/>
          </a:ln>
          <a:effectLst/>
        </p:spPr>
      </p:cxnSp>
      <p:cxnSp>
        <p:nvCxnSpPr>
          <p:cNvPr id="6234" name="Straight Connector 6233">
            <a:extLst>
              <a:ext uri="{FF2B5EF4-FFF2-40B4-BE49-F238E27FC236}">
                <a16:creationId xmlns:a16="http://schemas.microsoft.com/office/drawing/2014/main" id="{2782DE28-9585-78B3-CD7D-A35F60F206E1}"/>
              </a:ext>
            </a:extLst>
          </p:cNvPr>
          <p:cNvCxnSpPr/>
          <p:nvPr/>
        </p:nvCxnSpPr>
        <p:spPr>
          <a:xfrm>
            <a:off x="2821779" y="5831646"/>
            <a:ext cx="1741673" cy="0"/>
          </a:xfrm>
          <a:prstGeom prst="line">
            <a:avLst/>
          </a:prstGeom>
          <a:noFill/>
          <a:ln w="6350" cap="flat" cmpd="sng" algn="ctr">
            <a:solidFill>
              <a:srgbClr val="5E5E5E">
                <a:lumMod val="50000"/>
              </a:srgbClr>
            </a:solidFill>
            <a:prstDash val="lgDash"/>
            <a:miter lim="800000"/>
          </a:ln>
          <a:effectLst/>
        </p:spPr>
      </p:cxnSp>
      <p:sp>
        <p:nvSpPr>
          <p:cNvPr id="6235" name="TextBox 6234">
            <a:extLst>
              <a:ext uri="{FF2B5EF4-FFF2-40B4-BE49-F238E27FC236}">
                <a16:creationId xmlns:a16="http://schemas.microsoft.com/office/drawing/2014/main" id="{D6C802C2-A51F-8A5B-4F6A-CED037CF58DD}"/>
              </a:ext>
            </a:extLst>
          </p:cNvPr>
          <p:cNvSpPr txBox="1"/>
          <p:nvPr/>
        </p:nvSpPr>
        <p:spPr>
          <a:xfrm>
            <a:off x="4496060" y="5395880"/>
            <a:ext cx="1072326"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6863">
              <a:spcBef>
                <a:spcPct val="0"/>
              </a:spcBef>
              <a:spcAft>
                <a:spcPct val="0"/>
              </a:spcAft>
              <a:defRPr/>
            </a:pPr>
            <a:r>
              <a:rPr lang="en-GB" sz="1000" b="1" kern="0" noProof="0">
                <a:solidFill>
                  <a:srgbClr val="262322"/>
                </a:solidFill>
                <a:latin typeface="Avenir Next LT Pro" panose="020B0504020202020204" pitchFamily="34" charset="0"/>
                <a:cs typeface="Calibri" panose="020F0502020204030204" pitchFamily="34" charset="0"/>
                <a:sym typeface="Avenir Next LT Pro" panose="020B0504020202020204" pitchFamily="34" charset="0"/>
              </a:rPr>
              <a:t>ADVANTAGE</a:t>
            </a:r>
          </a:p>
        </p:txBody>
      </p:sp>
      <p:sp>
        <p:nvSpPr>
          <p:cNvPr id="6236" name="TextBox 6235">
            <a:extLst>
              <a:ext uri="{FF2B5EF4-FFF2-40B4-BE49-F238E27FC236}">
                <a16:creationId xmlns:a16="http://schemas.microsoft.com/office/drawing/2014/main" id="{B52EC0D5-792C-5686-DB81-6737DF602B16}"/>
              </a:ext>
            </a:extLst>
          </p:cNvPr>
          <p:cNvSpPr txBox="1"/>
          <p:nvPr/>
        </p:nvSpPr>
        <p:spPr>
          <a:xfrm>
            <a:off x="4505845" y="5808228"/>
            <a:ext cx="104709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6863">
              <a:spcBef>
                <a:spcPct val="0"/>
              </a:spcBef>
              <a:spcAft>
                <a:spcPct val="0"/>
              </a:spcAft>
              <a:defRPr/>
            </a:pPr>
            <a:r>
              <a:rPr lang="en-GB" sz="1000" b="1" kern="0" noProof="0">
                <a:solidFill>
                  <a:srgbClr val="262322"/>
                </a:solidFill>
                <a:latin typeface="Avenir Next LT Pro" panose="020B0504020202020204" pitchFamily="34" charset="0"/>
                <a:cs typeface="Calibri" panose="020F0502020204030204" pitchFamily="34" charset="0"/>
                <a:sym typeface="Avenir Next LT Pro" panose="020B0504020202020204" pitchFamily="34" charset="0"/>
              </a:rPr>
              <a:t>ADVANTAGE</a:t>
            </a:r>
          </a:p>
        </p:txBody>
      </p:sp>
      <p:sp>
        <p:nvSpPr>
          <p:cNvPr id="6237" name="TextBox 6236">
            <a:extLst>
              <a:ext uri="{FF2B5EF4-FFF2-40B4-BE49-F238E27FC236}">
                <a16:creationId xmlns:a16="http://schemas.microsoft.com/office/drawing/2014/main" id="{75275AA2-3E9E-4BB6-5E31-C41E5349D328}"/>
              </a:ext>
            </a:extLst>
          </p:cNvPr>
          <p:cNvSpPr txBox="1"/>
          <p:nvPr/>
        </p:nvSpPr>
        <p:spPr>
          <a:xfrm>
            <a:off x="2727530" y="6260557"/>
            <a:ext cx="1119318" cy="2616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6863">
              <a:spcBef>
                <a:spcPct val="0"/>
              </a:spcBef>
              <a:spcAft>
                <a:spcPct val="0"/>
              </a:spcAft>
              <a:defRPr/>
            </a:pPr>
            <a:r>
              <a:rPr lang="en-GB" sz="1050" kern="0" noProof="0">
                <a:solidFill>
                  <a:srgbClr val="5E5E5E">
                    <a:lumMod val="50000"/>
                  </a:srgbClr>
                </a:solidFill>
                <a:latin typeface="Avenir Next LT Pro" panose="020B0504020202020204" pitchFamily="34" charset="0"/>
                <a:cs typeface="Calibri" panose="020F0502020204030204" pitchFamily="34" charset="0"/>
                <a:sym typeface="Avenir Next LT Pro" panose="020B0504020202020204" pitchFamily="34" charset="0"/>
              </a:rPr>
              <a:t>Company</a:t>
            </a:r>
          </a:p>
        </p:txBody>
      </p:sp>
      <p:sp>
        <p:nvSpPr>
          <p:cNvPr id="6238" name="TextBox 6237">
            <a:extLst>
              <a:ext uri="{FF2B5EF4-FFF2-40B4-BE49-F238E27FC236}">
                <a16:creationId xmlns:a16="http://schemas.microsoft.com/office/drawing/2014/main" id="{3466F6B5-65A0-8715-ACE6-B8EEFAD1FF92}"/>
              </a:ext>
            </a:extLst>
          </p:cNvPr>
          <p:cNvSpPr txBox="1"/>
          <p:nvPr/>
        </p:nvSpPr>
        <p:spPr>
          <a:xfrm>
            <a:off x="3491129" y="6260557"/>
            <a:ext cx="1119318" cy="2616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6863">
              <a:spcBef>
                <a:spcPct val="0"/>
              </a:spcBef>
              <a:spcAft>
                <a:spcPct val="0"/>
              </a:spcAft>
              <a:defRPr/>
            </a:pPr>
            <a:r>
              <a:rPr lang="en-GB" sz="1050" kern="0" noProof="0">
                <a:solidFill>
                  <a:srgbClr val="5E5E5E">
                    <a:lumMod val="50000"/>
                  </a:srgbClr>
                </a:solidFill>
                <a:latin typeface="Avenir Next LT Pro" panose="020B0504020202020204" pitchFamily="34" charset="0"/>
                <a:cs typeface="Calibri" panose="020F0502020204030204" pitchFamily="34" charset="0"/>
                <a:sym typeface="Avenir Next LT Pro" panose="020B0504020202020204" pitchFamily="34" charset="0"/>
              </a:rPr>
              <a:t>Industry</a:t>
            </a:r>
          </a:p>
        </p:txBody>
      </p:sp>
      <p:sp>
        <p:nvSpPr>
          <p:cNvPr id="6239" name="TextBox 6238">
            <a:extLst>
              <a:ext uri="{FF2B5EF4-FFF2-40B4-BE49-F238E27FC236}">
                <a16:creationId xmlns:a16="http://schemas.microsoft.com/office/drawing/2014/main" id="{DB056CC8-04BF-0348-06F1-9D72D4D2F8D1}"/>
              </a:ext>
            </a:extLst>
          </p:cNvPr>
          <p:cNvSpPr txBox="1"/>
          <p:nvPr/>
        </p:nvSpPr>
        <p:spPr>
          <a:xfrm>
            <a:off x="2287970" y="5259206"/>
            <a:ext cx="706038" cy="2616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86863">
              <a:spcBef>
                <a:spcPct val="0"/>
              </a:spcBef>
              <a:spcAft>
                <a:spcPct val="0"/>
              </a:spcAft>
              <a:defRPr/>
            </a:pPr>
            <a:r>
              <a:rPr lang="en-GB" sz="1050" kern="0" noProof="0">
                <a:solidFill>
                  <a:srgbClr val="5E5E5E">
                    <a:lumMod val="50000"/>
                  </a:srgbClr>
                </a:solidFill>
                <a:latin typeface="Avenir Next LT Pro" panose="020B0504020202020204" pitchFamily="34" charset="0"/>
                <a:cs typeface="Calibri" panose="020F0502020204030204" pitchFamily="34" charset="0"/>
                <a:sym typeface="Avenir Next LT Pro" panose="020B0504020202020204" pitchFamily="34" charset="0"/>
              </a:rPr>
              <a:t>Price</a:t>
            </a:r>
          </a:p>
        </p:txBody>
      </p:sp>
      <p:sp>
        <p:nvSpPr>
          <p:cNvPr id="6240" name="TextBox 6239">
            <a:extLst>
              <a:ext uri="{FF2B5EF4-FFF2-40B4-BE49-F238E27FC236}">
                <a16:creationId xmlns:a16="http://schemas.microsoft.com/office/drawing/2014/main" id="{CAEF8F25-312B-3BDE-4095-F4FE00B33C20}"/>
              </a:ext>
            </a:extLst>
          </p:cNvPr>
          <p:cNvSpPr txBox="1"/>
          <p:nvPr/>
        </p:nvSpPr>
        <p:spPr>
          <a:xfrm>
            <a:off x="2294336" y="5890503"/>
            <a:ext cx="697462" cy="2616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86863">
              <a:spcBef>
                <a:spcPct val="0"/>
              </a:spcBef>
              <a:spcAft>
                <a:spcPct val="0"/>
              </a:spcAft>
              <a:defRPr/>
            </a:pPr>
            <a:r>
              <a:rPr lang="en-GB" sz="1050" kern="0" noProof="0">
                <a:solidFill>
                  <a:srgbClr val="5E5E5E">
                    <a:lumMod val="50000"/>
                  </a:srgbClr>
                </a:solidFill>
                <a:latin typeface="Avenir Next LT Pro" panose="020B0504020202020204" pitchFamily="34" charset="0"/>
                <a:cs typeface="Calibri" panose="020F0502020204030204" pitchFamily="34" charset="0"/>
                <a:sym typeface="Avenir Next LT Pro" panose="020B0504020202020204" pitchFamily="34" charset="0"/>
              </a:rPr>
              <a:t>Cost</a:t>
            </a:r>
          </a:p>
        </p:txBody>
      </p:sp>
      <p:sp>
        <p:nvSpPr>
          <p:cNvPr id="6241" name="Rectangle 6240">
            <a:extLst>
              <a:ext uri="{FF2B5EF4-FFF2-40B4-BE49-F238E27FC236}">
                <a16:creationId xmlns:a16="http://schemas.microsoft.com/office/drawing/2014/main" id="{2BDFAD2C-7FAD-7780-D074-202B279634A1}"/>
              </a:ext>
            </a:extLst>
          </p:cNvPr>
          <p:cNvSpPr/>
          <p:nvPr/>
        </p:nvSpPr>
        <p:spPr>
          <a:xfrm>
            <a:off x="2418282" y="1671949"/>
            <a:ext cx="157677" cy="134047"/>
          </a:xfrm>
          <a:prstGeom prst="rect">
            <a:avLst/>
          </a:prstGeom>
          <a:solidFill>
            <a:srgbClr val="486580"/>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86863"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FF7101"/>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sp>
        <p:nvSpPr>
          <p:cNvPr id="6242" name="TextBox 6241">
            <a:extLst>
              <a:ext uri="{FF2B5EF4-FFF2-40B4-BE49-F238E27FC236}">
                <a16:creationId xmlns:a16="http://schemas.microsoft.com/office/drawing/2014/main" id="{F29E49AC-DCBD-8F13-8052-975E3E9C5795}"/>
              </a:ext>
            </a:extLst>
          </p:cNvPr>
          <p:cNvSpPr txBox="1"/>
          <p:nvPr/>
        </p:nvSpPr>
        <p:spPr>
          <a:xfrm>
            <a:off x="2614050" y="1607162"/>
            <a:ext cx="1119318" cy="2616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86863">
              <a:spcBef>
                <a:spcPct val="0"/>
              </a:spcBef>
              <a:spcAft>
                <a:spcPct val="0"/>
              </a:spcAft>
              <a:defRPr/>
            </a:pPr>
            <a:r>
              <a:rPr lang="en-GB" sz="1050" kern="0" noProof="0">
                <a:solidFill>
                  <a:srgbClr val="5E5E5E">
                    <a:lumMod val="50000"/>
                  </a:srgbClr>
                </a:solidFill>
                <a:latin typeface="Avenir Next LT Pro" panose="020B0504020202020204" pitchFamily="34" charset="0"/>
                <a:cs typeface="Calibri" panose="020F0502020204030204" pitchFamily="34" charset="0"/>
                <a:sym typeface="Avenir Next LT Pro" panose="020B0504020202020204" pitchFamily="34" charset="0"/>
              </a:rPr>
              <a:t>Margin</a:t>
            </a:r>
          </a:p>
        </p:txBody>
      </p:sp>
      <p:sp>
        <p:nvSpPr>
          <p:cNvPr id="6244" name="Text Placeholder 2">
            <a:extLst>
              <a:ext uri="{FF2B5EF4-FFF2-40B4-BE49-F238E27FC236}">
                <a16:creationId xmlns:a16="http://schemas.microsoft.com/office/drawing/2014/main" id="{5E64B2B0-6BCF-4BF3-315E-362E3B5E22A2}"/>
              </a:ext>
            </a:extLst>
          </p:cNvPr>
          <p:cNvSpPr txBox="1"/>
          <p:nvPr/>
        </p:nvSpPr>
        <p:spPr>
          <a:xfrm>
            <a:off x="6289852" y="1646388"/>
            <a:ext cx="1765232" cy="274973"/>
          </a:xfrm>
          <a:prstGeom prst="rect">
            <a:avLst/>
          </a:prstGeom>
        </p:spPr>
        <p:txBody>
          <a:bodyPr anchor="t">
            <a:noAutofit/>
          </a:bodyPr>
          <a:lstStyle>
            <a:defPPr>
              <a:defRPr lang="en-US"/>
            </a:defPPr>
            <a:lvl1pPr marL="0" indent="0" algn="l" defTabSz="457200" rtl="0" eaLnBrk="1" latinLnBrk="0" hangingPunct="1">
              <a:spcBef>
                <a:spcPct val="20000"/>
              </a:spcBef>
              <a:buClr>
                <a:schemeClr val="accent2"/>
              </a:buClr>
              <a:buFont typeface="Arial"/>
              <a:buNone/>
              <a:defRPr sz="1800" b="0" i="0" kern="1200">
                <a:solidFill>
                  <a:schemeClr val="tx1"/>
                </a:solidFill>
                <a:latin typeface="Calibri Regular" charset="0"/>
                <a:ea typeface="+mn-ea"/>
                <a:cs typeface="Calibri Regular" charset="0"/>
              </a:defRPr>
            </a:lvl1pPr>
            <a:lvl2pPr marL="457200" indent="0" algn="l" defTabSz="457200" rtl="0" eaLnBrk="1" latinLnBrk="0" hangingPunct="1">
              <a:spcBef>
                <a:spcPct val="20000"/>
              </a:spcBef>
              <a:buClr>
                <a:schemeClr val="accent2"/>
              </a:buClr>
              <a:buFont typeface="Arial"/>
              <a:buNone/>
              <a:defRPr sz="2000" b="1" i="0" kern="1200">
                <a:solidFill>
                  <a:schemeClr val="tx1"/>
                </a:solidFill>
                <a:latin typeface="+mn-lt"/>
                <a:ea typeface="+mn-ea"/>
                <a:cs typeface="Calibri Regular" charset="0"/>
              </a:defRPr>
            </a:lvl2pPr>
            <a:lvl3pPr marL="914400" indent="0" algn="l" defTabSz="457200" rtl="0" eaLnBrk="1" latinLnBrk="0" hangingPunct="1">
              <a:spcBef>
                <a:spcPct val="20000"/>
              </a:spcBef>
              <a:buClr>
                <a:schemeClr val="accent2"/>
              </a:buClr>
              <a:buFont typeface="Arial"/>
              <a:buNone/>
              <a:defRPr sz="1800" b="1" i="0" kern="1200">
                <a:solidFill>
                  <a:schemeClr val="tx1"/>
                </a:solidFill>
                <a:latin typeface="+mn-lt"/>
                <a:ea typeface="+mn-ea"/>
                <a:cs typeface="Calibri Regular" charset="0"/>
              </a:defRPr>
            </a:lvl3pPr>
            <a:lvl4pPr marL="1371600" indent="0" algn="l" defTabSz="457200" rtl="0" eaLnBrk="1" latinLnBrk="0" hangingPunct="1">
              <a:spcBef>
                <a:spcPct val="20000"/>
              </a:spcBef>
              <a:buClr>
                <a:schemeClr val="accent2"/>
              </a:buClr>
              <a:buFont typeface="Arial"/>
              <a:buNone/>
              <a:defRPr sz="1600" b="1" i="0" kern="1200">
                <a:solidFill>
                  <a:schemeClr val="tx1"/>
                </a:solidFill>
                <a:latin typeface="+mn-lt"/>
                <a:ea typeface="+mn-ea"/>
                <a:cs typeface="Calibri Regular" charset="0"/>
              </a:defRPr>
            </a:lvl4pPr>
            <a:lvl5pPr marL="1828800" indent="0" algn="l" defTabSz="457200" rtl="0" eaLnBrk="1" latinLnBrk="0" hangingPunct="1">
              <a:spcBef>
                <a:spcPct val="20000"/>
              </a:spcBef>
              <a:buClr>
                <a:schemeClr val="accent2"/>
              </a:buClr>
              <a:buFont typeface="Arial"/>
              <a:buNone/>
              <a:defRPr sz="1600" b="1" i="0" kern="1200">
                <a:solidFill>
                  <a:schemeClr val="tx1"/>
                </a:solidFill>
                <a:latin typeface="+mn-lt"/>
                <a:ea typeface="+mn-ea"/>
                <a:cs typeface="Calibri Regular" charset="0"/>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gn="ctr" defTabSz="323286" fontAlgn="base">
              <a:spcAft>
                <a:spcPct val="0"/>
              </a:spcAft>
              <a:buClr>
                <a:srgbClr val="A6B8CD"/>
              </a:buClr>
              <a:defRPr/>
            </a:pPr>
            <a:r>
              <a:rPr lang="en-GB" sz="1200" b="1" noProof="0">
                <a:solidFill>
                  <a:srgbClr val="262322"/>
                </a:solidFill>
                <a:latin typeface="Avenir Next LT Pro" panose="020B0504020202020204" pitchFamily="34" charset="0"/>
                <a:cs typeface="Calibri" panose="020F0502020204030204" pitchFamily="34" charset="0"/>
                <a:sym typeface="Avenir Next LT Pro" panose="020B0504020202020204" pitchFamily="34" charset="0"/>
              </a:rPr>
              <a:t>Cost Leadership</a:t>
            </a:r>
          </a:p>
        </p:txBody>
      </p:sp>
      <p:sp>
        <p:nvSpPr>
          <p:cNvPr id="6245" name="Text Placeholder 2">
            <a:extLst>
              <a:ext uri="{FF2B5EF4-FFF2-40B4-BE49-F238E27FC236}">
                <a16:creationId xmlns:a16="http://schemas.microsoft.com/office/drawing/2014/main" id="{6FA2ECC7-74E8-9BE8-3940-E6AE9FEEAEF1}"/>
              </a:ext>
            </a:extLst>
          </p:cNvPr>
          <p:cNvSpPr txBox="1"/>
          <p:nvPr/>
        </p:nvSpPr>
        <p:spPr>
          <a:xfrm>
            <a:off x="6289852" y="3289552"/>
            <a:ext cx="1781459" cy="247317"/>
          </a:xfrm>
          <a:prstGeom prst="rect">
            <a:avLst/>
          </a:prstGeom>
        </p:spPr>
        <p:txBody>
          <a:bodyPr anchor="t">
            <a:noAutofit/>
          </a:bodyPr>
          <a:lstStyle>
            <a:defPPr>
              <a:defRPr lang="en-US"/>
            </a:defPPr>
            <a:lvl1pPr marL="0" indent="0" algn="l" defTabSz="457200" rtl="0" eaLnBrk="1" latinLnBrk="0" hangingPunct="1">
              <a:spcBef>
                <a:spcPct val="20000"/>
              </a:spcBef>
              <a:buClr>
                <a:schemeClr val="accent2"/>
              </a:buClr>
              <a:buFont typeface="Arial"/>
              <a:buNone/>
              <a:defRPr sz="1800" b="0" i="0" kern="1200">
                <a:solidFill>
                  <a:schemeClr val="tx1"/>
                </a:solidFill>
                <a:latin typeface="Calibri Regular" charset="0"/>
                <a:ea typeface="+mn-ea"/>
                <a:cs typeface="Calibri Regular" charset="0"/>
              </a:defRPr>
            </a:lvl1pPr>
            <a:lvl2pPr marL="457200" indent="0" algn="l" defTabSz="457200" rtl="0" eaLnBrk="1" latinLnBrk="0" hangingPunct="1">
              <a:spcBef>
                <a:spcPct val="20000"/>
              </a:spcBef>
              <a:buClr>
                <a:schemeClr val="accent2"/>
              </a:buClr>
              <a:buFont typeface="Arial"/>
              <a:buNone/>
              <a:defRPr sz="2000" b="1" i="0" kern="1200">
                <a:solidFill>
                  <a:schemeClr val="tx1"/>
                </a:solidFill>
                <a:latin typeface="+mn-lt"/>
                <a:ea typeface="+mn-ea"/>
                <a:cs typeface="Calibri Regular" charset="0"/>
              </a:defRPr>
            </a:lvl2pPr>
            <a:lvl3pPr marL="914400" indent="0" algn="l" defTabSz="457200" rtl="0" eaLnBrk="1" latinLnBrk="0" hangingPunct="1">
              <a:spcBef>
                <a:spcPct val="20000"/>
              </a:spcBef>
              <a:buClr>
                <a:schemeClr val="accent2"/>
              </a:buClr>
              <a:buFont typeface="Arial"/>
              <a:buNone/>
              <a:defRPr sz="1800" b="1" i="0" kern="1200">
                <a:solidFill>
                  <a:schemeClr val="tx1"/>
                </a:solidFill>
                <a:latin typeface="+mn-lt"/>
                <a:ea typeface="+mn-ea"/>
                <a:cs typeface="Calibri Regular" charset="0"/>
              </a:defRPr>
            </a:lvl3pPr>
            <a:lvl4pPr marL="1371600" indent="0" algn="l" defTabSz="457200" rtl="0" eaLnBrk="1" latinLnBrk="0" hangingPunct="1">
              <a:spcBef>
                <a:spcPct val="20000"/>
              </a:spcBef>
              <a:buClr>
                <a:schemeClr val="accent2"/>
              </a:buClr>
              <a:buFont typeface="Arial"/>
              <a:buNone/>
              <a:defRPr sz="1600" b="1" i="0" kern="1200">
                <a:solidFill>
                  <a:schemeClr val="tx1"/>
                </a:solidFill>
                <a:latin typeface="+mn-lt"/>
                <a:ea typeface="+mn-ea"/>
                <a:cs typeface="Calibri Regular" charset="0"/>
              </a:defRPr>
            </a:lvl4pPr>
            <a:lvl5pPr marL="1828800" indent="0" algn="l" defTabSz="457200" rtl="0" eaLnBrk="1" latinLnBrk="0" hangingPunct="1">
              <a:spcBef>
                <a:spcPct val="20000"/>
              </a:spcBef>
              <a:buClr>
                <a:schemeClr val="accent2"/>
              </a:buClr>
              <a:buFont typeface="Arial"/>
              <a:buNone/>
              <a:defRPr sz="1600" b="1" i="0" kern="1200">
                <a:solidFill>
                  <a:schemeClr val="tx1"/>
                </a:solidFill>
                <a:latin typeface="+mn-lt"/>
                <a:ea typeface="+mn-ea"/>
                <a:cs typeface="Calibri Regular" charset="0"/>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gn="ctr" defTabSz="323286" fontAlgn="base">
              <a:spcAft>
                <a:spcPct val="0"/>
              </a:spcAft>
              <a:buClr>
                <a:srgbClr val="A6B8CD"/>
              </a:buClr>
              <a:defRPr/>
            </a:pPr>
            <a:r>
              <a:rPr lang="en-GB" sz="1200" b="1" noProof="0">
                <a:solidFill>
                  <a:srgbClr val="262322"/>
                </a:solidFill>
                <a:latin typeface="Avenir Next LT Pro" panose="020B0504020202020204" pitchFamily="34" charset="0"/>
                <a:cs typeface="Calibri" panose="020F0502020204030204" pitchFamily="34" charset="0"/>
                <a:sym typeface="Avenir Next LT Pro" panose="020B0504020202020204" pitchFamily="34" charset="0"/>
              </a:rPr>
              <a:t>Differentiation</a:t>
            </a:r>
          </a:p>
        </p:txBody>
      </p:sp>
      <p:sp>
        <p:nvSpPr>
          <p:cNvPr id="6246" name="Text Placeholder 2">
            <a:extLst>
              <a:ext uri="{FF2B5EF4-FFF2-40B4-BE49-F238E27FC236}">
                <a16:creationId xmlns:a16="http://schemas.microsoft.com/office/drawing/2014/main" id="{BD34D37F-BC62-9FD8-9936-B3BDCC82EDC5}"/>
              </a:ext>
            </a:extLst>
          </p:cNvPr>
          <p:cNvSpPr txBox="1"/>
          <p:nvPr/>
        </p:nvSpPr>
        <p:spPr>
          <a:xfrm>
            <a:off x="6273626" y="4940715"/>
            <a:ext cx="1781459" cy="247317"/>
          </a:xfrm>
          <a:prstGeom prst="rect">
            <a:avLst/>
          </a:prstGeom>
        </p:spPr>
        <p:txBody>
          <a:bodyPr anchor="t">
            <a:noAutofit/>
          </a:bodyPr>
          <a:lstStyle>
            <a:defPPr>
              <a:defRPr lang="en-US"/>
            </a:defPPr>
            <a:lvl1pPr marL="0" indent="0" algn="l" defTabSz="457200" rtl="0" eaLnBrk="1" latinLnBrk="0" hangingPunct="1">
              <a:spcBef>
                <a:spcPct val="20000"/>
              </a:spcBef>
              <a:buClr>
                <a:schemeClr val="accent2"/>
              </a:buClr>
              <a:buFont typeface="Arial"/>
              <a:buNone/>
              <a:defRPr sz="1800" b="0" i="0" kern="1200">
                <a:solidFill>
                  <a:schemeClr val="tx1"/>
                </a:solidFill>
                <a:latin typeface="Calibri Regular" charset="0"/>
                <a:ea typeface="+mn-ea"/>
                <a:cs typeface="Calibri Regular" charset="0"/>
              </a:defRPr>
            </a:lvl1pPr>
            <a:lvl2pPr marL="457200" indent="0" algn="l" defTabSz="457200" rtl="0" eaLnBrk="1" latinLnBrk="0" hangingPunct="1">
              <a:spcBef>
                <a:spcPct val="20000"/>
              </a:spcBef>
              <a:buClr>
                <a:schemeClr val="accent2"/>
              </a:buClr>
              <a:buFont typeface="Arial"/>
              <a:buNone/>
              <a:defRPr sz="2000" b="1" i="0" kern="1200">
                <a:solidFill>
                  <a:schemeClr val="tx1"/>
                </a:solidFill>
                <a:latin typeface="+mn-lt"/>
                <a:ea typeface="+mn-ea"/>
                <a:cs typeface="Calibri Regular" charset="0"/>
              </a:defRPr>
            </a:lvl2pPr>
            <a:lvl3pPr marL="914400" indent="0" algn="l" defTabSz="457200" rtl="0" eaLnBrk="1" latinLnBrk="0" hangingPunct="1">
              <a:spcBef>
                <a:spcPct val="20000"/>
              </a:spcBef>
              <a:buClr>
                <a:schemeClr val="accent2"/>
              </a:buClr>
              <a:buFont typeface="Arial"/>
              <a:buNone/>
              <a:defRPr sz="1800" b="1" i="0" kern="1200">
                <a:solidFill>
                  <a:schemeClr val="tx1"/>
                </a:solidFill>
                <a:latin typeface="+mn-lt"/>
                <a:ea typeface="+mn-ea"/>
                <a:cs typeface="Calibri Regular" charset="0"/>
              </a:defRPr>
            </a:lvl3pPr>
            <a:lvl4pPr marL="1371600" indent="0" algn="l" defTabSz="457200" rtl="0" eaLnBrk="1" latinLnBrk="0" hangingPunct="1">
              <a:spcBef>
                <a:spcPct val="20000"/>
              </a:spcBef>
              <a:buClr>
                <a:schemeClr val="accent2"/>
              </a:buClr>
              <a:buFont typeface="Arial"/>
              <a:buNone/>
              <a:defRPr sz="1600" b="1" i="0" kern="1200">
                <a:solidFill>
                  <a:schemeClr val="tx1"/>
                </a:solidFill>
                <a:latin typeface="+mn-lt"/>
                <a:ea typeface="+mn-ea"/>
                <a:cs typeface="Calibri Regular" charset="0"/>
              </a:defRPr>
            </a:lvl4pPr>
            <a:lvl5pPr marL="1828800" indent="0" algn="l" defTabSz="457200" rtl="0" eaLnBrk="1" latinLnBrk="0" hangingPunct="1">
              <a:spcBef>
                <a:spcPct val="20000"/>
              </a:spcBef>
              <a:buClr>
                <a:schemeClr val="accent2"/>
              </a:buClr>
              <a:buFont typeface="Arial"/>
              <a:buNone/>
              <a:defRPr sz="1600" b="1" i="0" kern="1200">
                <a:solidFill>
                  <a:schemeClr val="tx1"/>
                </a:solidFill>
                <a:latin typeface="+mn-lt"/>
                <a:ea typeface="+mn-ea"/>
                <a:cs typeface="Calibri Regular" charset="0"/>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gn="ctr" defTabSz="323286" fontAlgn="base">
              <a:spcAft>
                <a:spcPct val="0"/>
              </a:spcAft>
              <a:buClr>
                <a:srgbClr val="A6B8CD"/>
              </a:buClr>
              <a:defRPr/>
            </a:pPr>
            <a:r>
              <a:rPr lang="en-GB" sz="1200" b="1" noProof="0">
                <a:solidFill>
                  <a:srgbClr val="262322"/>
                </a:solidFill>
                <a:latin typeface="Avenir Next LT Pro" panose="020B0504020202020204" pitchFamily="34" charset="0"/>
                <a:cs typeface="Calibri" panose="020F0502020204030204" pitchFamily="34" charset="0"/>
                <a:sym typeface="Avenir Next LT Pro" panose="020B0504020202020204" pitchFamily="34" charset="0"/>
              </a:rPr>
              <a:t>Blue Ocean Strategy</a:t>
            </a:r>
          </a:p>
        </p:txBody>
      </p:sp>
      <p:sp>
        <p:nvSpPr>
          <p:cNvPr id="6247" name="Left Brace 6246">
            <a:extLst>
              <a:ext uri="{FF2B5EF4-FFF2-40B4-BE49-F238E27FC236}">
                <a16:creationId xmlns:a16="http://schemas.microsoft.com/office/drawing/2014/main" id="{A481AB26-2F74-9A5B-0BB5-AC5CA6D4F7E5}"/>
              </a:ext>
            </a:extLst>
          </p:cNvPr>
          <p:cNvSpPr/>
          <p:nvPr/>
        </p:nvSpPr>
        <p:spPr>
          <a:xfrm>
            <a:off x="2021749" y="1586884"/>
            <a:ext cx="109436" cy="4930086"/>
          </a:xfrm>
          <a:prstGeom prst="leftBrace">
            <a:avLst>
              <a:gd name="adj1" fmla="val 134367"/>
              <a:gd name="adj2" fmla="val 50000"/>
            </a:avLst>
          </a:prstGeom>
          <a:noFill/>
          <a:ln w="19050" cap="flat" cmpd="sng" algn="ctr">
            <a:solidFill>
              <a:srgbClr val="1C3144"/>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46572" eaLnBrk="1" fontAlgn="base"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16202C"/>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sp>
        <p:nvSpPr>
          <p:cNvPr id="6250" name="Rectangle 6249">
            <a:extLst>
              <a:ext uri="{FF2B5EF4-FFF2-40B4-BE49-F238E27FC236}">
                <a16:creationId xmlns:a16="http://schemas.microsoft.com/office/drawing/2014/main" id="{76630085-81F8-C89D-D5ED-A316DADBAED2}"/>
              </a:ext>
            </a:extLst>
          </p:cNvPr>
          <p:cNvSpPr/>
          <p:nvPr/>
        </p:nvSpPr>
        <p:spPr>
          <a:xfrm>
            <a:off x="4485598" y="3691394"/>
            <a:ext cx="77854" cy="203106"/>
          </a:xfrm>
          <a:prstGeom prst="rect">
            <a:avLst/>
          </a:prstGeom>
          <a:solidFill>
            <a:srgbClr val="486580"/>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86863"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FFFFFF"/>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sp>
        <p:nvSpPr>
          <p:cNvPr id="6251" name="Rectangle 6250">
            <a:extLst>
              <a:ext uri="{FF2B5EF4-FFF2-40B4-BE49-F238E27FC236}">
                <a16:creationId xmlns:a16="http://schemas.microsoft.com/office/drawing/2014/main" id="{CFA0BDB9-F731-F37C-E87A-CE15AA07DB0E}"/>
              </a:ext>
            </a:extLst>
          </p:cNvPr>
          <p:cNvSpPr/>
          <p:nvPr/>
        </p:nvSpPr>
        <p:spPr>
          <a:xfrm>
            <a:off x="4485598" y="5400870"/>
            <a:ext cx="77854" cy="203106"/>
          </a:xfrm>
          <a:prstGeom prst="rect">
            <a:avLst/>
          </a:prstGeom>
          <a:solidFill>
            <a:srgbClr val="486580"/>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86863"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FFFFFF"/>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sp>
        <p:nvSpPr>
          <p:cNvPr id="6252" name="Rectangle 6251">
            <a:extLst>
              <a:ext uri="{FF2B5EF4-FFF2-40B4-BE49-F238E27FC236}">
                <a16:creationId xmlns:a16="http://schemas.microsoft.com/office/drawing/2014/main" id="{E102875C-D571-77F5-03F3-B84D910AF3AF}"/>
              </a:ext>
            </a:extLst>
          </p:cNvPr>
          <p:cNvSpPr/>
          <p:nvPr/>
        </p:nvSpPr>
        <p:spPr>
          <a:xfrm>
            <a:off x="4485598" y="5831646"/>
            <a:ext cx="77854" cy="210256"/>
          </a:xfrm>
          <a:prstGeom prst="rect">
            <a:avLst/>
          </a:prstGeom>
          <a:solidFill>
            <a:srgbClr val="486580"/>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86863"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FFFFFF"/>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sp>
        <p:nvSpPr>
          <p:cNvPr id="6253" name="Rectangle 6252">
            <a:extLst>
              <a:ext uri="{FF2B5EF4-FFF2-40B4-BE49-F238E27FC236}">
                <a16:creationId xmlns:a16="http://schemas.microsoft.com/office/drawing/2014/main" id="{4433D945-3E75-BD58-9B4E-0CA36BE818C0}"/>
              </a:ext>
            </a:extLst>
          </p:cNvPr>
          <p:cNvSpPr/>
          <p:nvPr/>
        </p:nvSpPr>
        <p:spPr>
          <a:xfrm>
            <a:off x="2418282" y="5033745"/>
            <a:ext cx="157677" cy="134047"/>
          </a:xfrm>
          <a:prstGeom prst="rect">
            <a:avLst/>
          </a:prstGeom>
          <a:solidFill>
            <a:srgbClr val="486580"/>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86863"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FF7101"/>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sp>
        <p:nvSpPr>
          <p:cNvPr id="6254" name="TextBox 6253">
            <a:extLst>
              <a:ext uri="{FF2B5EF4-FFF2-40B4-BE49-F238E27FC236}">
                <a16:creationId xmlns:a16="http://schemas.microsoft.com/office/drawing/2014/main" id="{BEF13463-DD25-15DA-A766-98718BB26705}"/>
              </a:ext>
            </a:extLst>
          </p:cNvPr>
          <p:cNvSpPr txBox="1"/>
          <p:nvPr/>
        </p:nvSpPr>
        <p:spPr>
          <a:xfrm>
            <a:off x="2614050" y="4968958"/>
            <a:ext cx="1119318" cy="2616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86863">
              <a:spcBef>
                <a:spcPct val="0"/>
              </a:spcBef>
              <a:spcAft>
                <a:spcPct val="0"/>
              </a:spcAft>
              <a:defRPr/>
            </a:pPr>
            <a:r>
              <a:rPr lang="en-GB" sz="1050" kern="0" noProof="0">
                <a:solidFill>
                  <a:srgbClr val="5E5E5E">
                    <a:lumMod val="50000"/>
                  </a:srgbClr>
                </a:solidFill>
                <a:latin typeface="Avenir Next LT Pro" panose="020B0504020202020204" pitchFamily="34" charset="0"/>
                <a:cs typeface="Calibri" panose="020F0502020204030204" pitchFamily="34" charset="0"/>
                <a:sym typeface="Avenir Next LT Pro" panose="020B0504020202020204" pitchFamily="34" charset="0"/>
              </a:rPr>
              <a:t>Margin</a:t>
            </a:r>
          </a:p>
        </p:txBody>
      </p:sp>
      <p:sp>
        <p:nvSpPr>
          <p:cNvPr id="6255" name="Rectangle 6254">
            <a:extLst>
              <a:ext uri="{FF2B5EF4-FFF2-40B4-BE49-F238E27FC236}">
                <a16:creationId xmlns:a16="http://schemas.microsoft.com/office/drawing/2014/main" id="{A8B0295B-A503-340F-2F11-34DE09A9BE4A}"/>
              </a:ext>
            </a:extLst>
          </p:cNvPr>
          <p:cNvSpPr/>
          <p:nvPr/>
        </p:nvSpPr>
        <p:spPr>
          <a:xfrm>
            <a:off x="2418282" y="3333656"/>
            <a:ext cx="157677" cy="134047"/>
          </a:xfrm>
          <a:prstGeom prst="rect">
            <a:avLst/>
          </a:prstGeom>
          <a:solidFill>
            <a:srgbClr val="486580"/>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86863" eaLnBrk="1" fontAlgn="auto"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a:ln>
                <a:noFill/>
              </a:ln>
              <a:solidFill>
                <a:srgbClr val="FF7101"/>
              </a:solidFill>
              <a:effectLst/>
              <a:uLnTx/>
              <a:uFillTx/>
              <a:latin typeface="Avenir Next LT Pro" panose="020B0504020202020204" pitchFamily="34" charset="0"/>
              <a:ea typeface="+mn-ea"/>
              <a:cs typeface="Calibri" panose="020F0502020204030204" pitchFamily="34" charset="0"/>
              <a:sym typeface="Avenir Next LT Pro" panose="020B0504020202020204" pitchFamily="34" charset="0"/>
            </a:endParaRPr>
          </a:p>
        </p:txBody>
      </p:sp>
      <p:sp>
        <p:nvSpPr>
          <p:cNvPr id="6256" name="TextBox 6255">
            <a:extLst>
              <a:ext uri="{FF2B5EF4-FFF2-40B4-BE49-F238E27FC236}">
                <a16:creationId xmlns:a16="http://schemas.microsoft.com/office/drawing/2014/main" id="{A3EC2F39-1AE0-7967-7795-BECCA6E61F5B}"/>
              </a:ext>
            </a:extLst>
          </p:cNvPr>
          <p:cNvSpPr txBox="1"/>
          <p:nvPr/>
        </p:nvSpPr>
        <p:spPr>
          <a:xfrm>
            <a:off x="2614050" y="3268871"/>
            <a:ext cx="1119318" cy="2616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86863">
              <a:spcBef>
                <a:spcPct val="0"/>
              </a:spcBef>
              <a:spcAft>
                <a:spcPct val="0"/>
              </a:spcAft>
              <a:defRPr/>
            </a:pPr>
            <a:r>
              <a:rPr lang="en-GB" sz="1050" kern="0" noProof="0">
                <a:solidFill>
                  <a:srgbClr val="5E5E5E">
                    <a:lumMod val="50000"/>
                  </a:srgbClr>
                </a:solidFill>
                <a:latin typeface="Avenir Next LT Pro" panose="020B0504020202020204" pitchFamily="34" charset="0"/>
                <a:cs typeface="Calibri" panose="020F0502020204030204" pitchFamily="34" charset="0"/>
                <a:sym typeface="Avenir Next LT Pro" panose="020B0504020202020204" pitchFamily="34" charset="0"/>
              </a:rPr>
              <a:t>Margin</a:t>
            </a:r>
          </a:p>
        </p:txBody>
      </p:sp>
      <p:sp>
        <p:nvSpPr>
          <p:cNvPr id="6257" name="TextBox 6256">
            <a:extLst>
              <a:ext uri="{FF2B5EF4-FFF2-40B4-BE49-F238E27FC236}">
                <a16:creationId xmlns:a16="http://schemas.microsoft.com/office/drawing/2014/main" id="{30E6D053-7B88-FA88-CE3F-9B7C03C8FDFA}"/>
              </a:ext>
            </a:extLst>
          </p:cNvPr>
          <p:cNvSpPr txBox="1"/>
          <p:nvPr/>
        </p:nvSpPr>
        <p:spPr>
          <a:xfrm>
            <a:off x="-6592" y="4671034"/>
            <a:ext cx="1119319" cy="2616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6863">
              <a:spcBef>
                <a:spcPct val="0"/>
              </a:spcBef>
              <a:spcAft>
                <a:spcPct val="0"/>
              </a:spcAft>
              <a:defRPr/>
            </a:pPr>
            <a:r>
              <a:rPr lang="en-GB" sz="1050" b="1" kern="0" noProof="0">
                <a:solidFill>
                  <a:srgbClr val="262322"/>
                </a:solidFill>
                <a:latin typeface="Avenir Next LT Pro" panose="020B0504020202020204" pitchFamily="34" charset="0"/>
                <a:cs typeface="Calibri" panose="020F0502020204030204" pitchFamily="34" charset="0"/>
                <a:sym typeface="Avenir Next LT Pro" panose="020B0504020202020204" pitchFamily="34" charset="0"/>
              </a:rPr>
              <a:t>Company</a:t>
            </a:r>
          </a:p>
        </p:txBody>
      </p:sp>
      <p:cxnSp>
        <p:nvCxnSpPr>
          <p:cNvPr id="6258" name="Straight Connector 6257">
            <a:extLst>
              <a:ext uri="{FF2B5EF4-FFF2-40B4-BE49-F238E27FC236}">
                <a16:creationId xmlns:a16="http://schemas.microsoft.com/office/drawing/2014/main" id="{45441F6B-68E6-E48A-C7F6-2B019C5ACA62}"/>
              </a:ext>
            </a:extLst>
          </p:cNvPr>
          <p:cNvCxnSpPr/>
          <p:nvPr/>
        </p:nvCxnSpPr>
        <p:spPr>
          <a:xfrm>
            <a:off x="2809502" y="1960907"/>
            <a:ext cx="1727226" cy="0"/>
          </a:xfrm>
          <a:prstGeom prst="line">
            <a:avLst/>
          </a:prstGeom>
          <a:noFill/>
          <a:ln w="6350" cap="flat" cmpd="sng" algn="ctr">
            <a:solidFill>
              <a:srgbClr val="5E5E5E">
                <a:lumMod val="50000"/>
              </a:srgbClr>
            </a:solidFill>
            <a:prstDash val="lgDash"/>
            <a:miter lim="800000"/>
          </a:ln>
          <a:effectLst/>
        </p:spPr>
      </p:cxnSp>
      <p:sp>
        <p:nvSpPr>
          <p:cNvPr id="12" name="Arrow: Chevron 11">
            <a:extLst>
              <a:ext uri="{FF2B5EF4-FFF2-40B4-BE49-F238E27FC236}">
                <a16:creationId xmlns:a16="http://schemas.microsoft.com/office/drawing/2014/main" id="{A2723265-B7E6-14ED-5926-BEAA3ADA2614}"/>
              </a:ext>
            </a:extLst>
          </p:cNvPr>
          <p:cNvSpPr/>
          <p:nvPr/>
        </p:nvSpPr>
        <p:spPr>
          <a:xfrm>
            <a:off x="8108917"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13" name="Arrow: Chevron 12">
            <a:extLst>
              <a:ext uri="{FF2B5EF4-FFF2-40B4-BE49-F238E27FC236}">
                <a16:creationId xmlns:a16="http://schemas.microsoft.com/office/drawing/2014/main" id="{DFE24614-C9C5-A9FD-21E5-D27A3EF5A0E2}"/>
              </a:ext>
            </a:extLst>
          </p:cNvPr>
          <p:cNvSpPr/>
          <p:nvPr/>
        </p:nvSpPr>
        <p:spPr>
          <a:xfrm>
            <a:off x="9071675"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14" name="Arrow: Chevron 13">
            <a:extLst>
              <a:ext uri="{FF2B5EF4-FFF2-40B4-BE49-F238E27FC236}">
                <a16:creationId xmlns:a16="http://schemas.microsoft.com/office/drawing/2014/main" id="{B77AD3E7-08CC-FD85-E2D1-05B282DF4774}"/>
              </a:ext>
            </a:extLst>
          </p:cNvPr>
          <p:cNvSpPr/>
          <p:nvPr/>
        </p:nvSpPr>
        <p:spPr>
          <a:xfrm>
            <a:off x="10034433"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15" name="Arrow: Chevron 14">
            <a:extLst>
              <a:ext uri="{FF2B5EF4-FFF2-40B4-BE49-F238E27FC236}">
                <a16:creationId xmlns:a16="http://schemas.microsoft.com/office/drawing/2014/main" id="{7876F090-A7F5-8774-E9AD-4D1D30AEEBE4}"/>
              </a:ext>
            </a:extLst>
          </p:cNvPr>
          <p:cNvSpPr/>
          <p:nvPr/>
        </p:nvSpPr>
        <p:spPr>
          <a:xfrm>
            <a:off x="1099963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5524533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C97450-B08E-7F05-8C1F-4D0BB620A51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7987F0D-BDCA-6C0F-B8CF-8EBF40A05E3B}"/>
              </a:ext>
            </a:extLst>
          </p:cNvPr>
          <p:cNvGraphicFramePr>
            <a:graphicFrameLocks noChangeAspect="1"/>
          </p:cNvGraphicFramePr>
          <p:nvPr>
            <p:custDataLst>
              <p:tags r:id="rId1"/>
            </p:custDataLst>
            <p:extLst>
              <p:ext uri="{D42A27DB-BD31-4B8C-83A1-F6EECF244321}">
                <p14:modId xmlns:p14="http://schemas.microsoft.com/office/powerpoint/2010/main" val="3313226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26" imgH="426" progId="TCLayout.ActiveDocument.1">
                  <p:embed/>
                </p:oleObj>
              </mc:Choice>
              <mc:Fallback>
                <p:oleObj name="think-cell Slide" r:id="rId35" imgW="426" imgH="426" progId="TCLayout.ActiveDocument.1">
                  <p:embed/>
                  <p:pic>
                    <p:nvPicPr>
                      <p:cNvPr id="7" name="think-cell data - do not delete" hidden="1">
                        <a:extLst>
                          <a:ext uri="{FF2B5EF4-FFF2-40B4-BE49-F238E27FC236}">
                            <a16:creationId xmlns:a16="http://schemas.microsoft.com/office/drawing/2014/main" id="{17987F0D-BDCA-6C0F-B8CF-8EBF40A05E3B}"/>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B526E7-65A7-18B6-DB07-7BE65FAED491}"/>
              </a:ext>
            </a:extLst>
          </p:cNvPr>
          <p:cNvSpPr>
            <a:spLocks noGrp="1"/>
          </p:cNvSpPr>
          <p:nvPr>
            <p:ph type="title"/>
          </p:nvPr>
        </p:nvSpPr>
        <p:spPr>
          <a:xfrm>
            <a:off x="137786" y="125260"/>
            <a:ext cx="7281688" cy="806754"/>
          </a:xfrm>
        </p:spPr>
        <p:txBody>
          <a:bodyPr vert="horz">
            <a:normAutofit/>
          </a:bodyPr>
          <a:lstStyle/>
          <a:p>
            <a:r>
              <a:rPr lang="en-GB" sz="2300" b="1" noProof="0"/>
              <a:t>Choice of Generic Positioning: Cost Leadership</a:t>
            </a:r>
          </a:p>
        </p:txBody>
      </p:sp>
      <p:sp>
        <p:nvSpPr>
          <p:cNvPr id="38" name="Rectangle 37">
            <a:extLst>
              <a:ext uri="{FF2B5EF4-FFF2-40B4-BE49-F238E27FC236}">
                <a16:creationId xmlns:a16="http://schemas.microsoft.com/office/drawing/2014/main" id="{31C6838A-9A6D-F5D3-07C2-A5F1002ECB9C}"/>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Cost leaders are not the cheapest providers, in absolute terms, but those which can compete withing industry-average prices, their advantage stemming from the superior margin resulting from similar prices than competitors, at much lower costs.</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The strategic power of this approach lies in creating sustainable structural cost advantages that competitors cannot easily replicate without fundamentally changing their own strategies.</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Ryanair has a radical cost structure (fleet standardisation, choice of airports, etc) and delivers best-in-class value on some critical attributes for customers, enabling it maintain its cost leadership advantage across decades.</a:t>
            </a:r>
          </a:p>
        </p:txBody>
      </p:sp>
      <p:grpSp>
        <p:nvGrpSpPr>
          <p:cNvPr id="55" name="Group 54">
            <a:extLst>
              <a:ext uri="{FF2B5EF4-FFF2-40B4-BE49-F238E27FC236}">
                <a16:creationId xmlns:a16="http://schemas.microsoft.com/office/drawing/2014/main" id="{FBFC04FF-3C06-124E-CB8C-40D58CDCE950}"/>
              </a:ext>
            </a:extLst>
          </p:cNvPr>
          <p:cNvGrpSpPr/>
          <p:nvPr/>
        </p:nvGrpSpPr>
        <p:grpSpPr>
          <a:xfrm>
            <a:off x="8416182" y="1059803"/>
            <a:ext cx="858460" cy="673769"/>
            <a:chOff x="368907" y="1700531"/>
            <a:chExt cx="4038920" cy="4275927"/>
          </a:xfrm>
          <a:effectLst/>
        </p:grpSpPr>
        <p:sp>
          <p:nvSpPr>
            <p:cNvPr id="57" name="Isosceles Triangle 62">
              <a:extLst>
                <a:ext uri="{FF2B5EF4-FFF2-40B4-BE49-F238E27FC236}">
                  <a16:creationId xmlns:a16="http://schemas.microsoft.com/office/drawing/2014/main" id="{327C4DD2-2E92-FB86-CC19-6ED8C13D6CD7}"/>
                </a:ext>
              </a:extLst>
            </p:cNvPr>
            <p:cNvSpPr/>
            <p:nvPr/>
          </p:nvSpPr>
          <p:spPr>
            <a:xfrm>
              <a:off x="1106945" y="2957333"/>
              <a:ext cx="2556494" cy="1456051"/>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481647" y="2614"/>
                  </a:lnTo>
                  <a:lnTo>
                    <a:pt x="1325344" y="0"/>
                  </a:lnTo>
                  <a:lnTo>
                    <a:pt x="1810264" y="968810"/>
                  </a:lnTo>
                  <a:lnTo>
                    <a:pt x="0" y="968810"/>
                  </a:lnTo>
                  <a:close/>
                </a:path>
              </a:pathLst>
            </a:cu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grpSp>
          <p:nvGrpSpPr>
            <p:cNvPr id="58" name="Group 57">
              <a:extLst>
                <a:ext uri="{FF2B5EF4-FFF2-40B4-BE49-F238E27FC236}">
                  <a16:creationId xmlns:a16="http://schemas.microsoft.com/office/drawing/2014/main" id="{5D13ACC9-B4AF-38F1-1DD4-723CBB4D6D34}"/>
                </a:ext>
              </a:extLst>
            </p:cNvPr>
            <p:cNvGrpSpPr/>
            <p:nvPr/>
          </p:nvGrpSpPr>
          <p:grpSpPr>
            <a:xfrm>
              <a:off x="368907" y="2954958"/>
              <a:ext cx="4038920" cy="3021500"/>
              <a:chOff x="364847" y="3312617"/>
              <a:chExt cx="4038920" cy="3021500"/>
            </a:xfrm>
          </p:grpSpPr>
          <p:cxnSp>
            <p:nvCxnSpPr>
              <p:cNvPr id="59" name="Straight Connector 58">
                <a:extLst>
                  <a:ext uri="{FF2B5EF4-FFF2-40B4-BE49-F238E27FC236}">
                    <a16:creationId xmlns:a16="http://schemas.microsoft.com/office/drawing/2014/main" id="{82594B8B-66E5-4A2B-80C7-60D4DDF828ED}"/>
                  </a:ext>
                </a:extLst>
              </p:cNvPr>
              <p:cNvCxnSpPr>
                <a:cxnSpLocks/>
              </p:cNvCxnSpPr>
              <p:nvPr/>
            </p:nvCxnSpPr>
            <p:spPr>
              <a:xfrm>
                <a:off x="1110997" y="4771043"/>
                <a:ext cx="254556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60" name="Isosceles Triangle 62">
                <a:extLst>
                  <a:ext uri="{FF2B5EF4-FFF2-40B4-BE49-F238E27FC236}">
                    <a16:creationId xmlns:a16="http://schemas.microsoft.com/office/drawing/2014/main" id="{8A4094F1-BCD9-AB82-AEC8-590E48095EFD}"/>
                  </a:ext>
                </a:extLst>
              </p:cNvPr>
              <p:cNvSpPr/>
              <p:nvPr/>
            </p:nvSpPr>
            <p:spPr>
              <a:xfrm>
                <a:off x="364847" y="4771043"/>
                <a:ext cx="4038920" cy="1562778"/>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476069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326400" y="396"/>
                    </a:lnTo>
                    <a:lnTo>
                      <a:pt x="1476069" y="0"/>
                    </a:lnTo>
                    <a:lnTo>
                      <a:pt x="1810264" y="968810"/>
                    </a:lnTo>
                    <a:lnTo>
                      <a:pt x="0" y="968810"/>
                    </a:lnTo>
                    <a:close/>
                  </a:path>
                </a:pathLst>
              </a:cu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cxnSp>
            <p:nvCxnSpPr>
              <p:cNvPr id="61" name="Straight Connector 60">
                <a:extLst>
                  <a:ext uri="{FF2B5EF4-FFF2-40B4-BE49-F238E27FC236}">
                    <a16:creationId xmlns:a16="http://schemas.microsoft.com/office/drawing/2014/main" id="{4CF72868-F5B5-5195-64CB-FEFB5643906D}"/>
                  </a:ext>
                </a:extLst>
              </p:cNvPr>
              <p:cNvCxnSpPr>
                <a:cxnSpLocks/>
              </p:cNvCxnSpPr>
              <p:nvPr/>
            </p:nvCxnSpPr>
            <p:spPr>
              <a:xfrm flipH="1">
                <a:off x="1833796" y="3312617"/>
                <a:ext cx="287660" cy="148830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940F6BD-F590-DAF7-8BBA-96F1730DC7CB}"/>
                  </a:ext>
                </a:extLst>
              </p:cNvPr>
              <p:cNvCxnSpPr>
                <a:cxnSpLocks/>
              </p:cNvCxnSpPr>
              <p:nvPr/>
            </p:nvCxnSpPr>
            <p:spPr>
              <a:xfrm>
                <a:off x="2562892" y="4771043"/>
                <a:ext cx="106051" cy="1562778"/>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ADD756E-6E50-6679-0FA7-04464BDEB377}"/>
                  </a:ext>
                </a:extLst>
              </p:cNvPr>
              <p:cNvCxnSpPr>
                <a:cxnSpLocks/>
              </p:cNvCxnSpPr>
              <p:nvPr/>
            </p:nvCxnSpPr>
            <p:spPr>
              <a:xfrm flipH="1">
                <a:off x="2089604" y="4771042"/>
                <a:ext cx="76090" cy="156277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4" name="Straight Connector 6143">
                <a:extLst>
                  <a:ext uri="{FF2B5EF4-FFF2-40B4-BE49-F238E27FC236}">
                    <a16:creationId xmlns:a16="http://schemas.microsoft.com/office/drawing/2014/main" id="{037576FA-26A9-0F44-36C8-7A9EB20417B4}"/>
                  </a:ext>
                </a:extLst>
              </p:cNvPr>
              <p:cNvCxnSpPr>
                <a:cxnSpLocks/>
              </p:cNvCxnSpPr>
              <p:nvPr/>
            </p:nvCxnSpPr>
            <p:spPr>
              <a:xfrm flipH="1">
                <a:off x="957027" y="4771042"/>
                <a:ext cx="526604" cy="156277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5" name="Straight Connector 6144">
                <a:extLst>
                  <a:ext uri="{FF2B5EF4-FFF2-40B4-BE49-F238E27FC236}">
                    <a16:creationId xmlns:a16="http://schemas.microsoft.com/office/drawing/2014/main" id="{B197705B-AEF1-D026-5949-509B341C44C0}"/>
                  </a:ext>
                </a:extLst>
              </p:cNvPr>
              <p:cNvCxnSpPr>
                <a:cxnSpLocks/>
              </p:cNvCxnSpPr>
              <p:nvPr/>
            </p:nvCxnSpPr>
            <p:spPr>
              <a:xfrm>
                <a:off x="2706590" y="3312617"/>
                <a:ext cx="267090" cy="145942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6" name="Straight Connector 6145">
                <a:extLst>
                  <a:ext uri="{FF2B5EF4-FFF2-40B4-BE49-F238E27FC236}">
                    <a16:creationId xmlns:a16="http://schemas.microsoft.com/office/drawing/2014/main" id="{7194F8A6-2FF4-2EDF-23AF-F74CB2748F15}"/>
                  </a:ext>
                </a:extLst>
              </p:cNvPr>
              <p:cNvCxnSpPr>
                <a:cxnSpLocks/>
              </p:cNvCxnSpPr>
              <p:nvPr/>
            </p:nvCxnSpPr>
            <p:spPr>
              <a:xfrm>
                <a:off x="3336756" y="4771043"/>
                <a:ext cx="506582" cy="1563074"/>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7" name="Straight Connector 6146">
                <a:extLst>
                  <a:ext uri="{FF2B5EF4-FFF2-40B4-BE49-F238E27FC236}">
                    <a16:creationId xmlns:a16="http://schemas.microsoft.com/office/drawing/2014/main" id="{4E6B410C-3423-F77A-6141-8EE135FE2EA7}"/>
                  </a:ext>
                </a:extLst>
              </p:cNvPr>
              <p:cNvCxnSpPr>
                <a:cxnSpLocks/>
              </p:cNvCxnSpPr>
              <p:nvPr/>
            </p:nvCxnSpPr>
            <p:spPr>
              <a:xfrm flipH="1">
                <a:off x="1539549" y="4772039"/>
                <a:ext cx="300668" cy="156178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8" name="Straight Connector 6147">
                <a:extLst>
                  <a:ext uri="{FF2B5EF4-FFF2-40B4-BE49-F238E27FC236}">
                    <a16:creationId xmlns:a16="http://schemas.microsoft.com/office/drawing/2014/main" id="{FF751E6A-7DC5-0A86-E33B-BF7E6CB74025}"/>
                  </a:ext>
                </a:extLst>
              </p:cNvPr>
              <p:cNvCxnSpPr>
                <a:cxnSpLocks/>
              </p:cNvCxnSpPr>
              <p:nvPr/>
            </p:nvCxnSpPr>
            <p:spPr>
              <a:xfrm>
                <a:off x="2973680" y="4778378"/>
                <a:ext cx="284662" cy="155544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50" name="Straight Connector 6149">
                <a:extLst>
                  <a:ext uri="{FF2B5EF4-FFF2-40B4-BE49-F238E27FC236}">
                    <a16:creationId xmlns:a16="http://schemas.microsoft.com/office/drawing/2014/main" id="{A3D37467-5EF3-CBD6-EE19-ABF93E328EB7}"/>
                  </a:ext>
                </a:extLst>
              </p:cNvPr>
              <p:cNvCxnSpPr>
                <a:cxnSpLocks/>
                <a:stCxn id="60" idx="1"/>
                <a:endCxn id="57" idx="3"/>
              </p:cNvCxnSpPr>
              <p:nvPr/>
            </p:nvCxnSpPr>
            <p:spPr>
              <a:xfrm flipV="1">
                <a:off x="1093085" y="4771043"/>
                <a:ext cx="2566294" cy="6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6" name="Isosceles Triangle 55">
              <a:extLst>
                <a:ext uri="{FF2B5EF4-FFF2-40B4-BE49-F238E27FC236}">
                  <a16:creationId xmlns:a16="http://schemas.microsoft.com/office/drawing/2014/main" id="{6E593F5C-33F0-7F3A-6B28-074145FCC308}"/>
                </a:ext>
              </a:extLst>
            </p:cNvPr>
            <p:cNvSpPr/>
            <p:nvPr/>
          </p:nvSpPr>
          <p:spPr>
            <a:xfrm>
              <a:off x="1792513" y="1700531"/>
              <a:ext cx="1191709" cy="1248079"/>
            </a:xfrm>
            <a:prstGeom prst="triangle">
              <a:avLst>
                <a:gd name="adj" fmla="val 49710"/>
              </a:avLst>
            </a:prstGeom>
            <a:solidFill>
              <a:srgbClr val="FFE4CD"/>
            </a:solidFill>
            <a:ln w="9525">
              <a:solidFill>
                <a:srgbClr val="FF834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grpSp>
      <p:graphicFrame>
        <p:nvGraphicFramePr>
          <p:cNvPr id="53" name="Chart 52">
            <a:extLst>
              <a:ext uri="{FF2B5EF4-FFF2-40B4-BE49-F238E27FC236}">
                <a16:creationId xmlns:a16="http://schemas.microsoft.com/office/drawing/2014/main" id="{B63BC5F4-F290-8891-7EBF-71B58E9E568A}"/>
              </a:ext>
            </a:extLst>
          </p:cNvPr>
          <p:cNvGraphicFramePr/>
          <p:nvPr>
            <p:extLst>
              <p:ext uri="{D42A27DB-BD31-4B8C-83A1-F6EECF244321}">
                <p14:modId xmlns:p14="http://schemas.microsoft.com/office/powerpoint/2010/main" val="3555766728"/>
              </p:ext>
            </p:extLst>
          </p:nvPr>
        </p:nvGraphicFramePr>
        <p:xfrm>
          <a:off x="1828799" y="1997075"/>
          <a:ext cx="6815138" cy="4346575"/>
        </p:xfrm>
        <a:graphic>
          <a:graphicData uri="http://schemas.openxmlformats.org/drawingml/2006/chart">
            <c:chart xmlns:c="http://schemas.openxmlformats.org/drawingml/2006/chart" xmlns:r="http://schemas.openxmlformats.org/officeDocument/2006/relationships" r:id="rId37"/>
          </a:graphicData>
        </a:graphic>
      </p:graphicFrame>
      <p:sp>
        <p:nvSpPr>
          <p:cNvPr id="54" name="TextBox 53">
            <a:extLst>
              <a:ext uri="{FF2B5EF4-FFF2-40B4-BE49-F238E27FC236}">
                <a16:creationId xmlns:a16="http://schemas.microsoft.com/office/drawing/2014/main" id="{339A5545-F146-E332-6876-608403690186}"/>
              </a:ext>
            </a:extLst>
          </p:cNvPr>
          <p:cNvSpPr txBox="1"/>
          <p:nvPr>
            <p:custDataLst>
              <p:tags r:id="rId2"/>
            </p:custDataLst>
          </p:nvPr>
        </p:nvSpPr>
        <p:spPr>
          <a:xfrm>
            <a:off x="1811338" y="4727575"/>
            <a:ext cx="779463"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Low</a:t>
            </a:r>
          </a:p>
        </p:txBody>
      </p:sp>
      <p:sp>
        <p:nvSpPr>
          <p:cNvPr id="6149" name="TextBox 6148">
            <a:extLst>
              <a:ext uri="{FF2B5EF4-FFF2-40B4-BE49-F238E27FC236}">
                <a16:creationId xmlns:a16="http://schemas.microsoft.com/office/drawing/2014/main" id="{E94F42C2-F28C-6B5F-7ECD-DE4F410A23B6}"/>
              </a:ext>
            </a:extLst>
          </p:cNvPr>
          <p:cNvSpPr txBox="1"/>
          <p:nvPr>
            <p:custDataLst>
              <p:tags r:id="rId3"/>
            </p:custDataLst>
          </p:nvPr>
        </p:nvSpPr>
        <p:spPr>
          <a:xfrm>
            <a:off x="1811338" y="2425700"/>
            <a:ext cx="779463"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High</a:t>
            </a:r>
          </a:p>
        </p:txBody>
      </p:sp>
      <p:sp>
        <p:nvSpPr>
          <p:cNvPr id="6151" name="TextBox 6150">
            <a:extLst>
              <a:ext uri="{FF2B5EF4-FFF2-40B4-BE49-F238E27FC236}">
                <a16:creationId xmlns:a16="http://schemas.microsoft.com/office/drawing/2014/main" id="{C54F1898-11CB-3DA1-AEC8-0C2A43D882AA}"/>
              </a:ext>
            </a:extLst>
          </p:cNvPr>
          <p:cNvSpPr txBox="1"/>
          <p:nvPr/>
        </p:nvSpPr>
        <p:spPr>
          <a:xfrm rot="16200000">
            <a:off x="1068388" y="3665538"/>
            <a:ext cx="1836738"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sng"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Offering level</a:t>
            </a:r>
          </a:p>
        </p:txBody>
      </p:sp>
      <p:sp>
        <p:nvSpPr>
          <p:cNvPr id="6152" name="TextBox 6151">
            <a:extLst>
              <a:ext uri="{FF2B5EF4-FFF2-40B4-BE49-F238E27FC236}">
                <a16:creationId xmlns:a16="http://schemas.microsoft.com/office/drawing/2014/main" id="{BDEA0BF9-8BBF-E694-693A-21FB0498B378}"/>
              </a:ext>
            </a:extLst>
          </p:cNvPr>
          <p:cNvSpPr txBox="1"/>
          <p:nvPr>
            <p:custDataLst>
              <p:tags r:id="rId4"/>
            </p:custDataLst>
          </p:nvPr>
        </p:nvSpPr>
        <p:spPr>
          <a:xfrm>
            <a:off x="580101" y="1121006"/>
            <a:ext cx="7059613" cy="369332"/>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Example: Strategy Value Curve of Ryanair and Competitors</a:t>
            </a:r>
          </a:p>
        </p:txBody>
      </p:sp>
      <p:sp>
        <p:nvSpPr>
          <p:cNvPr id="6153" name="Rectangle: Rounded Corners 6152">
            <a:extLst>
              <a:ext uri="{FF2B5EF4-FFF2-40B4-BE49-F238E27FC236}">
                <a16:creationId xmlns:a16="http://schemas.microsoft.com/office/drawing/2014/main" id="{37815030-38CB-A905-9767-95252D142FD4}"/>
              </a:ext>
            </a:extLst>
          </p:cNvPr>
          <p:cNvSpPr/>
          <p:nvPr/>
        </p:nvSpPr>
        <p:spPr>
          <a:xfrm>
            <a:off x="2755899" y="2000250"/>
            <a:ext cx="5048250" cy="390525"/>
          </a:xfrm>
          <a:prstGeom prst="roundRect">
            <a:avLst/>
          </a:prstGeom>
          <a:noFill/>
          <a:ln w="6350"/>
        </p:spPr>
        <p:style>
          <a:lnRef idx="2">
            <a:schemeClr val="accent1"/>
          </a:lnRef>
          <a:fillRef idx="1">
            <a:schemeClr val="lt1"/>
          </a:fillRef>
          <a:effectRef idx="0">
            <a:schemeClr val="accent1"/>
          </a:effectRef>
          <a:fontRef idx="minor">
            <a:schemeClr val="dk1"/>
          </a:fontRef>
        </p:style>
        <p:txBody>
          <a:bodyPr rtlCol="0" anchor="t"/>
          <a:lstStyle/>
          <a:p>
            <a:pPr algn="ctr"/>
            <a:endParaRPr lang="en-GB" sz="1200" noProof="0">
              <a:solidFill>
                <a:srgbClr val="776E6A"/>
              </a:solidFill>
            </a:endParaRPr>
          </a:p>
        </p:txBody>
      </p:sp>
      <p:sp>
        <p:nvSpPr>
          <p:cNvPr id="6154" name="Rectangle 6153">
            <a:extLst>
              <a:ext uri="{FF2B5EF4-FFF2-40B4-BE49-F238E27FC236}">
                <a16:creationId xmlns:a16="http://schemas.microsoft.com/office/drawing/2014/main" id="{59F3278B-B78B-8269-A311-56F7B262E7FC}"/>
              </a:ext>
            </a:extLst>
          </p:cNvPr>
          <p:cNvSpPr/>
          <p:nvPr/>
        </p:nvSpPr>
        <p:spPr>
          <a:xfrm>
            <a:off x="4371975" y="1909763"/>
            <a:ext cx="1804988" cy="18573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noProof="0">
                <a:solidFill>
                  <a:srgbClr val="776E6A"/>
                </a:solidFill>
              </a:rPr>
              <a:t>Relative Performance</a:t>
            </a:r>
          </a:p>
        </p:txBody>
      </p:sp>
      <p:sp>
        <p:nvSpPr>
          <p:cNvPr id="6155" name="TextBox 6154">
            <a:extLst>
              <a:ext uri="{FF2B5EF4-FFF2-40B4-BE49-F238E27FC236}">
                <a16:creationId xmlns:a16="http://schemas.microsoft.com/office/drawing/2014/main" id="{B28A0A96-CA07-35E0-5780-4CF48263C419}"/>
              </a:ext>
            </a:extLst>
          </p:cNvPr>
          <p:cNvSpPr txBox="1"/>
          <p:nvPr>
            <p:custDataLst>
              <p:tags r:id="rId5"/>
            </p:custDataLst>
          </p:nvPr>
        </p:nvSpPr>
        <p:spPr>
          <a:xfrm>
            <a:off x="1116180" y="5680075"/>
            <a:ext cx="1231900"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Importance</a:t>
            </a:r>
          </a:p>
        </p:txBody>
      </p:sp>
      <p:sp>
        <p:nvSpPr>
          <p:cNvPr id="6156" name="TextBox 6155">
            <a:extLst>
              <a:ext uri="{FF2B5EF4-FFF2-40B4-BE49-F238E27FC236}">
                <a16:creationId xmlns:a16="http://schemas.microsoft.com/office/drawing/2014/main" id="{5B5993C4-512F-8085-EAA2-52A75A52D049}"/>
              </a:ext>
            </a:extLst>
          </p:cNvPr>
          <p:cNvSpPr txBox="1"/>
          <p:nvPr>
            <p:custDataLst>
              <p:tags r:id="rId6"/>
            </p:custDataLst>
          </p:nvPr>
        </p:nvSpPr>
        <p:spPr>
          <a:xfrm>
            <a:off x="4264025" y="6019800"/>
            <a:ext cx="2222500"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sng"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Competing Factors</a:t>
            </a:r>
          </a:p>
        </p:txBody>
      </p:sp>
      <p:sp>
        <p:nvSpPr>
          <p:cNvPr id="6157" name="Rectangle 6156">
            <a:extLst>
              <a:ext uri="{FF2B5EF4-FFF2-40B4-BE49-F238E27FC236}">
                <a16:creationId xmlns:a16="http://schemas.microsoft.com/office/drawing/2014/main" id="{8F80D5D5-C5DD-C20C-6CF8-ACA2D0BD2553}"/>
              </a:ext>
            </a:extLst>
          </p:cNvPr>
          <p:cNvSpPr/>
          <p:nvPr/>
        </p:nvSpPr>
        <p:spPr>
          <a:xfrm>
            <a:off x="579438" y="1817688"/>
            <a:ext cx="1016000" cy="238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noProof="0">
                <a:solidFill>
                  <a:schemeClr val="bg1"/>
                </a:solidFill>
              </a:rPr>
              <a:t>Price</a:t>
            </a:r>
          </a:p>
        </p:txBody>
      </p:sp>
      <p:cxnSp>
        <p:nvCxnSpPr>
          <p:cNvPr id="6158" name="Straight Connector 6157">
            <a:extLst>
              <a:ext uri="{FF2B5EF4-FFF2-40B4-BE49-F238E27FC236}">
                <a16:creationId xmlns:a16="http://schemas.microsoft.com/office/drawing/2014/main" id="{07ECC94C-8C02-336D-8237-7B61BA9810A7}"/>
              </a:ext>
            </a:extLst>
          </p:cNvPr>
          <p:cNvCxnSpPr/>
          <p:nvPr>
            <p:custDataLst>
              <p:tags r:id="rId7"/>
            </p:custDataLst>
          </p:nvPr>
        </p:nvCxnSpPr>
        <p:spPr bwMode="auto">
          <a:xfrm flipH="1">
            <a:off x="700088" y="5124450"/>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59" name="Straight Connector 6158">
            <a:extLst>
              <a:ext uri="{FF2B5EF4-FFF2-40B4-BE49-F238E27FC236}">
                <a16:creationId xmlns:a16="http://schemas.microsoft.com/office/drawing/2014/main" id="{C3F3BCE0-751A-4322-50C8-3689A13E5A60}"/>
              </a:ext>
            </a:extLst>
          </p:cNvPr>
          <p:cNvCxnSpPr/>
          <p:nvPr>
            <p:custDataLst>
              <p:tags r:id="rId8"/>
            </p:custDataLst>
          </p:nvPr>
        </p:nvCxnSpPr>
        <p:spPr bwMode="auto">
          <a:xfrm flipH="1">
            <a:off x="700088" y="4545013"/>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60" name="Straight Connector 6159">
            <a:extLst>
              <a:ext uri="{FF2B5EF4-FFF2-40B4-BE49-F238E27FC236}">
                <a16:creationId xmlns:a16="http://schemas.microsoft.com/office/drawing/2014/main" id="{6553C049-F04B-F0A2-ACF1-07D6D9952374}"/>
              </a:ext>
            </a:extLst>
          </p:cNvPr>
          <p:cNvCxnSpPr/>
          <p:nvPr>
            <p:custDataLst>
              <p:tags r:id="rId9"/>
            </p:custDataLst>
          </p:nvPr>
        </p:nvCxnSpPr>
        <p:spPr bwMode="auto">
          <a:xfrm flipH="1">
            <a:off x="700088" y="4256088"/>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61" name="Straight Connector 6160">
            <a:extLst>
              <a:ext uri="{FF2B5EF4-FFF2-40B4-BE49-F238E27FC236}">
                <a16:creationId xmlns:a16="http://schemas.microsoft.com/office/drawing/2014/main" id="{B82F0CA8-07AC-6E3D-F77C-364E2B9EF3BA}"/>
              </a:ext>
            </a:extLst>
          </p:cNvPr>
          <p:cNvCxnSpPr/>
          <p:nvPr>
            <p:custDataLst>
              <p:tags r:id="rId10"/>
            </p:custDataLst>
          </p:nvPr>
        </p:nvCxnSpPr>
        <p:spPr bwMode="auto">
          <a:xfrm flipH="1">
            <a:off x="700088" y="3676650"/>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62" name="Straight Connector 6161">
            <a:extLst>
              <a:ext uri="{FF2B5EF4-FFF2-40B4-BE49-F238E27FC236}">
                <a16:creationId xmlns:a16="http://schemas.microsoft.com/office/drawing/2014/main" id="{E2521AAB-5710-6627-5A9D-C49082093578}"/>
              </a:ext>
            </a:extLst>
          </p:cNvPr>
          <p:cNvCxnSpPr/>
          <p:nvPr>
            <p:custDataLst>
              <p:tags r:id="rId11"/>
            </p:custDataLst>
          </p:nvPr>
        </p:nvCxnSpPr>
        <p:spPr bwMode="auto">
          <a:xfrm flipH="1">
            <a:off x="700088" y="3386138"/>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63" name="Straight Connector 6162">
            <a:extLst>
              <a:ext uri="{FF2B5EF4-FFF2-40B4-BE49-F238E27FC236}">
                <a16:creationId xmlns:a16="http://schemas.microsoft.com/office/drawing/2014/main" id="{16384E44-4F54-2013-C2BB-0D8BDDD2C77A}"/>
              </a:ext>
            </a:extLst>
          </p:cNvPr>
          <p:cNvCxnSpPr/>
          <p:nvPr>
            <p:custDataLst>
              <p:tags r:id="rId12"/>
            </p:custDataLst>
          </p:nvPr>
        </p:nvCxnSpPr>
        <p:spPr bwMode="auto">
          <a:xfrm flipH="1">
            <a:off x="700088" y="2806700"/>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64" name="Straight Connector 6163">
            <a:extLst>
              <a:ext uri="{FF2B5EF4-FFF2-40B4-BE49-F238E27FC236}">
                <a16:creationId xmlns:a16="http://schemas.microsoft.com/office/drawing/2014/main" id="{2F0A161F-9C1D-CC6B-F502-3520DCC0110B}"/>
              </a:ext>
            </a:extLst>
          </p:cNvPr>
          <p:cNvCxnSpPr/>
          <p:nvPr>
            <p:custDataLst>
              <p:tags r:id="rId13"/>
            </p:custDataLst>
          </p:nvPr>
        </p:nvCxnSpPr>
        <p:spPr bwMode="auto">
          <a:xfrm flipH="1">
            <a:off x="700088" y="2517775"/>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7" name="Chart 16">
            <a:extLst>
              <a:ext uri="{FF2B5EF4-FFF2-40B4-BE49-F238E27FC236}">
                <a16:creationId xmlns:a16="http://schemas.microsoft.com/office/drawing/2014/main" id="{D5C7CD5C-EDE2-7C9B-48B7-201213CC41B2}"/>
              </a:ext>
            </a:extLst>
          </p:cNvPr>
          <p:cNvGraphicFramePr/>
          <p:nvPr>
            <p:custDataLst>
              <p:tags r:id="rId14"/>
            </p:custDataLst>
            <p:extLst>
              <p:ext uri="{D42A27DB-BD31-4B8C-83A1-F6EECF244321}">
                <p14:modId xmlns:p14="http://schemas.microsoft.com/office/powerpoint/2010/main" val="2665080911"/>
              </p:ext>
            </p:extLst>
          </p:nvPr>
        </p:nvGraphicFramePr>
        <p:xfrm>
          <a:off x="660400" y="2435225"/>
          <a:ext cx="819150" cy="2771775"/>
        </p:xfrm>
        <a:graphic>
          <a:graphicData uri="http://schemas.openxmlformats.org/drawingml/2006/chart">
            <c:chart xmlns:c="http://schemas.openxmlformats.org/drawingml/2006/chart" xmlns:r="http://schemas.openxmlformats.org/officeDocument/2006/relationships" r:id="rId38"/>
          </a:graphicData>
        </a:graphic>
      </p:graphicFrame>
      <p:sp>
        <p:nvSpPr>
          <p:cNvPr id="6166" name="Rectangle 6165">
            <a:extLst>
              <a:ext uri="{FF2B5EF4-FFF2-40B4-BE49-F238E27FC236}">
                <a16:creationId xmlns:a16="http://schemas.microsoft.com/office/drawing/2014/main" id="{DC412A11-295B-AF46-039B-0E8B920BA7E5}"/>
              </a:ext>
            </a:extLst>
          </p:cNvPr>
          <p:cNvSpPr/>
          <p:nvPr>
            <p:custDataLst>
              <p:tags r:id="rId15"/>
            </p:custDataLst>
          </p:nvPr>
        </p:nvSpPr>
        <p:spPr bwMode="gray">
          <a:xfrm>
            <a:off x="546100" y="5060950"/>
            <a:ext cx="68263" cy="136525"/>
          </a:xfrm>
          <a:prstGeom prst="rect">
            <a:avLst/>
          </a:prstGeom>
          <a:noFill/>
          <a:ln>
            <a:noFill/>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0B7051D6-211A-404E-B1DC-3C4ED6BF94E6}" type="datetime'''''''''''''''0'''''''''''''''">
              <a:rPr lang="en-GB" sz="1000" noProof="0" smtClean="0">
                <a:solidFill>
                  <a:schemeClr val="tx1"/>
                </a:solidFill>
              </a:rPr>
              <a:pPr algn="r">
                <a:lnSpc>
                  <a:spcPct val="90000"/>
                </a:lnSpc>
                <a:spcBef>
                  <a:spcPct val="0"/>
                </a:spcBef>
                <a:spcAft>
                  <a:spcPct val="0"/>
                </a:spcAft>
              </a:pPr>
              <a:t>0</a:t>
            </a:fld>
            <a:endParaRPr lang="en-GB" sz="1000" noProof="0">
              <a:solidFill>
                <a:schemeClr val="tx1"/>
              </a:solidFill>
            </a:endParaRPr>
          </a:p>
        </p:txBody>
      </p:sp>
      <p:sp>
        <p:nvSpPr>
          <p:cNvPr id="6167" name="Rectangle 6166">
            <a:extLst>
              <a:ext uri="{FF2B5EF4-FFF2-40B4-BE49-F238E27FC236}">
                <a16:creationId xmlns:a16="http://schemas.microsoft.com/office/drawing/2014/main" id="{19A4342D-ED0E-E0AB-C66A-DE7E02120866}"/>
              </a:ext>
            </a:extLst>
          </p:cNvPr>
          <p:cNvSpPr/>
          <p:nvPr>
            <p:custDataLst>
              <p:tags r:id="rId16"/>
            </p:custDataLst>
          </p:nvPr>
        </p:nvSpPr>
        <p:spPr bwMode="gray">
          <a:xfrm>
            <a:off x="384175" y="4481513"/>
            <a:ext cx="230188" cy="136525"/>
          </a:xfrm>
          <a:prstGeom prst="rect">
            <a:avLst/>
          </a:prstGeom>
          <a:noFill/>
          <a:ln>
            <a:noFill/>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23688ACB-4D74-49BE-B9BF-C2FBCA949674}" type="datetime'''''''''''''4''''0'''''''">
              <a:rPr lang="en-GB" sz="1000" noProof="0" smtClean="0">
                <a:solidFill>
                  <a:schemeClr val="tx1"/>
                </a:solidFill>
              </a:rPr>
              <a:pPr algn="r">
                <a:lnSpc>
                  <a:spcPct val="90000"/>
                </a:lnSpc>
                <a:spcBef>
                  <a:spcPct val="0"/>
                </a:spcBef>
                <a:spcAft>
                  <a:spcPct val="0"/>
                </a:spcAft>
              </a:pPr>
              <a:t>40</a:t>
            </a:fld>
            <a:r>
              <a:rPr lang="en-GB" sz="1000" noProof="0">
                <a:solidFill>
                  <a:schemeClr val="tx1"/>
                </a:solidFill>
              </a:rPr>
              <a:t> €</a:t>
            </a:r>
          </a:p>
        </p:txBody>
      </p:sp>
      <p:sp>
        <p:nvSpPr>
          <p:cNvPr id="6168" name="Rectangle 6167">
            <a:extLst>
              <a:ext uri="{FF2B5EF4-FFF2-40B4-BE49-F238E27FC236}">
                <a16:creationId xmlns:a16="http://schemas.microsoft.com/office/drawing/2014/main" id="{2576C3A6-10D4-5142-C8C7-13C50BAA968D}"/>
              </a:ext>
            </a:extLst>
          </p:cNvPr>
          <p:cNvSpPr/>
          <p:nvPr>
            <p:custDataLst>
              <p:tags r:id="rId17"/>
            </p:custDataLst>
          </p:nvPr>
        </p:nvSpPr>
        <p:spPr bwMode="gray">
          <a:xfrm>
            <a:off x="384175" y="4192588"/>
            <a:ext cx="230188" cy="136525"/>
          </a:xfrm>
          <a:prstGeom prst="rect">
            <a:avLst/>
          </a:prstGeom>
          <a:noFill/>
          <a:ln>
            <a:noFill/>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20CAE8E0-C7E2-4DC9-8047-E3E990366EBE}" type="datetime'''''''6''''''''''''''''''''''''''''''''''''''''''0'''''''">
              <a:rPr lang="en-GB" sz="1000" noProof="0" smtClean="0">
                <a:solidFill>
                  <a:schemeClr val="tx1"/>
                </a:solidFill>
              </a:rPr>
              <a:pPr algn="r">
                <a:lnSpc>
                  <a:spcPct val="90000"/>
                </a:lnSpc>
                <a:spcBef>
                  <a:spcPct val="0"/>
                </a:spcBef>
                <a:spcAft>
                  <a:spcPct val="0"/>
                </a:spcAft>
              </a:pPr>
              <a:t>60</a:t>
            </a:fld>
            <a:r>
              <a:rPr lang="en-GB" sz="1000" noProof="0">
                <a:solidFill>
                  <a:schemeClr val="tx1"/>
                </a:solidFill>
              </a:rPr>
              <a:t> €</a:t>
            </a:r>
          </a:p>
        </p:txBody>
      </p:sp>
      <p:sp>
        <p:nvSpPr>
          <p:cNvPr id="6169" name="Rectangle 6168">
            <a:extLst>
              <a:ext uri="{FF2B5EF4-FFF2-40B4-BE49-F238E27FC236}">
                <a16:creationId xmlns:a16="http://schemas.microsoft.com/office/drawing/2014/main" id="{3366814C-44A5-5C8E-5B16-346BF2291E9A}"/>
              </a:ext>
            </a:extLst>
          </p:cNvPr>
          <p:cNvSpPr/>
          <p:nvPr>
            <p:custDataLst>
              <p:tags r:id="rId18"/>
            </p:custDataLst>
          </p:nvPr>
        </p:nvSpPr>
        <p:spPr bwMode="gray">
          <a:xfrm>
            <a:off x="315913" y="3613150"/>
            <a:ext cx="298450" cy="136525"/>
          </a:xfrm>
          <a:prstGeom prst="rect">
            <a:avLst/>
          </a:prstGeom>
          <a:noFill/>
          <a:ln>
            <a:noFill/>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9C53E53D-2145-47BC-A5C7-85617ABD617B}" type="datetime'''1''''''''''''''''''''''''0''''''''''''''0'''">
              <a:rPr lang="en-GB" sz="1000" noProof="0" smtClean="0">
                <a:solidFill>
                  <a:schemeClr val="tx1"/>
                </a:solidFill>
              </a:rPr>
              <a:pPr algn="r">
                <a:lnSpc>
                  <a:spcPct val="90000"/>
                </a:lnSpc>
                <a:spcBef>
                  <a:spcPct val="0"/>
                </a:spcBef>
                <a:spcAft>
                  <a:spcPct val="0"/>
                </a:spcAft>
              </a:pPr>
              <a:t>100</a:t>
            </a:fld>
            <a:r>
              <a:rPr lang="en-GB" sz="1000" noProof="0">
                <a:solidFill>
                  <a:schemeClr val="tx1"/>
                </a:solidFill>
              </a:rPr>
              <a:t> €</a:t>
            </a:r>
          </a:p>
        </p:txBody>
      </p:sp>
      <p:sp>
        <p:nvSpPr>
          <p:cNvPr id="6170" name="Rectangle 6169">
            <a:extLst>
              <a:ext uri="{FF2B5EF4-FFF2-40B4-BE49-F238E27FC236}">
                <a16:creationId xmlns:a16="http://schemas.microsoft.com/office/drawing/2014/main" id="{7B1E0223-CE8E-E1A8-8182-A893F3B6E0E7}"/>
              </a:ext>
            </a:extLst>
          </p:cNvPr>
          <p:cNvSpPr/>
          <p:nvPr>
            <p:custDataLst>
              <p:tags r:id="rId19"/>
            </p:custDataLst>
          </p:nvPr>
        </p:nvSpPr>
        <p:spPr bwMode="gray">
          <a:xfrm>
            <a:off x="315913" y="3322638"/>
            <a:ext cx="298450" cy="136525"/>
          </a:xfrm>
          <a:prstGeom prst="rect">
            <a:avLst/>
          </a:prstGeom>
          <a:noFill/>
          <a:ln>
            <a:noFill/>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27453B4F-B2DA-4532-996D-0CAB7C5C05F0}" type="datetime'''''''1''''''''''''''''2''''''''0'''">
              <a:rPr lang="en-GB" sz="1000" noProof="0" smtClean="0">
                <a:solidFill>
                  <a:schemeClr val="tx1"/>
                </a:solidFill>
              </a:rPr>
              <a:pPr algn="r">
                <a:lnSpc>
                  <a:spcPct val="90000"/>
                </a:lnSpc>
                <a:spcBef>
                  <a:spcPct val="0"/>
                </a:spcBef>
                <a:spcAft>
                  <a:spcPct val="0"/>
                </a:spcAft>
              </a:pPr>
              <a:t>120</a:t>
            </a:fld>
            <a:r>
              <a:rPr lang="en-GB" sz="1000" noProof="0">
                <a:solidFill>
                  <a:schemeClr val="tx1"/>
                </a:solidFill>
              </a:rPr>
              <a:t> €</a:t>
            </a:r>
          </a:p>
        </p:txBody>
      </p:sp>
      <p:sp>
        <p:nvSpPr>
          <p:cNvPr id="6171" name="Rectangle 6170">
            <a:extLst>
              <a:ext uri="{FF2B5EF4-FFF2-40B4-BE49-F238E27FC236}">
                <a16:creationId xmlns:a16="http://schemas.microsoft.com/office/drawing/2014/main" id="{30F909A8-817C-AC43-C9BF-BC5076387606}"/>
              </a:ext>
            </a:extLst>
          </p:cNvPr>
          <p:cNvSpPr/>
          <p:nvPr>
            <p:custDataLst>
              <p:tags r:id="rId20"/>
            </p:custDataLst>
          </p:nvPr>
        </p:nvSpPr>
        <p:spPr bwMode="gray">
          <a:xfrm>
            <a:off x="315913" y="2743200"/>
            <a:ext cx="298450" cy="136525"/>
          </a:xfrm>
          <a:prstGeom prst="rect">
            <a:avLst/>
          </a:prstGeom>
          <a:noFill/>
          <a:ln>
            <a:noFill/>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9F015D4B-D4D9-4206-A49A-788C9398C99A}" type="datetime'''''''''''''''1''''''''6''''''''0'''''''''''''''''''''">
              <a:rPr lang="en-GB" sz="1000" noProof="0" smtClean="0">
                <a:solidFill>
                  <a:schemeClr val="tx1"/>
                </a:solidFill>
              </a:rPr>
              <a:pPr algn="r">
                <a:lnSpc>
                  <a:spcPct val="90000"/>
                </a:lnSpc>
                <a:spcBef>
                  <a:spcPct val="0"/>
                </a:spcBef>
                <a:spcAft>
                  <a:spcPct val="0"/>
                </a:spcAft>
              </a:pPr>
              <a:t>160</a:t>
            </a:fld>
            <a:r>
              <a:rPr lang="en-GB" sz="1000" noProof="0">
                <a:solidFill>
                  <a:schemeClr val="tx1"/>
                </a:solidFill>
              </a:rPr>
              <a:t> €</a:t>
            </a:r>
          </a:p>
        </p:txBody>
      </p:sp>
      <p:sp>
        <p:nvSpPr>
          <p:cNvPr id="6172" name="Rectangle 6171">
            <a:extLst>
              <a:ext uri="{FF2B5EF4-FFF2-40B4-BE49-F238E27FC236}">
                <a16:creationId xmlns:a16="http://schemas.microsoft.com/office/drawing/2014/main" id="{0687998F-3283-D757-6643-0F62C637A4AC}"/>
              </a:ext>
            </a:extLst>
          </p:cNvPr>
          <p:cNvSpPr/>
          <p:nvPr>
            <p:custDataLst>
              <p:tags r:id="rId21"/>
            </p:custDataLst>
          </p:nvPr>
        </p:nvSpPr>
        <p:spPr bwMode="gray">
          <a:xfrm>
            <a:off x="315913" y="2454275"/>
            <a:ext cx="298450" cy="136525"/>
          </a:xfrm>
          <a:prstGeom prst="rect">
            <a:avLst/>
          </a:prstGeom>
          <a:noFill/>
          <a:ln>
            <a:noFill/>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678CDCE9-66DA-4608-A996-4B9329B6553B}" type="datetime'''''''18''''''''''0'''''">
              <a:rPr lang="en-GB" sz="1000" noProof="0" smtClean="0">
                <a:solidFill>
                  <a:schemeClr val="tx1"/>
                </a:solidFill>
              </a:rPr>
              <a:pPr algn="r">
                <a:lnSpc>
                  <a:spcPct val="90000"/>
                </a:lnSpc>
                <a:spcBef>
                  <a:spcPct val="0"/>
                </a:spcBef>
                <a:spcAft>
                  <a:spcPct val="0"/>
                </a:spcAft>
              </a:pPr>
              <a:t>180</a:t>
            </a:fld>
            <a:r>
              <a:rPr lang="en-GB" sz="1000" noProof="0">
                <a:solidFill>
                  <a:schemeClr val="tx1"/>
                </a:solidFill>
              </a:rPr>
              <a:t> €</a:t>
            </a:r>
          </a:p>
        </p:txBody>
      </p:sp>
      <p:cxnSp>
        <p:nvCxnSpPr>
          <p:cNvPr id="6173" name="Straight Connector 6172">
            <a:extLst>
              <a:ext uri="{FF2B5EF4-FFF2-40B4-BE49-F238E27FC236}">
                <a16:creationId xmlns:a16="http://schemas.microsoft.com/office/drawing/2014/main" id="{71DC414E-0EFA-05CC-54A6-A7D2A9753B2D}"/>
              </a:ext>
            </a:extLst>
          </p:cNvPr>
          <p:cNvCxnSpPr>
            <a:cxnSpLocks/>
          </p:cNvCxnSpPr>
          <p:nvPr>
            <p:custDataLst>
              <p:tags r:id="rId22"/>
            </p:custDataLst>
          </p:nvPr>
        </p:nvCxnSpPr>
        <p:spPr bwMode="auto">
          <a:xfrm>
            <a:off x="1044575" y="2392363"/>
            <a:ext cx="25400" cy="1254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74" name="Straight Connector 6173">
            <a:extLst>
              <a:ext uri="{FF2B5EF4-FFF2-40B4-BE49-F238E27FC236}">
                <a16:creationId xmlns:a16="http://schemas.microsoft.com/office/drawing/2014/main" id="{67465331-1251-E800-AE9A-4D291B4D0C86}"/>
              </a:ext>
            </a:extLst>
          </p:cNvPr>
          <p:cNvCxnSpPr>
            <a:cxnSpLocks/>
          </p:cNvCxnSpPr>
          <p:nvPr>
            <p:custDataLst>
              <p:tags r:id="rId23"/>
            </p:custDataLst>
          </p:nvPr>
        </p:nvCxnSpPr>
        <p:spPr bwMode="auto">
          <a:xfrm flipH="1">
            <a:off x="1112838" y="2519363"/>
            <a:ext cx="39688"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75" name="Straight Connector 6174">
            <a:extLst>
              <a:ext uri="{FF2B5EF4-FFF2-40B4-BE49-F238E27FC236}">
                <a16:creationId xmlns:a16="http://schemas.microsoft.com/office/drawing/2014/main" id="{BB78537B-A0B8-7FFD-241F-89A1075E53FC}"/>
              </a:ext>
            </a:extLst>
          </p:cNvPr>
          <p:cNvCxnSpPr/>
          <p:nvPr>
            <p:custDataLst>
              <p:tags r:id="rId24"/>
            </p:custDataLst>
          </p:nvPr>
        </p:nvCxnSpPr>
        <p:spPr bwMode="auto">
          <a:xfrm>
            <a:off x="1058863" y="3298825"/>
            <a:ext cx="6350" cy="444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76" name="Straight Connector 6175">
            <a:extLst>
              <a:ext uri="{FF2B5EF4-FFF2-40B4-BE49-F238E27FC236}">
                <a16:creationId xmlns:a16="http://schemas.microsoft.com/office/drawing/2014/main" id="{58107A4C-C7A0-D855-43EF-95C92867FB17}"/>
              </a:ext>
            </a:extLst>
          </p:cNvPr>
          <p:cNvCxnSpPr>
            <a:cxnSpLocks/>
          </p:cNvCxnSpPr>
          <p:nvPr>
            <p:custDataLst>
              <p:tags r:id="rId25"/>
            </p:custDataLst>
          </p:nvPr>
        </p:nvCxnSpPr>
        <p:spPr bwMode="auto">
          <a:xfrm>
            <a:off x="1055688" y="4124325"/>
            <a:ext cx="9525" cy="889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177" name="Rectangle 6176">
            <a:extLst>
              <a:ext uri="{FF2B5EF4-FFF2-40B4-BE49-F238E27FC236}">
                <a16:creationId xmlns:a16="http://schemas.microsoft.com/office/drawing/2014/main" id="{38F8F471-3172-CD4B-A074-62F5F28483BE}"/>
              </a:ext>
            </a:extLst>
          </p:cNvPr>
          <p:cNvSpPr/>
          <p:nvPr>
            <p:custDataLst>
              <p:tags r:id="rId26"/>
            </p:custDataLst>
          </p:nvPr>
        </p:nvSpPr>
        <p:spPr bwMode="gray">
          <a:xfrm>
            <a:off x="523875" y="2241550"/>
            <a:ext cx="10128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t"/>
          <a:lstStyle/>
          <a:p>
            <a:pPr>
              <a:lnSpc>
                <a:spcPct val="90000"/>
              </a:lnSpc>
              <a:spcBef>
                <a:spcPct val="0"/>
              </a:spcBef>
              <a:spcAft>
                <a:spcPct val="0"/>
              </a:spcAft>
            </a:pPr>
            <a:fld id="{B271F45E-43D8-4D1A-8633-AF182BB64052}" type="datetime'''Br''''i''''t''''i''''s''h'' ''''''''''Airwa''''''y''s '''">
              <a:rPr lang="en-GB" sz="1100" b="1" noProof="0" smtClean="0">
                <a:solidFill>
                  <a:schemeClr val="tx1"/>
                </a:solidFill>
              </a:rPr>
              <a:pPr>
                <a:lnSpc>
                  <a:spcPct val="90000"/>
                </a:lnSpc>
                <a:spcBef>
                  <a:spcPct val="0"/>
                </a:spcBef>
                <a:spcAft>
                  <a:spcPct val="0"/>
                </a:spcAft>
              </a:pPr>
              <a:t>British Airways </a:t>
            </a:fld>
            <a:endParaRPr lang="en-GB" sz="1100" b="1" noProof="0">
              <a:solidFill>
                <a:schemeClr val="tx1"/>
              </a:solidFill>
            </a:endParaRPr>
          </a:p>
        </p:txBody>
      </p:sp>
      <p:sp>
        <p:nvSpPr>
          <p:cNvPr id="6178" name="Rectangle 6177">
            <a:extLst>
              <a:ext uri="{FF2B5EF4-FFF2-40B4-BE49-F238E27FC236}">
                <a16:creationId xmlns:a16="http://schemas.microsoft.com/office/drawing/2014/main" id="{84C9B2E0-F2DA-24FC-41E4-1362A7C79AA2}"/>
              </a:ext>
            </a:extLst>
          </p:cNvPr>
          <p:cNvSpPr/>
          <p:nvPr>
            <p:custDataLst>
              <p:tags r:id="rId27"/>
            </p:custDataLst>
          </p:nvPr>
        </p:nvSpPr>
        <p:spPr bwMode="gray">
          <a:xfrm>
            <a:off x="1152525" y="2449513"/>
            <a:ext cx="3397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t"/>
          <a:lstStyle/>
          <a:p>
            <a:pPr>
              <a:lnSpc>
                <a:spcPct val="90000"/>
              </a:lnSpc>
              <a:spcBef>
                <a:spcPct val="0"/>
              </a:spcBef>
              <a:spcAft>
                <a:spcPct val="0"/>
              </a:spcAft>
            </a:pPr>
            <a:fld id="{1A4EE99B-3C2E-4895-B428-232F5D0C26D9}" type="datetime'1''''''''''''8''''0'">
              <a:rPr lang="en-GB" sz="1100" noProof="0" smtClean="0">
                <a:solidFill>
                  <a:srgbClr val="000000"/>
                </a:solidFill>
              </a:rPr>
              <a:pPr>
                <a:lnSpc>
                  <a:spcPct val="90000"/>
                </a:lnSpc>
                <a:spcBef>
                  <a:spcPct val="0"/>
                </a:spcBef>
                <a:spcAft>
                  <a:spcPct val="0"/>
                </a:spcAft>
              </a:pPr>
              <a:t>180</a:t>
            </a:fld>
            <a:r>
              <a:rPr lang="en-GB" sz="1100" noProof="0">
                <a:solidFill>
                  <a:schemeClr val="tx1"/>
                </a:solidFill>
              </a:rPr>
              <a:t>€</a:t>
            </a:r>
            <a:endParaRPr lang="en-GB" sz="1400" noProof="0">
              <a:solidFill>
                <a:schemeClr val="tx1"/>
              </a:solidFill>
            </a:endParaRPr>
          </a:p>
        </p:txBody>
      </p:sp>
      <p:sp>
        <p:nvSpPr>
          <p:cNvPr id="6179" name="Rectangle 6178">
            <a:extLst>
              <a:ext uri="{FF2B5EF4-FFF2-40B4-BE49-F238E27FC236}">
                <a16:creationId xmlns:a16="http://schemas.microsoft.com/office/drawing/2014/main" id="{613EC813-2566-F72E-899B-BCDC616015F4}"/>
              </a:ext>
            </a:extLst>
          </p:cNvPr>
          <p:cNvSpPr/>
          <p:nvPr>
            <p:custDataLst>
              <p:tags r:id="rId28"/>
            </p:custDataLst>
          </p:nvPr>
        </p:nvSpPr>
        <p:spPr bwMode="gray">
          <a:xfrm>
            <a:off x="736600" y="3148013"/>
            <a:ext cx="6270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t"/>
          <a:lstStyle/>
          <a:p>
            <a:pPr>
              <a:lnSpc>
                <a:spcPct val="90000"/>
              </a:lnSpc>
              <a:spcBef>
                <a:spcPct val="0"/>
              </a:spcBef>
              <a:spcAft>
                <a:spcPct val="0"/>
              </a:spcAft>
            </a:pPr>
            <a:fld id="{7D7F88C6-FC6C-4081-A15E-6C67817CADD6}" type="datetime'''T''''h''''''o''''m''''''''''''''so''''n'''''''''">
              <a:rPr lang="en-GB" sz="1100" b="1" noProof="0" smtClean="0">
                <a:solidFill>
                  <a:schemeClr val="tx1"/>
                </a:solidFill>
              </a:rPr>
              <a:pPr>
                <a:lnSpc>
                  <a:spcPct val="90000"/>
                </a:lnSpc>
                <a:spcBef>
                  <a:spcPct val="0"/>
                </a:spcBef>
                <a:spcAft>
                  <a:spcPct val="0"/>
                </a:spcAft>
              </a:pPr>
              <a:t>Thomson</a:t>
            </a:fld>
            <a:endParaRPr lang="en-GB" sz="1100" b="1" noProof="0">
              <a:solidFill>
                <a:schemeClr val="tx1"/>
              </a:solidFill>
            </a:endParaRPr>
          </a:p>
        </p:txBody>
      </p:sp>
      <p:sp>
        <p:nvSpPr>
          <p:cNvPr id="6180" name="Rectangle 6179">
            <a:extLst>
              <a:ext uri="{FF2B5EF4-FFF2-40B4-BE49-F238E27FC236}">
                <a16:creationId xmlns:a16="http://schemas.microsoft.com/office/drawing/2014/main" id="{2E20B844-18B7-1B02-5D21-FB8E61CCF44A}"/>
              </a:ext>
            </a:extLst>
          </p:cNvPr>
          <p:cNvSpPr/>
          <p:nvPr>
            <p:custDataLst>
              <p:tags r:id="rId29"/>
            </p:custDataLst>
          </p:nvPr>
        </p:nvSpPr>
        <p:spPr bwMode="gray">
          <a:xfrm>
            <a:off x="900113" y="3444875"/>
            <a:ext cx="3397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ctr"/>
          <a:lstStyle/>
          <a:p>
            <a:pPr>
              <a:lnSpc>
                <a:spcPct val="90000"/>
              </a:lnSpc>
              <a:spcBef>
                <a:spcPct val="0"/>
              </a:spcBef>
              <a:spcAft>
                <a:spcPct val="0"/>
              </a:spcAft>
            </a:pPr>
            <a:fld id="{B163C72B-4CA5-4C8B-86C1-045B968A23E4}" type="datetime'''''''''''''''''''''''1''2''0'''''''''''''''''''">
              <a:rPr lang="en-GB" sz="1100" noProof="0" smtClean="0">
                <a:solidFill>
                  <a:schemeClr val="tx1"/>
                </a:solidFill>
              </a:rPr>
              <a:pPr>
                <a:lnSpc>
                  <a:spcPct val="90000"/>
                </a:lnSpc>
                <a:spcBef>
                  <a:spcPct val="0"/>
                </a:spcBef>
                <a:spcAft>
                  <a:spcPct val="0"/>
                </a:spcAft>
              </a:pPr>
              <a:t>120</a:t>
            </a:fld>
            <a:r>
              <a:rPr lang="en-GB" sz="1100" noProof="0">
                <a:solidFill>
                  <a:schemeClr val="tx1"/>
                </a:solidFill>
              </a:rPr>
              <a:t>€</a:t>
            </a:r>
            <a:endParaRPr lang="en-GB" sz="1400" noProof="0">
              <a:solidFill>
                <a:schemeClr val="tx1"/>
              </a:solidFill>
            </a:endParaRPr>
          </a:p>
        </p:txBody>
      </p:sp>
      <p:sp>
        <p:nvSpPr>
          <p:cNvPr id="6181" name="Rectangle 6180">
            <a:extLst>
              <a:ext uri="{FF2B5EF4-FFF2-40B4-BE49-F238E27FC236}">
                <a16:creationId xmlns:a16="http://schemas.microsoft.com/office/drawing/2014/main" id="{CAAC9F49-96FA-4ECB-2D6C-EBDD9E8BF1E9}"/>
              </a:ext>
            </a:extLst>
          </p:cNvPr>
          <p:cNvSpPr/>
          <p:nvPr>
            <p:custDataLst>
              <p:tags r:id="rId30"/>
            </p:custDataLst>
          </p:nvPr>
        </p:nvSpPr>
        <p:spPr bwMode="gray">
          <a:xfrm>
            <a:off x="747713" y="3959225"/>
            <a:ext cx="6000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t"/>
          <a:lstStyle/>
          <a:p>
            <a:pPr>
              <a:lnSpc>
                <a:spcPct val="90000"/>
              </a:lnSpc>
              <a:spcBef>
                <a:spcPct val="0"/>
              </a:spcBef>
              <a:spcAft>
                <a:spcPct val="0"/>
              </a:spcAft>
            </a:pPr>
            <a:fld id="{E812C259-E7FF-48BC-A54F-32454E54635C}" type="datetime'''''''''''''''''''''R''''''''y''a''''n''a''''''''i''r'' '''''">
              <a:rPr lang="en-GB" sz="1200" b="1" noProof="0" smtClean="0">
                <a:solidFill>
                  <a:schemeClr val="tx1"/>
                </a:solidFill>
              </a:rPr>
              <a:pPr>
                <a:lnSpc>
                  <a:spcPct val="90000"/>
                </a:lnSpc>
                <a:spcBef>
                  <a:spcPct val="0"/>
                </a:spcBef>
                <a:spcAft>
                  <a:spcPct val="0"/>
                </a:spcAft>
              </a:pPr>
              <a:t>Ryanair </a:t>
            </a:fld>
            <a:endParaRPr lang="en-GB" sz="1200" b="1" noProof="0">
              <a:solidFill>
                <a:schemeClr val="tx1"/>
              </a:solidFill>
            </a:endParaRPr>
          </a:p>
        </p:txBody>
      </p:sp>
      <p:sp>
        <p:nvSpPr>
          <p:cNvPr id="6182" name="Rectangle 6181">
            <a:extLst>
              <a:ext uri="{FF2B5EF4-FFF2-40B4-BE49-F238E27FC236}">
                <a16:creationId xmlns:a16="http://schemas.microsoft.com/office/drawing/2014/main" id="{D355A980-3945-8B22-FA2A-8BB3DFA42EAB}"/>
              </a:ext>
            </a:extLst>
          </p:cNvPr>
          <p:cNvSpPr/>
          <p:nvPr>
            <p:custDataLst>
              <p:tags r:id="rId31"/>
            </p:custDataLst>
          </p:nvPr>
        </p:nvSpPr>
        <p:spPr bwMode="gray">
          <a:xfrm>
            <a:off x="1128713" y="4181475"/>
            <a:ext cx="2651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ctr"/>
          <a:lstStyle/>
          <a:p>
            <a:pPr>
              <a:lnSpc>
                <a:spcPct val="90000"/>
              </a:lnSpc>
              <a:spcBef>
                <a:spcPct val="0"/>
              </a:spcBef>
              <a:spcAft>
                <a:spcPct val="0"/>
              </a:spcAft>
            </a:pPr>
            <a:fld id="{1A0075D6-2946-46AE-AC34-94D740CE1A46}" type="datetime'''''''''''6''''0'''''''''''''''''''''''''''''''''''''">
              <a:rPr lang="en-GB" sz="1100" noProof="0" smtClean="0">
                <a:solidFill>
                  <a:schemeClr val="tx1"/>
                </a:solidFill>
              </a:rPr>
              <a:pPr>
                <a:lnSpc>
                  <a:spcPct val="90000"/>
                </a:lnSpc>
                <a:spcBef>
                  <a:spcPct val="0"/>
                </a:spcBef>
                <a:spcAft>
                  <a:spcPct val="0"/>
                </a:spcAft>
              </a:pPr>
              <a:t>60</a:t>
            </a:fld>
            <a:r>
              <a:rPr lang="en-GB" sz="1100" noProof="0">
                <a:solidFill>
                  <a:schemeClr val="tx1"/>
                </a:solidFill>
              </a:rPr>
              <a:t>€</a:t>
            </a:r>
          </a:p>
        </p:txBody>
      </p:sp>
      <p:cxnSp>
        <p:nvCxnSpPr>
          <p:cNvPr id="6243" name="Straight Connector 6242">
            <a:extLst>
              <a:ext uri="{FF2B5EF4-FFF2-40B4-BE49-F238E27FC236}">
                <a16:creationId xmlns:a16="http://schemas.microsoft.com/office/drawing/2014/main" id="{3105EBB9-49DC-3E52-23BE-BFF5F24A6F67}"/>
              </a:ext>
            </a:extLst>
          </p:cNvPr>
          <p:cNvCxnSpPr>
            <a:cxnSpLocks/>
          </p:cNvCxnSpPr>
          <p:nvPr>
            <p:custDataLst>
              <p:tags r:id="rId32"/>
            </p:custDataLst>
          </p:nvPr>
        </p:nvCxnSpPr>
        <p:spPr>
          <a:xfrm>
            <a:off x="1795296" y="1909763"/>
            <a:ext cx="0" cy="3725861"/>
          </a:xfrm>
          <a:prstGeom prst="line">
            <a:avLst/>
          </a:prstGeom>
          <a:ln w="635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6248" name="Table 6247">
            <a:extLst>
              <a:ext uri="{FF2B5EF4-FFF2-40B4-BE49-F238E27FC236}">
                <a16:creationId xmlns:a16="http://schemas.microsoft.com/office/drawing/2014/main" id="{3D5F3D12-7DDE-4304-6335-E0D3225DA174}"/>
              </a:ext>
            </a:extLst>
          </p:cNvPr>
          <p:cNvGraphicFramePr>
            <a:graphicFrameLocks noGrp="1"/>
          </p:cNvGraphicFramePr>
          <p:nvPr>
            <p:extLst>
              <p:ext uri="{D42A27DB-BD31-4B8C-83A1-F6EECF244321}">
                <p14:modId xmlns:p14="http://schemas.microsoft.com/office/powerpoint/2010/main" val="746260773"/>
              </p:ext>
            </p:extLst>
          </p:nvPr>
        </p:nvGraphicFramePr>
        <p:xfrm>
          <a:off x="2279650" y="5737225"/>
          <a:ext cx="6191248" cy="198438"/>
        </p:xfrm>
        <a:graphic>
          <a:graphicData uri="http://schemas.openxmlformats.org/drawingml/2006/table">
            <a:tbl>
              <a:tblPr/>
              <a:tblGrid>
                <a:gridCol w="884464">
                  <a:extLst>
                    <a:ext uri="{9D8B030D-6E8A-4147-A177-3AD203B41FA5}">
                      <a16:colId xmlns:a16="http://schemas.microsoft.com/office/drawing/2014/main" val="927475101"/>
                    </a:ext>
                  </a:extLst>
                </a:gridCol>
                <a:gridCol w="884464">
                  <a:extLst>
                    <a:ext uri="{9D8B030D-6E8A-4147-A177-3AD203B41FA5}">
                      <a16:colId xmlns:a16="http://schemas.microsoft.com/office/drawing/2014/main" val="3621478028"/>
                    </a:ext>
                  </a:extLst>
                </a:gridCol>
                <a:gridCol w="884464">
                  <a:extLst>
                    <a:ext uri="{9D8B030D-6E8A-4147-A177-3AD203B41FA5}">
                      <a16:colId xmlns:a16="http://schemas.microsoft.com/office/drawing/2014/main" val="2076886395"/>
                    </a:ext>
                  </a:extLst>
                </a:gridCol>
                <a:gridCol w="884464">
                  <a:extLst>
                    <a:ext uri="{9D8B030D-6E8A-4147-A177-3AD203B41FA5}">
                      <a16:colId xmlns:a16="http://schemas.microsoft.com/office/drawing/2014/main" val="460336682"/>
                    </a:ext>
                  </a:extLst>
                </a:gridCol>
                <a:gridCol w="884464">
                  <a:extLst>
                    <a:ext uri="{9D8B030D-6E8A-4147-A177-3AD203B41FA5}">
                      <a16:colId xmlns:a16="http://schemas.microsoft.com/office/drawing/2014/main" val="473887376"/>
                    </a:ext>
                  </a:extLst>
                </a:gridCol>
                <a:gridCol w="884464">
                  <a:extLst>
                    <a:ext uri="{9D8B030D-6E8A-4147-A177-3AD203B41FA5}">
                      <a16:colId xmlns:a16="http://schemas.microsoft.com/office/drawing/2014/main" val="3055592265"/>
                    </a:ext>
                  </a:extLst>
                </a:gridCol>
                <a:gridCol w="884464">
                  <a:extLst>
                    <a:ext uri="{9D8B030D-6E8A-4147-A177-3AD203B41FA5}">
                      <a16:colId xmlns:a16="http://schemas.microsoft.com/office/drawing/2014/main" val="2755530168"/>
                    </a:ext>
                  </a:extLst>
                </a:gridCol>
              </a:tblGrid>
              <a:tr h="198438">
                <a:tc>
                  <a:txBody>
                    <a:bodyPr/>
                    <a:lstStyle/>
                    <a:p>
                      <a:pPr algn="ctr" rtl="0" fontAlgn="b"/>
                      <a:r>
                        <a:rPr lang="en-GB" sz="1200" b="1" i="0" u="none" strike="noStrike" noProof="0">
                          <a:solidFill>
                            <a:srgbClr val="000000"/>
                          </a:solidFill>
                          <a:effectLst/>
                          <a:latin typeface="Aptos Narrow" panose="020B0004020202020204" pitchFamily="34" charset="0"/>
                        </a:rPr>
                        <a:t>4</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63BE7B"/>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3.8</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86CC99"/>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3.7</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96D3A7"/>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3.3</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DBEFE2"/>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3.2</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EBF6F1"/>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3.2</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EBF6F1"/>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3.1</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CFCFF"/>
                    </a:solidFill>
                  </a:tcPr>
                </a:tc>
                <a:extLst>
                  <a:ext uri="{0D108BD9-81ED-4DB2-BD59-A6C34878D82A}">
                    <a16:rowId xmlns:a16="http://schemas.microsoft.com/office/drawing/2014/main" val="3496992022"/>
                  </a:ext>
                </a:extLst>
              </a:tr>
            </a:tbl>
          </a:graphicData>
        </a:graphic>
      </p:graphicFrame>
      <p:pic>
        <p:nvPicPr>
          <p:cNvPr id="1026" name="Picture 2" descr="Download Ryanair Logo in SVG Vector or PNG File Format - Logo.wine">
            <a:extLst>
              <a:ext uri="{FF2B5EF4-FFF2-40B4-BE49-F238E27FC236}">
                <a16:creationId xmlns:a16="http://schemas.microsoft.com/office/drawing/2014/main" id="{957F8067-5576-07BD-1573-2A0567925DE4}"/>
              </a:ext>
            </a:extLst>
          </p:cNvPr>
          <p:cNvPicPr>
            <a:picLocks noChangeAspect="1" noChangeArrowheads="1"/>
          </p:cNvPicPr>
          <p:nvPr/>
        </p:nvPicPr>
        <p:blipFill rotWithShape="1">
          <a:blip r:embed="rId39">
            <a:extLst>
              <a:ext uri="{28A0092B-C50C-407E-A947-70E740481C1C}">
                <a14:useLocalDpi xmlns:a14="http://schemas.microsoft.com/office/drawing/2010/main" val="0"/>
              </a:ext>
            </a:extLst>
          </a:blip>
          <a:srcRect l="10244" t="41539" r="9536" b="41783"/>
          <a:stretch>
            <a:fillRect/>
          </a:stretch>
        </p:blipFill>
        <p:spPr bwMode="auto">
          <a:xfrm>
            <a:off x="7416077" y="4667148"/>
            <a:ext cx="1201810" cy="16657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Download British Airways (BA) Logo in SVG Vector or PNG File Format - Logo .wine">
            <a:extLst>
              <a:ext uri="{FF2B5EF4-FFF2-40B4-BE49-F238E27FC236}">
                <a16:creationId xmlns:a16="http://schemas.microsoft.com/office/drawing/2014/main" id="{762E6DDB-9745-B753-AD56-CBB1930F16A4}"/>
              </a:ext>
            </a:extLst>
          </p:cNvPr>
          <p:cNvPicPr>
            <a:picLocks noChangeAspect="1" noChangeArrowheads="1"/>
          </p:cNvPicPr>
          <p:nvPr/>
        </p:nvPicPr>
        <p:blipFill rotWithShape="1">
          <a:blip r:embed="rId40">
            <a:extLst>
              <a:ext uri="{28A0092B-C50C-407E-A947-70E740481C1C}">
                <a14:useLocalDpi xmlns:a14="http://schemas.microsoft.com/office/drawing/2010/main" val="0"/>
              </a:ext>
            </a:extLst>
          </a:blip>
          <a:srcRect l="10525" t="40222" r="11066" b="40463"/>
          <a:stretch>
            <a:fillRect/>
          </a:stretch>
        </p:blipFill>
        <p:spPr bwMode="auto">
          <a:xfrm>
            <a:off x="7484277" y="3060952"/>
            <a:ext cx="1242103" cy="20397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9B0CFFC2-8EBE-3B5A-1AC9-F03740692DF1}"/>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7647939" y="3715992"/>
            <a:ext cx="832283" cy="218475"/>
          </a:xfrm>
          <a:prstGeom prst="rect">
            <a:avLst/>
          </a:prstGeom>
          <a:noFill/>
          <a:extLst>
            <a:ext uri="{909E8E84-426E-40DD-AFC4-6F175D3DCCD1}">
              <a14:hiddenFill xmlns:a14="http://schemas.microsoft.com/office/drawing/2010/main">
                <a:solidFill>
                  <a:srgbClr val="FFFFFF"/>
                </a:solidFill>
              </a14:hiddenFill>
            </a:ext>
          </a:extLst>
        </p:spPr>
      </p:pic>
      <p:sp>
        <p:nvSpPr>
          <p:cNvPr id="12" name="Arrow: Chevron 11">
            <a:extLst>
              <a:ext uri="{FF2B5EF4-FFF2-40B4-BE49-F238E27FC236}">
                <a16:creationId xmlns:a16="http://schemas.microsoft.com/office/drawing/2014/main" id="{CD198259-8B45-39EB-D925-63DC756F78CB}"/>
              </a:ext>
            </a:extLst>
          </p:cNvPr>
          <p:cNvSpPr/>
          <p:nvPr/>
        </p:nvSpPr>
        <p:spPr>
          <a:xfrm>
            <a:off x="8108917"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13" name="Arrow: Chevron 12">
            <a:extLst>
              <a:ext uri="{FF2B5EF4-FFF2-40B4-BE49-F238E27FC236}">
                <a16:creationId xmlns:a16="http://schemas.microsoft.com/office/drawing/2014/main" id="{9A1EE0D5-50CB-6A51-1DBC-F954AF889B17}"/>
              </a:ext>
            </a:extLst>
          </p:cNvPr>
          <p:cNvSpPr/>
          <p:nvPr/>
        </p:nvSpPr>
        <p:spPr>
          <a:xfrm>
            <a:off x="9071675"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14" name="Arrow: Chevron 13">
            <a:extLst>
              <a:ext uri="{FF2B5EF4-FFF2-40B4-BE49-F238E27FC236}">
                <a16:creationId xmlns:a16="http://schemas.microsoft.com/office/drawing/2014/main" id="{6792CBAC-231D-F03E-D83D-5B8AB1FA9148}"/>
              </a:ext>
            </a:extLst>
          </p:cNvPr>
          <p:cNvSpPr/>
          <p:nvPr/>
        </p:nvSpPr>
        <p:spPr>
          <a:xfrm>
            <a:off x="10034433"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15" name="Arrow: Chevron 14">
            <a:extLst>
              <a:ext uri="{FF2B5EF4-FFF2-40B4-BE49-F238E27FC236}">
                <a16:creationId xmlns:a16="http://schemas.microsoft.com/office/drawing/2014/main" id="{9A84F1FC-0C64-FAF0-6D6A-F47B30EFC676}"/>
              </a:ext>
            </a:extLst>
          </p:cNvPr>
          <p:cNvSpPr/>
          <p:nvPr/>
        </p:nvSpPr>
        <p:spPr>
          <a:xfrm>
            <a:off x="1099963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22513855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5E471E-8074-C710-F496-B31FDB16870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4B7697D-E6D8-C667-8D74-A0B6D4DA846A}"/>
              </a:ext>
            </a:extLst>
          </p:cNvPr>
          <p:cNvGraphicFramePr>
            <a:graphicFrameLocks noChangeAspect="1"/>
          </p:cNvGraphicFramePr>
          <p:nvPr>
            <p:custDataLst>
              <p:tags r:id="rId1"/>
            </p:custDataLst>
            <p:extLst>
              <p:ext uri="{D42A27DB-BD31-4B8C-83A1-F6EECF244321}">
                <p14:modId xmlns:p14="http://schemas.microsoft.com/office/powerpoint/2010/main" val="3918664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26" imgH="426" progId="TCLayout.ActiveDocument.1">
                  <p:embed/>
                </p:oleObj>
              </mc:Choice>
              <mc:Fallback>
                <p:oleObj name="think-cell Slide" r:id="rId20" imgW="426" imgH="426" progId="TCLayout.ActiveDocument.1">
                  <p:embed/>
                  <p:pic>
                    <p:nvPicPr>
                      <p:cNvPr id="7" name="think-cell data - do not delete" hidden="1">
                        <a:extLst>
                          <a:ext uri="{FF2B5EF4-FFF2-40B4-BE49-F238E27FC236}">
                            <a16:creationId xmlns:a16="http://schemas.microsoft.com/office/drawing/2014/main" id="{B4B7697D-E6D8-C667-8D74-A0B6D4DA846A}"/>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55E4288-F762-04F8-1E8E-074A95F585BE}"/>
              </a:ext>
            </a:extLst>
          </p:cNvPr>
          <p:cNvSpPr>
            <a:spLocks noGrp="1"/>
          </p:cNvSpPr>
          <p:nvPr>
            <p:ph type="title"/>
          </p:nvPr>
        </p:nvSpPr>
        <p:spPr>
          <a:xfrm>
            <a:off x="137786" y="125260"/>
            <a:ext cx="7281688" cy="806754"/>
          </a:xfrm>
        </p:spPr>
        <p:txBody>
          <a:bodyPr vert="horz">
            <a:normAutofit/>
          </a:bodyPr>
          <a:lstStyle/>
          <a:p>
            <a:r>
              <a:rPr lang="en-GB" sz="2300" b="1" noProof="0"/>
              <a:t>Choice of Generic Positioning: Differentiation</a:t>
            </a:r>
          </a:p>
        </p:txBody>
      </p:sp>
      <p:sp>
        <p:nvSpPr>
          <p:cNvPr id="38" name="Rectangle 37">
            <a:extLst>
              <a:ext uri="{FF2B5EF4-FFF2-40B4-BE49-F238E27FC236}">
                <a16:creationId xmlns:a16="http://schemas.microsoft.com/office/drawing/2014/main" id="{C37778E9-B385-6F2A-366C-08C74EA7B0CE}"/>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400" noProof="0">
                <a:solidFill>
                  <a:schemeClr val="tx1"/>
                </a:solidFill>
                <a:latin typeface="Avenir Next LT Pro" panose="020B0504020202020204" pitchFamily="34" charset="0"/>
              </a:rPr>
              <a:t>Differentiation increases the customer’s WTP through functional improvements, emotional benefits, or experience enhancements; they value the unique benefits enough to pay more than they would for alternatives.</a:t>
            </a:r>
          </a:p>
          <a:p>
            <a:pPr marL="285750" indent="-285750">
              <a:spcAft>
                <a:spcPts val="600"/>
              </a:spcAft>
              <a:buFont typeface="Arial" panose="020B0604020202020204" pitchFamily="34" charset="0"/>
              <a:buChar char="•"/>
            </a:pPr>
            <a:r>
              <a:rPr lang="en-GB" sz="1400" noProof="0">
                <a:solidFill>
                  <a:schemeClr val="tx1"/>
                </a:solidFill>
                <a:latin typeface="Avenir Next LT Pro" panose="020B0504020202020204" pitchFamily="34" charset="0"/>
              </a:rPr>
              <a:t>It can occur across multiple dimensions and throughout the value chain, and it must be economically sustainable.</a:t>
            </a:r>
          </a:p>
          <a:p>
            <a:pPr marL="285750" indent="-285750">
              <a:spcAft>
                <a:spcPts val="600"/>
              </a:spcAft>
              <a:buFont typeface="Arial" panose="020B0604020202020204" pitchFamily="34" charset="0"/>
              <a:buChar char="•"/>
            </a:pPr>
            <a:r>
              <a:rPr lang="en-GB" sz="1400" noProof="0">
                <a:solidFill>
                  <a:schemeClr val="tx1"/>
                </a:solidFill>
                <a:latin typeface="Avenir Next LT Pro" panose="020B0504020202020204" pitchFamily="34" charset="0"/>
              </a:rPr>
              <a:t>Louis Vuitton maintains 300-500% higher price than mass-market alternatives, delivering unmatched value on customers’ most critical luxury attributes</a:t>
            </a:r>
          </a:p>
        </p:txBody>
      </p:sp>
      <p:grpSp>
        <p:nvGrpSpPr>
          <p:cNvPr id="55" name="Group 54">
            <a:extLst>
              <a:ext uri="{FF2B5EF4-FFF2-40B4-BE49-F238E27FC236}">
                <a16:creationId xmlns:a16="http://schemas.microsoft.com/office/drawing/2014/main" id="{1795006B-B97A-DD71-5D97-C728166434DF}"/>
              </a:ext>
            </a:extLst>
          </p:cNvPr>
          <p:cNvGrpSpPr/>
          <p:nvPr/>
        </p:nvGrpSpPr>
        <p:grpSpPr>
          <a:xfrm>
            <a:off x="8416182" y="1059803"/>
            <a:ext cx="858460" cy="673769"/>
            <a:chOff x="368907" y="1700531"/>
            <a:chExt cx="4038920" cy="4275927"/>
          </a:xfrm>
          <a:effectLst/>
        </p:grpSpPr>
        <p:sp>
          <p:nvSpPr>
            <p:cNvPr id="57" name="Isosceles Triangle 62">
              <a:extLst>
                <a:ext uri="{FF2B5EF4-FFF2-40B4-BE49-F238E27FC236}">
                  <a16:creationId xmlns:a16="http://schemas.microsoft.com/office/drawing/2014/main" id="{8E1D5AD6-B8A0-DAC2-4837-486CEE8F136C}"/>
                </a:ext>
              </a:extLst>
            </p:cNvPr>
            <p:cNvSpPr/>
            <p:nvPr/>
          </p:nvSpPr>
          <p:spPr>
            <a:xfrm>
              <a:off x="1106945" y="2957333"/>
              <a:ext cx="2556494" cy="1456051"/>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481647" y="2614"/>
                  </a:lnTo>
                  <a:lnTo>
                    <a:pt x="1325344" y="0"/>
                  </a:lnTo>
                  <a:lnTo>
                    <a:pt x="1810264" y="968810"/>
                  </a:lnTo>
                  <a:lnTo>
                    <a:pt x="0" y="968810"/>
                  </a:lnTo>
                  <a:close/>
                </a:path>
              </a:pathLst>
            </a:cu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grpSp>
          <p:nvGrpSpPr>
            <p:cNvPr id="58" name="Group 57">
              <a:extLst>
                <a:ext uri="{FF2B5EF4-FFF2-40B4-BE49-F238E27FC236}">
                  <a16:creationId xmlns:a16="http://schemas.microsoft.com/office/drawing/2014/main" id="{280D9657-1463-625B-2B7C-6D7661ED5D84}"/>
                </a:ext>
              </a:extLst>
            </p:cNvPr>
            <p:cNvGrpSpPr/>
            <p:nvPr/>
          </p:nvGrpSpPr>
          <p:grpSpPr>
            <a:xfrm>
              <a:off x="368907" y="2954958"/>
              <a:ext cx="4038920" cy="3021500"/>
              <a:chOff x="364847" y="3312617"/>
              <a:chExt cx="4038920" cy="3021500"/>
            </a:xfrm>
          </p:grpSpPr>
          <p:cxnSp>
            <p:nvCxnSpPr>
              <p:cNvPr id="59" name="Straight Connector 58">
                <a:extLst>
                  <a:ext uri="{FF2B5EF4-FFF2-40B4-BE49-F238E27FC236}">
                    <a16:creationId xmlns:a16="http://schemas.microsoft.com/office/drawing/2014/main" id="{A26DBB5F-7E8B-2029-B340-5B4849CEB95E}"/>
                  </a:ext>
                </a:extLst>
              </p:cNvPr>
              <p:cNvCxnSpPr>
                <a:cxnSpLocks/>
              </p:cNvCxnSpPr>
              <p:nvPr/>
            </p:nvCxnSpPr>
            <p:spPr>
              <a:xfrm>
                <a:off x="1110997" y="4771043"/>
                <a:ext cx="254556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60" name="Isosceles Triangle 62">
                <a:extLst>
                  <a:ext uri="{FF2B5EF4-FFF2-40B4-BE49-F238E27FC236}">
                    <a16:creationId xmlns:a16="http://schemas.microsoft.com/office/drawing/2014/main" id="{DE743370-CFF2-04C6-2BCB-229FA028726A}"/>
                  </a:ext>
                </a:extLst>
              </p:cNvPr>
              <p:cNvSpPr/>
              <p:nvPr/>
            </p:nvSpPr>
            <p:spPr>
              <a:xfrm>
                <a:off x="364847" y="4771043"/>
                <a:ext cx="4038920" cy="1562778"/>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476069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326400" y="396"/>
                    </a:lnTo>
                    <a:lnTo>
                      <a:pt x="1476069" y="0"/>
                    </a:lnTo>
                    <a:lnTo>
                      <a:pt x="1810264" y="968810"/>
                    </a:lnTo>
                    <a:lnTo>
                      <a:pt x="0" y="968810"/>
                    </a:lnTo>
                    <a:close/>
                  </a:path>
                </a:pathLst>
              </a:cu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cxnSp>
            <p:nvCxnSpPr>
              <p:cNvPr id="61" name="Straight Connector 60">
                <a:extLst>
                  <a:ext uri="{FF2B5EF4-FFF2-40B4-BE49-F238E27FC236}">
                    <a16:creationId xmlns:a16="http://schemas.microsoft.com/office/drawing/2014/main" id="{66EEA300-847A-E35F-C2D9-C1EC81272A0B}"/>
                  </a:ext>
                </a:extLst>
              </p:cNvPr>
              <p:cNvCxnSpPr>
                <a:cxnSpLocks/>
              </p:cNvCxnSpPr>
              <p:nvPr/>
            </p:nvCxnSpPr>
            <p:spPr>
              <a:xfrm flipH="1">
                <a:off x="1833796" y="3312617"/>
                <a:ext cx="287660" cy="148830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5639578-F408-1229-194F-BE839B8E85CC}"/>
                  </a:ext>
                </a:extLst>
              </p:cNvPr>
              <p:cNvCxnSpPr>
                <a:cxnSpLocks/>
              </p:cNvCxnSpPr>
              <p:nvPr/>
            </p:nvCxnSpPr>
            <p:spPr>
              <a:xfrm>
                <a:off x="2562892" y="4771043"/>
                <a:ext cx="106051" cy="1562778"/>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DD68DE4-BE7A-5AD4-0861-212CE637C80B}"/>
                  </a:ext>
                </a:extLst>
              </p:cNvPr>
              <p:cNvCxnSpPr>
                <a:cxnSpLocks/>
              </p:cNvCxnSpPr>
              <p:nvPr/>
            </p:nvCxnSpPr>
            <p:spPr>
              <a:xfrm flipH="1">
                <a:off x="2089604" y="4771042"/>
                <a:ext cx="76090" cy="156277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4" name="Straight Connector 6143">
                <a:extLst>
                  <a:ext uri="{FF2B5EF4-FFF2-40B4-BE49-F238E27FC236}">
                    <a16:creationId xmlns:a16="http://schemas.microsoft.com/office/drawing/2014/main" id="{46EA8209-BC36-53E6-AA9F-BCE662AB6686}"/>
                  </a:ext>
                </a:extLst>
              </p:cNvPr>
              <p:cNvCxnSpPr>
                <a:cxnSpLocks/>
              </p:cNvCxnSpPr>
              <p:nvPr/>
            </p:nvCxnSpPr>
            <p:spPr>
              <a:xfrm flipH="1">
                <a:off x="957027" y="4771042"/>
                <a:ext cx="526604" cy="156277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5" name="Straight Connector 6144">
                <a:extLst>
                  <a:ext uri="{FF2B5EF4-FFF2-40B4-BE49-F238E27FC236}">
                    <a16:creationId xmlns:a16="http://schemas.microsoft.com/office/drawing/2014/main" id="{23EC4D03-3C63-76F4-066F-94EF09D94CFB}"/>
                  </a:ext>
                </a:extLst>
              </p:cNvPr>
              <p:cNvCxnSpPr>
                <a:cxnSpLocks/>
              </p:cNvCxnSpPr>
              <p:nvPr/>
            </p:nvCxnSpPr>
            <p:spPr>
              <a:xfrm>
                <a:off x="2706590" y="3312617"/>
                <a:ext cx="267090" cy="145942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6" name="Straight Connector 6145">
                <a:extLst>
                  <a:ext uri="{FF2B5EF4-FFF2-40B4-BE49-F238E27FC236}">
                    <a16:creationId xmlns:a16="http://schemas.microsoft.com/office/drawing/2014/main" id="{12158C22-1A40-01A3-6E00-4B6395AD5A1F}"/>
                  </a:ext>
                </a:extLst>
              </p:cNvPr>
              <p:cNvCxnSpPr>
                <a:cxnSpLocks/>
              </p:cNvCxnSpPr>
              <p:nvPr/>
            </p:nvCxnSpPr>
            <p:spPr>
              <a:xfrm>
                <a:off x="3336756" y="4771043"/>
                <a:ext cx="506582" cy="1563074"/>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7" name="Straight Connector 6146">
                <a:extLst>
                  <a:ext uri="{FF2B5EF4-FFF2-40B4-BE49-F238E27FC236}">
                    <a16:creationId xmlns:a16="http://schemas.microsoft.com/office/drawing/2014/main" id="{5DBA0158-64F3-E8C8-30AB-F3356BE9B07B}"/>
                  </a:ext>
                </a:extLst>
              </p:cNvPr>
              <p:cNvCxnSpPr>
                <a:cxnSpLocks/>
              </p:cNvCxnSpPr>
              <p:nvPr/>
            </p:nvCxnSpPr>
            <p:spPr>
              <a:xfrm flipH="1">
                <a:off x="1539549" y="4772039"/>
                <a:ext cx="300668" cy="156178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8" name="Straight Connector 6147">
                <a:extLst>
                  <a:ext uri="{FF2B5EF4-FFF2-40B4-BE49-F238E27FC236}">
                    <a16:creationId xmlns:a16="http://schemas.microsoft.com/office/drawing/2014/main" id="{C4558DE8-C658-21A9-3FAE-CACE8336F8AB}"/>
                  </a:ext>
                </a:extLst>
              </p:cNvPr>
              <p:cNvCxnSpPr>
                <a:cxnSpLocks/>
              </p:cNvCxnSpPr>
              <p:nvPr/>
            </p:nvCxnSpPr>
            <p:spPr>
              <a:xfrm>
                <a:off x="2973680" y="4778378"/>
                <a:ext cx="284662" cy="155544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50" name="Straight Connector 6149">
                <a:extLst>
                  <a:ext uri="{FF2B5EF4-FFF2-40B4-BE49-F238E27FC236}">
                    <a16:creationId xmlns:a16="http://schemas.microsoft.com/office/drawing/2014/main" id="{482264A8-059A-CD9A-A11F-DE54DCF9D85C}"/>
                  </a:ext>
                </a:extLst>
              </p:cNvPr>
              <p:cNvCxnSpPr>
                <a:cxnSpLocks/>
                <a:stCxn id="60" idx="1"/>
                <a:endCxn id="57" idx="3"/>
              </p:cNvCxnSpPr>
              <p:nvPr/>
            </p:nvCxnSpPr>
            <p:spPr>
              <a:xfrm flipV="1">
                <a:off x="1093085" y="4771043"/>
                <a:ext cx="2566294" cy="6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6" name="Isosceles Triangle 55">
              <a:extLst>
                <a:ext uri="{FF2B5EF4-FFF2-40B4-BE49-F238E27FC236}">
                  <a16:creationId xmlns:a16="http://schemas.microsoft.com/office/drawing/2014/main" id="{F016A2BF-C139-F4B7-861F-CB742F677EB5}"/>
                </a:ext>
              </a:extLst>
            </p:cNvPr>
            <p:cNvSpPr/>
            <p:nvPr/>
          </p:nvSpPr>
          <p:spPr>
            <a:xfrm>
              <a:off x="1792513" y="1700531"/>
              <a:ext cx="1191709" cy="1248079"/>
            </a:xfrm>
            <a:prstGeom prst="triangle">
              <a:avLst>
                <a:gd name="adj" fmla="val 49710"/>
              </a:avLst>
            </a:prstGeom>
            <a:solidFill>
              <a:srgbClr val="FFE4CD"/>
            </a:solidFill>
            <a:ln w="9525">
              <a:solidFill>
                <a:srgbClr val="FF834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grpSp>
      <p:graphicFrame>
        <p:nvGraphicFramePr>
          <p:cNvPr id="53" name="Chart 52">
            <a:extLst>
              <a:ext uri="{FF2B5EF4-FFF2-40B4-BE49-F238E27FC236}">
                <a16:creationId xmlns:a16="http://schemas.microsoft.com/office/drawing/2014/main" id="{8272B28A-AC10-ADC2-4228-971EC880C700}"/>
              </a:ext>
            </a:extLst>
          </p:cNvPr>
          <p:cNvGraphicFramePr/>
          <p:nvPr>
            <p:extLst>
              <p:ext uri="{D42A27DB-BD31-4B8C-83A1-F6EECF244321}">
                <p14:modId xmlns:p14="http://schemas.microsoft.com/office/powerpoint/2010/main" val="3830157335"/>
              </p:ext>
            </p:extLst>
          </p:nvPr>
        </p:nvGraphicFramePr>
        <p:xfrm>
          <a:off x="1828799" y="1997075"/>
          <a:ext cx="6815138" cy="4346575"/>
        </p:xfrm>
        <a:graphic>
          <a:graphicData uri="http://schemas.openxmlformats.org/drawingml/2006/chart">
            <c:chart xmlns:c="http://schemas.openxmlformats.org/drawingml/2006/chart" xmlns:r="http://schemas.openxmlformats.org/officeDocument/2006/relationships" r:id="rId22"/>
          </a:graphicData>
        </a:graphic>
      </p:graphicFrame>
      <p:sp>
        <p:nvSpPr>
          <p:cNvPr id="54" name="TextBox 53">
            <a:extLst>
              <a:ext uri="{FF2B5EF4-FFF2-40B4-BE49-F238E27FC236}">
                <a16:creationId xmlns:a16="http://schemas.microsoft.com/office/drawing/2014/main" id="{11256D7A-18A1-08BF-CFB9-6A2C5F7E43FA}"/>
              </a:ext>
            </a:extLst>
          </p:cNvPr>
          <p:cNvSpPr txBox="1"/>
          <p:nvPr>
            <p:custDataLst>
              <p:tags r:id="rId2"/>
            </p:custDataLst>
          </p:nvPr>
        </p:nvSpPr>
        <p:spPr>
          <a:xfrm>
            <a:off x="1811338" y="4727575"/>
            <a:ext cx="779463"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Low</a:t>
            </a:r>
          </a:p>
        </p:txBody>
      </p:sp>
      <p:sp>
        <p:nvSpPr>
          <p:cNvPr id="6149" name="TextBox 6148">
            <a:extLst>
              <a:ext uri="{FF2B5EF4-FFF2-40B4-BE49-F238E27FC236}">
                <a16:creationId xmlns:a16="http://schemas.microsoft.com/office/drawing/2014/main" id="{B57C3FBD-578F-27B8-84F5-DD5ADA0BAFE4}"/>
              </a:ext>
            </a:extLst>
          </p:cNvPr>
          <p:cNvSpPr txBox="1"/>
          <p:nvPr>
            <p:custDataLst>
              <p:tags r:id="rId3"/>
            </p:custDataLst>
          </p:nvPr>
        </p:nvSpPr>
        <p:spPr>
          <a:xfrm>
            <a:off x="1811338" y="2425700"/>
            <a:ext cx="779463"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High</a:t>
            </a:r>
          </a:p>
        </p:txBody>
      </p:sp>
      <p:sp>
        <p:nvSpPr>
          <p:cNvPr id="6151" name="TextBox 6150">
            <a:extLst>
              <a:ext uri="{FF2B5EF4-FFF2-40B4-BE49-F238E27FC236}">
                <a16:creationId xmlns:a16="http://schemas.microsoft.com/office/drawing/2014/main" id="{43AB8DED-EA6E-C84D-6F13-4E0744DAD0A1}"/>
              </a:ext>
            </a:extLst>
          </p:cNvPr>
          <p:cNvSpPr txBox="1"/>
          <p:nvPr/>
        </p:nvSpPr>
        <p:spPr>
          <a:xfrm rot="16200000">
            <a:off x="1068388" y="3665538"/>
            <a:ext cx="1836738"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sng"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Offering level</a:t>
            </a:r>
          </a:p>
        </p:txBody>
      </p:sp>
      <p:sp>
        <p:nvSpPr>
          <p:cNvPr id="6152" name="TextBox 6151">
            <a:extLst>
              <a:ext uri="{FF2B5EF4-FFF2-40B4-BE49-F238E27FC236}">
                <a16:creationId xmlns:a16="http://schemas.microsoft.com/office/drawing/2014/main" id="{D87476DC-A3B9-99C2-1DE1-BED0B28F0E48}"/>
              </a:ext>
            </a:extLst>
          </p:cNvPr>
          <p:cNvSpPr txBox="1"/>
          <p:nvPr>
            <p:custDataLst>
              <p:tags r:id="rId4"/>
            </p:custDataLst>
          </p:nvPr>
        </p:nvSpPr>
        <p:spPr>
          <a:xfrm>
            <a:off x="341919" y="1141331"/>
            <a:ext cx="7844727" cy="33855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Example: Strategy Value Curve of Louis Vuitton and Mass-Market Competitors</a:t>
            </a:r>
          </a:p>
        </p:txBody>
      </p:sp>
      <p:sp>
        <p:nvSpPr>
          <p:cNvPr id="6153" name="Rectangle: Rounded Corners 6152">
            <a:extLst>
              <a:ext uri="{FF2B5EF4-FFF2-40B4-BE49-F238E27FC236}">
                <a16:creationId xmlns:a16="http://schemas.microsoft.com/office/drawing/2014/main" id="{FC4FD864-23B0-5BCC-021B-1B061B5504F1}"/>
              </a:ext>
            </a:extLst>
          </p:cNvPr>
          <p:cNvSpPr/>
          <p:nvPr/>
        </p:nvSpPr>
        <p:spPr>
          <a:xfrm>
            <a:off x="2755899" y="2000250"/>
            <a:ext cx="5048250" cy="390525"/>
          </a:xfrm>
          <a:prstGeom prst="roundRect">
            <a:avLst/>
          </a:prstGeom>
          <a:noFill/>
          <a:ln w="6350"/>
        </p:spPr>
        <p:style>
          <a:lnRef idx="2">
            <a:schemeClr val="accent1"/>
          </a:lnRef>
          <a:fillRef idx="1">
            <a:schemeClr val="lt1"/>
          </a:fillRef>
          <a:effectRef idx="0">
            <a:schemeClr val="accent1"/>
          </a:effectRef>
          <a:fontRef idx="minor">
            <a:schemeClr val="dk1"/>
          </a:fontRef>
        </p:style>
        <p:txBody>
          <a:bodyPr rtlCol="0" anchor="t"/>
          <a:lstStyle/>
          <a:p>
            <a:pPr algn="ctr"/>
            <a:endParaRPr lang="en-GB" sz="1200" noProof="0">
              <a:solidFill>
                <a:srgbClr val="776E6A"/>
              </a:solidFill>
            </a:endParaRPr>
          </a:p>
        </p:txBody>
      </p:sp>
      <p:sp>
        <p:nvSpPr>
          <p:cNvPr id="6154" name="Rectangle 6153">
            <a:extLst>
              <a:ext uri="{FF2B5EF4-FFF2-40B4-BE49-F238E27FC236}">
                <a16:creationId xmlns:a16="http://schemas.microsoft.com/office/drawing/2014/main" id="{E4421604-C475-5768-58AF-B6603BBB7B1B}"/>
              </a:ext>
            </a:extLst>
          </p:cNvPr>
          <p:cNvSpPr/>
          <p:nvPr/>
        </p:nvSpPr>
        <p:spPr>
          <a:xfrm>
            <a:off x="4371975" y="1909763"/>
            <a:ext cx="1804988" cy="18573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noProof="0">
                <a:solidFill>
                  <a:srgbClr val="776E6A"/>
                </a:solidFill>
              </a:rPr>
              <a:t>Relative Performance</a:t>
            </a:r>
          </a:p>
        </p:txBody>
      </p:sp>
      <p:sp>
        <p:nvSpPr>
          <p:cNvPr id="6155" name="TextBox 6154">
            <a:extLst>
              <a:ext uri="{FF2B5EF4-FFF2-40B4-BE49-F238E27FC236}">
                <a16:creationId xmlns:a16="http://schemas.microsoft.com/office/drawing/2014/main" id="{B4F99ACB-9056-B233-6B78-581F2560F855}"/>
              </a:ext>
            </a:extLst>
          </p:cNvPr>
          <p:cNvSpPr txBox="1"/>
          <p:nvPr>
            <p:custDataLst>
              <p:tags r:id="rId5"/>
            </p:custDataLst>
          </p:nvPr>
        </p:nvSpPr>
        <p:spPr>
          <a:xfrm>
            <a:off x="1116180" y="5680075"/>
            <a:ext cx="1231900"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Importance</a:t>
            </a:r>
          </a:p>
        </p:txBody>
      </p:sp>
      <p:sp>
        <p:nvSpPr>
          <p:cNvPr id="6156" name="TextBox 6155">
            <a:extLst>
              <a:ext uri="{FF2B5EF4-FFF2-40B4-BE49-F238E27FC236}">
                <a16:creationId xmlns:a16="http://schemas.microsoft.com/office/drawing/2014/main" id="{493A6331-E4BD-4F70-88EC-FC7175098D96}"/>
              </a:ext>
            </a:extLst>
          </p:cNvPr>
          <p:cNvSpPr txBox="1"/>
          <p:nvPr>
            <p:custDataLst>
              <p:tags r:id="rId6"/>
            </p:custDataLst>
          </p:nvPr>
        </p:nvSpPr>
        <p:spPr>
          <a:xfrm>
            <a:off x="4264025" y="6019800"/>
            <a:ext cx="2222500"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sng"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Competing Factors</a:t>
            </a:r>
          </a:p>
        </p:txBody>
      </p:sp>
      <p:sp>
        <p:nvSpPr>
          <p:cNvPr id="6157" name="Rectangle 6156">
            <a:extLst>
              <a:ext uri="{FF2B5EF4-FFF2-40B4-BE49-F238E27FC236}">
                <a16:creationId xmlns:a16="http://schemas.microsoft.com/office/drawing/2014/main" id="{FE823C99-46F6-EEAA-DB45-B63AE2D54193}"/>
              </a:ext>
            </a:extLst>
          </p:cNvPr>
          <p:cNvSpPr/>
          <p:nvPr/>
        </p:nvSpPr>
        <p:spPr>
          <a:xfrm>
            <a:off x="569119" y="1835150"/>
            <a:ext cx="1016000" cy="4667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noProof="0">
                <a:solidFill>
                  <a:schemeClr val="bg1"/>
                </a:solidFill>
              </a:rPr>
              <a:t>Relative Price</a:t>
            </a:r>
          </a:p>
        </p:txBody>
      </p:sp>
      <p:graphicFrame>
        <p:nvGraphicFramePr>
          <p:cNvPr id="17" name="Chart 16">
            <a:extLst>
              <a:ext uri="{FF2B5EF4-FFF2-40B4-BE49-F238E27FC236}">
                <a16:creationId xmlns:a16="http://schemas.microsoft.com/office/drawing/2014/main" id="{28EFCFC8-5A54-E1FF-45A9-0848D5940A82}"/>
              </a:ext>
            </a:extLst>
          </p:cNvPr>
          <p:cNvGraphicFramePr/>
          <p:nvPr>
            <p:custDataLst>
              <p:tags r:id="rId7"/>
            </p:custDataLst>
            <p:extLst>
              <p:ext uri="{D42A27DB-BD31-4B8C-83A1-F6EECF244321}">
                <p14:modId xmlns:p14="http://schemas.microsoft.com/office/powerpoint/2010/main" val="1701288367"/>
              </p:ext>
            </p:extLst>
          </p:nvPr>
        </p:nvGraphicFramePr>
        <p:xfrm>
          <a:off x="341313" y="2379663"/>
          <a:ext cx="1173162" cy="2917825"/>
        </p:xfrm>
        <a:graphic>
          <a:graphicData uri="http://schemas.openxmlformats.org/drawingml/2006/chart">
            <c:chart xmlns:c="http://schemas.openxmlformats.org/drawingml/2006/chart" xmlns:r="http://schemas.openxmlformats.org/officeDocument/2006/relationships" r:id="rId23"/>
          </a:graphicData>
        </a:graphic>
      </p:graphicFrame>
      <p:cxnSp>
        <p:nvCxnSpPr>
          <p:cNvPr id="6173" name="Straight Connector 6172">
            <a:extLst>
              <a:ext uri="{FF2B5EF4-FFF2-40B4-BE49-F238E27FC236}">
                <a16:creationId xmlns:a16="http://schemas.microsoft.com/office/drawing/2014/main" id="{A5DC1CDE-EB42-386E-26B1-476371098CA2}"/>
              </a:ext>
            </a:extLst>
          </p:cNvPr>
          <p:cNvCxnSpPr>
            <a:cxnSpLocks/>
          </p:cNvCxnSpPr>
          <p:nvPr>
            <p:custDataLst>
              <p:tags r:id="rId8"/>
            </p:custDataLst>
          </p:nvPr>
        </p:nvCxnSpPr>
        <p:spPr bwMode="auto">
          <a:xfrm flipH="1">
            <a:off x="1112839" y="2652713"/>
            <a:ext cx="15875" cy="777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75" name="Straight Connector 6174">
            <a:extLst>
              <a:ext uri="{FF2B5EF4-FFF2-40B4-BE49-F238E27FC236}">
                <a16:creationId xmlns:a16="http://schemas.microsoft.com/office/drawing/2014/main" id="{91D75324-9D90-044D-E602-AE9235B86851}"/>
              </a:ext>
            </a:extLst>
          </p:cNvPr>
          <p:cNvCxnSpPr>
            <a:cxnSpLocks/>
          </p:cNvCxnSpPr>
          <p:nvPr>
            <p:custDataLst>
              <p:tags r:id="rId9"/>
            </p:custDataLst>
          </p:nvPr>
        </p:nvCxnSpPr>
        <p:spPr bwMode="auto">
          <a:xfrm flipH="1" flipV="1">
            <a:off x="1117600" y="4827588"/>
            <a:ext cx="38100" cy="1206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76" name="Straight Connector 6175">
            <a:extLst>
              <a:ext uri="{FF2B5EF4-FFF2-40B4-BE49-F238E27FC236}">
                <a16:creationId xmlns:a16="http://schemas.microsoft.com/office/drawing/2014/main" id="{8852EB32-D9E9-DDFA-C157-6129DDC27815}"/>
              </a:ext>
            </a:extLst>
          </p:cNvPr>
          <p:cNvCxnSpPr>
            <a:cxnSpLocks/>
          </p:cNvCxnSpPr>
          <p:nvPr>
            <p:custDataLst>
              <p:tags r:id="rId10"/>
            </p:custDataLst>
          </p:nvPr>
        </p:nvCxnSpPr>
        <p:spPr bwMode="auto">
          <a:xfrm flipH="1">
            <a:off x="1106489" y="4418013"/>
            <a:ext cx="3175" cy="889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6177" name="Rectangle 6176">
            <a:extLst>
              <a:ext uri="{FF2B5EF4-FFF2-40B4-BE49-F238E27FC236}">
                <a16:creationId xmlns:a16="http://schemas.microsoft.com/office/drawing/2014/main" id="{56B8527E-273A-49BF-6346-27D54CE107F8}"/>
              </a:ext>
            </a:extLst>
          </p:cNvPr>
          <p:cNvSpPr/>
          <p:nvPr>
            <p:custDataLst>
              <p:tags r:id="rId11"/>
            </p:custDataLst>
          </p:nvPr>
        </p:nvSpPr>
        <p:spPr bwMode="gray">
          <a:xfrm>
            <a:off x="731838" y="2501900"/>
            <a:ext cx="825500" cy="150813"/>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t"/>
          <a:lstStyle/>
          <a:p>
            <a:pPr>
              <a:lnSpc>
                <a:spcPct val="90000"/>
              </a:lnSpc>
              <a:spcBef>
                <a:spcPct val="0"/>
              </a:spcBef>
              <a:spcAft>
                <a:spcPct val="0"/>
              </a:spcAft>
            </a:pPr>
            <a:fld id="{111C2522-E771-447F-8ED4-E307BA685E99}" type="datetime'''L''''o''''ui''s'' ''V''''''''u''''''ito''''''''''''n'''''''">
              <a:rPr lang="en-GB" sz="1100" b="1" noProof="0" smtClean="0">
                <a:solidFill>
                  <a:schemeClr val="tx1"/>
                </a:solidFill>
              </a:rPr>
              <a:pPr>
                <a:lnSpc>
                  <a:spcPct val="90000"/>
                </a:lnSpc>
                <a:spcBef>
                  <a:spcPct val="0"/>
                </a:spcBef>
                <a:spcAft>
                  <a:spcPct val="0"/>
                </a:spcAft>
              </a:pPr>
              <a:t>Louis Vuiton</a:t>
            </a:fld>
            <a:endParaRPr lang="en-GB" sz="1100" b="1" noProof="0">
              <a:solidFill>
                <a:schemeClr val="tx1"/>
              </a:solidFill>
            </a:endParaRPr>
          </a:p>
        </p:txBody>
      </p:sp>
      <p:sp>
        <p:nvSpPr>
          <p:cNvPr id="6178" name="Rectangle 6177">
            <a:extLst>
              <a:ext uri="{FF2B5EF4-FFF2-40B4-BE49-F238E27FC236}">
                <a16:creationId xmlns:a16="http://schemas.microsoft.com/office/drawing/2014/main" id="{2E5AEF39-C836-BC1D-896C-4F4F68B67D91}"/>
              </a:ext>
            </a:extLst>
          </p:cNvPr>
          <p:cNvSpPr/>
          <p:nvPr>
            <p:custDataLst>
              <p:tags r:id="rId12"/>
            </p:custDataLst>
          </p:nvPr>
        </p:nvSpPr>
        <p:spPr bwMode="gray">
          <a:xfrm>
            <a:off x="1130300" y="2711450"/>
            <a:ext cx="2651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t"/>
          <a:lstStyle/>
          <a:p>
            <a:pPr>
              <a:lnSpc>
                <a:spcPct val="90000"/>
              </a:lnSpc>
              <a:spcBef>
                <a:spcPct val="0"/>
              </a:spcBef>
              <a:spcAft>
                <a:spcPct val="0"/>
              </a:spcAft>
            </a:pPr>
            <a:fld id="{26D4596F-9439-4926-99BC-406415C51206}" type="datetime'''''''''''''''''''''''10''''''''''''''0'''''''''''''''''''''''">
              <a:rPr lang="en-GB" sz="1100" noProof="0" smtClean="0">
                <a:solidFill>
                  <a:srgbClr val="000000"/>
                </a:solidFill>
              </a:rPr>
              <a:pPr>
                <a:lnSpc>
                  <a:spcPct val="90000"/>
                </a:lnSpc>
                <a:spcBef>
                  <a:spcPct val="0"/>
                </a:spcBef>
                <a:spcAft>
                  <a:spcPct val="0"/>
                </a:spcAft>
              </a:pPr>
              <a:t>100</a:t>
            </a:fld>
            <a:endParaRPr lang="en-GB" sz="1100" noProof="0">
              <a:solidFill>
                <a:srgbClr val="000000"/>
              </a:solidFill>
            </a:endParaRPr>
          </a:p>
        </p:txBody>
      </p:sp>
      <p:sp useBgFill="1">
        <p:nvSpPr>
          <p:cNvPr id="6179" name="Rectangle 6178">
            <a:extLst>
              <a:ext uri="{FF2B5EF4-FFF2-40B4-BE49-F238E27FC236}">
                <a16:creationId xmlns:a16="http://schemas.microsoft.com/office/drawing/2014/main" id="{1E01FA23-D665-6EB6-23A4-20FAAC630FBF}"/>
              </a:ext>
            </a:extLst>
          </p:cNvPr>
          <p:cNvSpPr/>
          <p:nvPr>
            <p:custDataLst>
              <p:tags r:id="rId13"/>
            </p:custDataLst>
          </p:nvPr>
        </p:nvSpPr>
        <p:spPr bwMode="gray">
          <a:xfrm>
            <a:off x="747713" y="4948238"/>
            <a:ext cx="865188" cy="150813"/>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t"/>
          <a:lstStyle/>
          <a:p>
            <a:pPr>
              <a:lnSpc>
                <a:spcPct val="90000"/>
              </a:lnSpc>
              <a:spcBef>
                <a:spcPct val="0"/>
              </a:spcBef>
              <a:spcAft>
                <a:spcPct val="0"/>
              </a:spcAft>
            </a:pPr>
            <a:fld id="{5884E40C-F7C1-4595-A163-F340C8BF2FAA}" type="datetime'''''''''''''''''M''ic''ha''el'''''''''''' ''''''K''or''''s'">
              <a:rPr lang="en-GB" sz="1100" b="1" noProof="0" smtClean="0">
                <a:solidFill>
                  <a:schemeClr val="tx1"/>
                </a:solidFill>
              </a:rPr>
              <a:pPr>
                <a:lnSpc>
                  <a:spcPct val="90000"/>
                </a:lnSpc>
                <a:spcBef>
                  <a:spcPct val="0"/>
                </a:spcBef>
                <a:spcAft>
                  <a:spcPct val="0"/>
                </a:spcAft>
              </a:pPr>
              <a:t>Michael Kors</a:t>
            </a:fld>
            <a:endParaRPr lang="en-GB" sz="1100" b="1" noProof="0">
              <a:solidFill>
                <a:schemeClr val="tx1"/>
              </a:solidFill>
            </a:endParaRPr>
          </a:p>
        </p:txBody>
      </p:sp>
      <p:sp>
        <p:nvSpPr>
          <p:cNvPr id="6180" name="Rectangle 6179">
            <a:extLst>
              <a:ext uri="{FF2B5EF4-FFF2-40B4-BE49-F238E27FC236}">
                <a16:creationId xmlns:a16="http://schemas.microsoft.com/office/drawing/2014/main" id="{7A282306-547B-6753-1A7A-00FC58FFD500}"/>
              </a:ext>
            </a:extLst>
          </p:cNvPr>
          <p:cNvSpPr/>
          <p:nvPr>
            <p:custDataLst>
              <p:tags r:id="rId14"/>
            </p:custDataLst>
          </p:nvPr>
        </p:nvSpPr>
        <p:spPr bwMode="gray">
          <a:xfrm>
            <a:off x="1173163" y="4702175"/>
            <a:ext cx="1905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t"/>
          <a:lstStyle/>
          <a:p>
            <a:pPr>
              <a:lnSpc>
                <a:spcPct val="90000"/>
              </a:lnSpc>
              <a:spcBef>
                <a:spcPct val="0"/>
              </a:spcBef>
              <a:spcAft>
                <a:spcPct val="0"/>
              </a:spcAft>
            </a:pPr>
            <a:fld id="{31DDA879-E7FF-4CD9-9772-02F35EB873EC}" type="datetime'''''''''1''''''''''''''''5'''''''''''''''">
              <a:rPr lang="en-GB" sz="1100" noProof="0" smtClean="0">
                <a:solidFill>
                  <a:schemeClr val="tx1"/>
                </a:solidFill>
              </a:rPr>
              <a:pPr>
                <a:lnSpc>
                  <a:spcPct val="90000"/>
                </a:lnSpc>
                <a:spcBef>
                  <a:spcPct val="0"/>
                </a:spcBef>
                <a:spcAft>
                  <a:spcPct val="0"/>
                </a:spcAft>
              </a:pPr>
              <a:t>15</a:t>
            </a:fld>
            <a:endParaRPr lang="en-GB" sz="1100" noProof="0">
              <a:solidFill>
                <a:schemeClr val="tx1"/>
              </a:solidFill>
            </a:endParaRPr>
          </a:p>
        </p:txBody>
      </p:sp>
      <p:sp>
        <p:nvSpPr>
          <p:cNvPr id="6181" name="Rectangle 6180">
            <a:extLst>
              <a:ext uri="{FF2B5EF4-FFF2-40B4-BE49-F238E27FC236}">
                <a16:creationId xmlns:a16="http://schemas.microsoft.com/office/drawing/2014/main" id="{948DA82F-F9EA-E1BF-BB59-E792FADF6D00}"/>
              </a:ext>
            </a:extLst>
          </p:cNvPr>
          <p:cNvSpPr/>
          <p:nvPr>
            <p:custDataLst>
              <p:tags r:id="rId15"/>
            </p:custDataLst>
          </p:nvPr>
        </p:nvSpPr>
        <p:spPr bwMode="gray">
          <a:xfrm>
            <a:off x="865187" y="4252913"/>
            <a:ext cx="4968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t"/>
          <a:lstStyle/>
          <a:p>
            <a:pPr>
              <a:lnSpc>
                <a:spcPct val="90000"/>
              </a:lnSpc>
              <a:spcBef>
                <a:spcPct val="0"/>
              </a:spcBef>
              <a:spcAft>
                <a:spcPct val="0"/>
              </a:spcAft>
            </a:pPr>
            <a:fld id="{9C09BF66-3011-4159-A3A2-95CFABF1336F}" type="datetime'''''''''''''C''oa''''''c''''''h'''''''''''''">
              <a:rPr lang="en-GB" sz="1200" b="1" noProof="0" smtClean="0">
                <a:solidFill>
                  <a:schemeClr val="tx1"/>
                </a:solidFill>
              </a:rPr>
              <a:pPr>
                <a:lnSpc>
                  <a:spcPct val="90000"/>
                </a:lnSpc>
                <a:spcBef>
                  <a:spcPct val="0"/>
                </a:spcBef>
                <a:spcAft>
                  <a:spcPct val="0"/>
                </a:spcAft>
              </a:pPr>
              <a:t>Coach</a:t>
            </a:fld>
            <a:endParaRPr lang="en-GB" sz="1200" b="1" noProof="0">
              <a:solidFill>
                <a:schemeClr val="tx1"/>
              </a:solidFill>
            </a:endParaRPr>
          </a:p>
        </p:txBody>
      </p:sp>
      <p:sp>
        <p:nvSpPr>
          <p:cNvPr id="6182" name="Rectangle 6181">
            <a:extLst>
              <a:ext uri="{FF2B5EF4-FFF2-40B4-BE49-F238E27FC236}">
                <a16:creationId xmlns:a16="http://schemas.microsoft.com/office/drawing/2014/main" id="{2A71CC15-21B2-1E74-ABC4-0E7F42148157}"/>
              </a:ext>
            </a:extLst>
          </p:cNvPr>
          <p:cNvSpPr/>
          <p:nvPr>
            <p:custDataLst>
              <p:tags r:id="rId16"/>
            </p:custDataLst>
          </p:nvPr>
        </p:nvSpPr>
        <p:spPr bwMode="gray">
          <a:xfrm>
            <a:off x="1163638" y="4475163"/>
            <a:ext cx="1905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ctr"/>
          <a:lstStyle/>
          <a:p>
            <a:pPr>
              <a:lnSpc>
                <a:spcPct val="90000"/>
              </a:lnSpc>
              <a:spcBef>
                <a:spcPct val="0"/>
              </a:spcBef>
              <a:spcAft>
                <a:spcPct val="0"/>
              </a:spcAft>
            </a:pPr>
            <a:fld id="{832CD5C3-F219-4E57-81A4-D16557D0EC4F}" type="datetime'''''''''''''''25'''''''''''''''''''''''">
              <a:rPr lang="en-GB" sz="1100" noProof="0" smtClean="0">
                <a:solidFill>
                  <a:schemeClr val="tx1"/>
                </a:solidFill>
              </a:rPr>
              <a:pPr>
                <a:lnSpc>
                  <a:spcPct val="90000"/>
                </a:lnSpc>
                <a:spcBef>
                  <a:spcPct val="0"/>
                </a:spcBef>
                <a:spcAft>
                  <a:spcPct val="0"/>
                </a:spcAft>
              </a:pPr>
              <a:t>25</a:t>
            </a:fld>
            <a:endParaRPr lang="en-GB" sz="1100" noProof="0">
              <a:solidFill>
                <a:schemeClr val="tx1"/>
              </a:solidFill>
            </a:endParaRPr>
          </a:p>
        </p:txBody>
      </p:sp>
      <p:cxnSp>
        <p:nvCxnSpPr>
          <p:cNvPr id="6243" name="Straight Connector 6242">
            <a:extLst>
              <a:ext uri="{FF2B5EF4-FFF2-40B4-BE49-F238E27FC236}">
                <a16:creationId xmlns:a16="http://schemas.microsoft.com/office/drawing/2014/main" id="{E4A0225B-C6C7-1A3E-A978-83E414B2A96B}"/>
              </a:ext>
            </a:extLst>
          </p:cNvPr>
          <p:cNvCxnSpPr>
            <a:cxnSpLocks/>
          </p:cNvCxnSpPr>
          <p:nvPr>
            <p:custDataLst>
              <p:tags r:id="rId17"/>
            </p:custDataLst>
          </p:nvPr>
        </p:nvCxnSpPr>
        <p:spPr>
          <a:xfrm>
            <a:off x="1795296" y="1909763"/>
            <a:ext cx="0" cy="3725861"/>
          </a:xfrm>
          <a:prstGeom prst="line">
            <a:avLst/>
          </a:prstGeom>
          <a:ln w="635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6248" name="Table 6247">
            <a:extLst>
              <a:ext uri="{FF2B5EF4-FFF2-40B4-BE49-F238E27FC236}">
                <a16:creationId xmlns:a16="http://schemas.microsoft.com/office/drawing/2014/main" id="{5B5DE490-1EF1-3D57-0815-F8F5D4CC49DA}"/>
              </a:ext>
            </a:extLst>
          </p:cNvPr>
          <p:cNvGraphicFramePr>
            <a:graphicFrameLocks noGrp="1"/>
          </p:cNvGraphicFramePr>
          <p:nvPr>
            <p:extLst>
              <p:ext uri="{D42A27DB-BD31-4B8C-83A1-F6EECF244321}">
                <p14:modId xmlns:p14="http://schemas.microsoft.com/office/powerpoint/2010/main" val="4149909515"/>
              </p:ext>
            </p:extLst>
          </p:nvPr>
        </p:nvGraphicFramePr>
        <p:xfrm>
          <a:off x="2279650" y="5737225"/>
          <a:ext cx="6136529" cy="198438"/>
        </p:xfrm>
        <a:graphic>
          <a:graphicData uri="http://schemas.openxmlformats.org/drawingml/2006/table">
            <a:tbl>
              <a:tblPr/>
              <a:tblGrid>
                <a:gridCol w="876647">
                  <a:extLst>
                    <a:ext uri="{9D8B030D-6E8A-4147-A177-3AD203B41FA5}">
                      <a16:colId xmlns:a16="http://schemas.microsoft.com/office/drawing/2014/main" val="927475101"/>
                    </a:ext>
                  </a:extLst>
                </a:gridCol>
                <a:gridCol w="876647">
                  <a:extLst>
                    <a:ext uri="{9D8B030D-6E8A-4147-A177-3AD203B41FA5}">
                      <a16:colId xmlns:a16="http://schemas.microsoft.com/office/drawing/2014/main" val="3621478028"/>
                    </a:ext>
                  </a:extLst>
                </a:gridCol>
                <a:gridCol w="876647">
                  <a:extLst>
                    <a:ext uri="{9D8B030D-6E8A-4147-A177-3AD203B41FA5}">
                      <a16:colId xmlns:a16="http://schemas.microsoft.com/office/drawing/2014/main" val="2076886395"/>
                    </a:ext>
                  </a:extLst>
                </a:gridCol>
                <a:gridCol w="876647">
                  <a:extLst>
                    <a:ext uri="{9D8B030D-6E8A-4147-A177-3AD203B41FA5}">
                      <a16:colId xmlns:a16="http://schemas.microsoft.com/office/drawing/2014/main" val="460336682"/>
                    </a:ext>
                  </a:extLst>
                </a:gridCol>
                <a:gridCol w="876647">
                  <a:extLst>
                    <a:ext uri="{9D8B030D-6E8A-4147-A177-3AD203B41FA5}">
                      <a16:colId xmlns:a16="http://schemas.microsoft.com/office/drawing/2014/main" val="473887376"/>
                    </a:ext>
                  </a:extLst>
                </a:gridCol>
                <a:gridCol w="876647">
                  <a:extLst>
                    <a:ext uri="{9D8B030D-6E8A-4147-A177-3AD203B41FA5}">
                      <a16:colId xmlns:a16="http://schemas.microsoft.com/office/drawing/2014/main" val="3055592265"/>
                    </a:ext>
                  </a:extLst>
                </a:gridCol>
                <a:gridCol w="876647">
                  <a:extLst>
                    <a:ext uri="{9D8B030D-6E8A-4147-A177-3AD203B41FA5}">
                      <a16:colId xmlns:a16="http://schemas.microsoft.com/office/drawing/2014/main" val="2755530168"/>
                    </a:ext>
                  </a:extLst>
                </a:gridCol>
              </a:tblGrid>
              <a:tr h="198438">
                <a:tc>
                  <a:txBody>
                    <a:bodyPr/>
                    <a:lstStyle/>
                    <a:p>
                      <a:pPr algn="ctr" rtl="0" fontAlgn="b"/>
                      <a:r>
                        <a:rPr lang="en-GB" sz="1200" b="1" i="0" u="none" strike="noStrike" noProof="0">
                          <a:solidFill>
                            <a:srgbClr val="000000"/>
                          </a:solidFill>
                          <a:effectLst/>
                          <a:latin typeface="Aptos Narrow" panose="020B0004020202020204" pitchFamily="34" charset="0"/>
                        </a:rPr>
                        <a:t>4</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86CC99"/>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3</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EBF6F1"/>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5</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63BE7B"/>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5</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63BE7B"/>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4</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86CC99"/>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4</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86CC99"/>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3</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EBF6F1"/>
                    </a:solidFill>
                  </a:tcPr>
                </a:tc>
                <a:extLst>
                  <a:ext uri="{0D108BD9-81ED-4DB2-BD59-A6C34878D82A}">
                    <a16:rowId xmlns:a16="http://schemas.microsoft.com/office/drawing/2014/main" val="3496992022"/>
                  </a:ext>
                </a:extLst>
              </a:tr>
            </a:tbl>
          </a:graphicData>
        </a:graphic>
      </p:graphicFrame>
      <p:pic>
        <p:nvPicPr>
          <p:cNvPr id="2054" name="Picture 6" descr="Download Louis Vuitton (LV) Logo in SVG Vector or PNG File Format -  Logo.wine">
            <a:extLst>
              <a:ext uri="{FF2B5EF4-FFF2-40B4-BE49-F238E27FC236}">
                <a16:creationId xmlns:a16="http://schemas.microsoft.com/office/drawing/2014/main" id="{5CC3C435-56A0-F8EE-D7B0-5E93074D1A60}"/>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31022" t="17433" r="30138" b="16365"/>
          <a:stretch>
            <a:fillRect/>
          </a:stretch>
        </p:blipFill>
        <p:spPr bwMode="auto">
          <a:xfrm>
            <a:off x="8144337" y="2575383"/>
            <a:ext cx="453675" cy="515523"/>
          </a:xfrm>
          <a:prstGeom prst="rect">
            <a:avLst/>
          </a:prstGeom>
          <a:noFill/>
          <a:extLst>
            <a:ext uri="{909E8E84-426E-40DD-AFC4-6F175D3DCCD1}">
              <a14:hiddenFill xmlns:a14="http://schemas.microsoft.com/office/drawing/2010/main">
                <a:solidFill>
                  <a:srgbClr val="FFFFFF"/>
                </a:solidFill>
              </a14:hiddenFill>
            </a:ext>
          </a:extLst>
        </p:spPr>
      </p:pic>
      <p:pic>
        <p:nvPicPr>
          <p:cNvPr id="6221" name="Picture 14" descr="Coach Logo [free PNG Download]">
            <a:extLst>
              <a:ext uri="{FF2B5EF4-FFF2-40B4-BE49-F238E27FC236}">
                <a16:creationId xmlns:a16="http://schemas.microsoft.com/office/drawing/2014/main" id="{E57E8DC9-B739-A011-BBE8-E3DCA4F34F0C}"/>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059249" y="3106460"/>
            <a:ext cx="1169376" cy="488799"/>
          </a:xfrm>
          <a:prstGeom prst="rect">
            <a:avLst/>
          </a:prstGeom>
          <a:noFill/>
          <a:extLst>
            <a:ext uri="{909E8E84-426E-40DD-AFC4-6F175D3DCCD1}">
              <a14:hiddenFill xmlns:a14="http://schemas.microsoft.com/office/drawing/2010/main">
                <a:solidFill>
                  <a:srgbClr val="FFFFFF"/>
                </a:solidFill>
              </a14:hiddenFill>
            </a:ext>
          </a:extLst>
        </p:spPr>
      </p:pic>
      <p:pic>
        <p:nvPicPr>
          <p:cNvPr id="6222" name="Picture 16">
            <a:extLst>
              <a:ext uri="{FF2B5EF4-FFF2-40B4-BE49-F238E27FC236}">
                <a16:creationId xmlns:a16="http://schemas.microsoft.com/office/drawing/2014/main" id="{8A541884-4202-5A49-6668-1B099F733501}"/>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7700121" y="3792581"/>
            <a:ext cx="1269716" cy="838199"/>
          </a:xfrm>
          <a:prstGeom prst="rect">
            <a:avLst/>
          </a:prstGeom>
          <a:noFill/>
          <a:extLst>
            <a:ext uri="{909E8E84-426E-40DD-AFC4-6F175D3DCCD1}">
              <a14:hiddenFill xmlns:a14="http://schemas.microsoft.com/office/drawing/2010/main">
                <a:solidFill>
                  <a:srgbClr val="FFFFFF"/>
                </a:solidFill>
              </a14:hiddenFill>
            </a:ext>
          </a:extLst>
        </p:spPr>
      </p:pic>
      <p:sp>
        <p:nvSpPr>
          <p:cNvPr id="12" name="Arrow: Chevron 11">
            <a:extLst>
              <a:ext uri="{FF2B5EF4-FFF2-40B4-BE49-F238E27FC236}">
                <a16:creationId xmlns:a16="http://schemas.microsoft.com/office/drawing/2014/main" id="{358929FF-C97A-0409-ADC1-BD72F300299C}"/>
              </a:ext>
            </a:extLst>
          </p:cNvPr>
          <p:cNvSpPr/>
          <p:nvPr/>
        </p:nvSpPr>
        <p:spPr>
          <a:xfrm>
            <a:off x="8108917"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13" name="Arrow: Chevron 12">
            <a:extLst>
              <a:ext uri="{FF2B5EF4-FFF2-40B4-BE49-F238E27FC236}">
                <a16:creationId xmlns:a16="http://schemas.microsoft.com/office/drawing/2014/main" id="{B5F7457C-EC34-E1A7-9311-391D46D523E7}"/>
              </a:ext>
            </a:extLst>
          </p:cNvPr>
          <p:cNvSpPr/>
          <p:nvPr/>
        </p:nvSpPr>
        <p:spPr>
          <a:xfrm>
            <a:off x="9071675"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14" name="Arrow: Chevron 13">
            <a:extLst>
              <a:ext uri="{FF2B5EF4-FFF2-40B4-BE49-F238E27FC236}">
                <a16:creationId xmlns:a16="http://schemas.microsoft.com/office/drawing/2014/main" id="{27DCAFA4-B1E0-4094-A7D0-250D7A2994C9}"/>
              </a:ext>
            </a:extLst>
          </p:cNvPr>
          <p:cNvSpPr/>
          <p:nvPr/>
        </p:nvSpPr>
        <p:spPr>
          <a:xfrm>
            <a:off x="10034433"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15" name="Arrow: Chevron 14">
            <a:extLst>
              <a:ext uri="{FF2B5EF4-FFF2-40B4-BE49-F238E27FC236}">
                <a16:creationId xmlns:a16="http://schemas.microsoft.com/office/drawing/2014/main" id="{A4A59523-34FB-8DCA-6E58-E48F55377E9C}"/>
              </a:ext>
            </a:extLst>
          </p:cNvPr>
          <p:cNvSpPr/>
          <p:nvPr/>
        </p:nvSpPr>
        <p:spPr>
          <a:xfrm>
            <a:off x="1099963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38437008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4C13D4-9DDD-B5E7-C80F-C4F2D805B0A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4BA95E2-2B59-B25D-8375-6D0730B7DA75}"/>
              </a:ext>
            </a:extLst>
          </p:cNvPr>
          <p:cNvGraphicFramePr>
            <a:graphicFrameLocks noChangeAspect="1"/>
          </p:cNvGraphicFramePr>
          <p:nvPr>
            <p:custDataLst>
              <p:tags r:id="rId1"/>
            </p:custDataLst>
            <p:extLst>
              <p:ext uri="{D42A27DB-BD31-4B8C-83A1-F6EECF244321}">
                <p14:modId xmlns:p14="http://schemas.microsoft.com/office/powerpoint/2010/main" val="73590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26" imgH="426" progId="TCLayout.ActiveDocument.1">
                  <p:embed/>
                </p:oleObj>
              </mc:Choice>
              <mc:Fallback>
                <p:oleObj name="think-cell Slide" r:id="rId19" imgW="426" imgH="426" progId="TCLayout.ActiveDocument.1">
                  <p:embed/>
                  <p:pic>
                    <p:nvPicPr>
                      <p:cNvPr id="7" name="think-cell data - do not delete" hidden="1">
                        <a:extLst>
                          <a:ext uri="{FF2B5EF4-FFF2-40B4-BE49-F238E27FC236}">
                            <a16:creationId xmlns:a16="http://schemas.microsoft.com/office/drawing/2014/main" id="{D4BA95E2-2B59-B25D-8375-6D0730B7DA75}"/>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9FD9B4-D3A8-EC96-876C-04194184304D}"/>
              </a:ext>
            </a:extLst>
          </p:cNvPr>
          <p:cNvSpPr>
            <a:spLocks noGrp="1"/>
          </p:cNvSpPr>
          <p:nvPr>
            <p:ph type="title"/>
          </p:nvPr>
        </p:nvSpPr>
        <p:spPr>
          <a:xfrm>
            <a:off x="137786" y="125260"/>
            <a:ext cx="7281688" cy="806754"/>
          </a:xfrm>
        </p:spPr>
        <p:txBody>
          <a:bodyPr vert="horz">
            <a:normAutofit/>
          </a:bodyPr>
          <a:lstStyle/>
          <a:p>
            <a:r>
              <a:rPr lang="en-GB" sz="2300" b="1" noProof="0"/>
              <a:t>Choice of Generic Positioning: Blue Ocean</a:t>
            </a:r>
          </a:p>
        </p:txBody>
      </p:sp>
      <p:sp>
        <p:nvSpPr>
          <p:cNvPr id="38" name="Rectangle 37">
            <a:extLst>
              <a:ext uri="{FF2B5EF4-FFF2-40B4-BE49-F238E27FC236}">
                <a16:creationId xmlns:a16="http://schemas.microsoft.com/office/drawing/2014/main" id="{7F485162-5542-8D24-D21C-4401AF6FF2AF}"/>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100" noProof="0">
                <a:solidFill>
                  <a:schemeClr val="tx1"/>
                </a:solidFill>
                <a:latin typeface="Avenir Next LT Pro" panose="020B0504020202020204" pitchFamily="34" charset="0"/>
              </a:rPr>
              <a:t>The power of Blue Ocean Strategy consists in creating new demand rather than competing for existing demand, by reconstructing market boundaries.</a:t>
            </a:r>
          </a:p>
          <a:p>
            <a:pPr marL="285750" indent="-285750">
              <a:spcAft>
                <a:spcPts val="600"/>
              </a:spcAft>
              <a:buFont typeface="Arial" panose="020B0604020202020204" pitchFamily="34" charset="0"/>
              <a:buChar char="•"/>
            </a:pPr>
            <a:r>
              <a:rPr lang="en-GB" sz="1100" noProof="0">
                <a:solidFill>
                  <a:schemeClr val="tx1"/>
                </a:solidFill>
                <a:latin typeface="Avenir Next LT Pro" panose="020B0504020202020204" pitchFamily="34" charset="0"/>
              </a:rPr>
              <a:t>It requires whole-system alignment across utility, price, cost, and people propositions to sustain value innovation over time. </a:t>
            </a:r>
          </a:p>
          <a:p>
            <a:pPr marL="285750" indent="-285750">
              <a:spcAft>
                <a:spcPts val="600"/>
              </a:spcAft>
              <a:buFont typeface="Arial" panose="020B0604020202020204" pitchFamily="34" charset="0"/>
              <a:buChar char="•"/>
            </a:pPr>
            <a:r>
              <a:rPr lang="en-GB" sz="1100" noProof="0">
                <a:solidFill>
                  <a:schemeClr val="tx1"/>
                </a:solidFill>
                <a:latin typeface="Avenir Next LT Pro" panose="020B0504020202020204" pitchFamily="34" charset="0"/>
              </a:rPr>
              <a:t>When Apple launched the iPhone, it created an entirely new category of value that redefined customer expectations, by creating a platform instead of competing on hardware specifications.</a:t>
            </a:r>
          </a:p>
          <a:p>
            <a:pPr marL="285750" indent="-285750">
              <a:spcAft>
                <a:spcPts val="600"/>
              </a:spcAft>
              <a:buFont typeface="Arial" panose="020B0604020202020204" pitchFamily="34" charset="0"/>
              <a:buChar char="•"/>
            </a:pPr>
            <a:r>
              <a:rPr lang="en-GB" sz="1100" noProof="0">
                <a:solidFill>
                  <a:schemeClr val="tx1"/>
                </a:solidFill>
                <a:latin typeface="Avenir Next LT Pro" panose="020B0504020202020204" pitchFamily="34" charset="0"/>
              </a:rPr>
              <a:t>The platform approach delivered unprecedented personalisation, continuous value enhancement, ecosystem integration and future-proofing.</a:t>
            </a:r>
          </a:p>
          <a:p>
            <a:pPr marL="285750" indent="-285750">
              <a:spcAft>
                <a:spcPts val="600"/>
              </a:spcAft>
              <a:buFont typeface="Arial" panose="020B0604020202020204" pitchFamily="34" charset="0"/>
              <a:buChar char="•"/>
            </a:pPr>
            <a:r>
              <a:rPr lang="en-GB" sz="1100" noProof="0">
                <a:solidFill>
                  <a:schemeClr val="tx1"/>
                </a:solidFill>
                <a:latin typeface="Avenir Next LT Pro" panose="020B0504020202020204" pitchFamily="34" charset="0"/>
              </a:rPr>
              <a:t>Apple also achieved manufacturing cost advantages through a low SKU complexity, network effects of the app store, while still appealing to infinite customer diversity.</a:t>
            </a:r>
          </a:p>
        </p:txBody>
      </p:sp>
      <p:grpSp>
        <p:nvGrpSpPr>
          <p:cNvPr id="55" name="Group 54">
            <a:extLst>
              <a:ext uri="{FF2B5EF4-FFF2-40B4-BE49-F238E27FC236}">
                <a16:creationId xmlns:a16="http://schemas.microsoft.com/office/drawing/2014/main" id="{6384EF84-B5F3-2F4C-4F8B-6C06A6141EFA}"/>
              </a:ext>
            </a:extLst>
          </p:cNvPr>
          <p:cNvGrpSpPr/>
          <p:nvPr/>
        </p:nvGrpSpPr>
        <p:grpSpPr>
          <a:xfrm>
            <a:off x="8416182" y="1059803"/>
            <a:ext cx="858460" cy="673769"/>
            <a:chOff x="368907" y="1700531"/>
            <a:chExt cx="4038920" cy="4275927"/>
          </a:xfrm>
          <a:effectLst/>
        </p:grpSpPr>
        <p:sp>
          <p:nvSpPr>
            <p:cNvPr id="57" name="Isosceles Triangle 62">
              <a:extLst>
                <a:ext uri="{FF2B5EF4-FFF2-40B4-BE49-F238E27FC236}">
                  <a16:creationId xmlns:a16="http://schemas.microsoft.com/office/drawing/2014/main" id="{A65BD907-A612-46B0-6E22-E4C42052D7F1}"/>
                </a:ext>
              </a:extLst>
            </p:cNvPr>
            <p:cNvSpPr/>
            <p:nvPr/>
          </p:nvSpPr>
          <p:spPr>
            <a:xfrm>
              <a:off x="1106945" y="2957333"/>
              <a:ext cx="2556494" cy="1456051"/>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481647" y="2614"/>
                  </a:lnTo>
                  <a:lnTo>
                    <a:pt x="1325344" y="0"/>
                  </a:lnTo>
                  <a:lnTo>
                    <a:pt x="1810264" y="968810"/>
                  </a:lnTo>
                  <a:lnTo>
                    <a:pt x="0" y="968810"/>
                  </a:lnTo>
                  <a:close/>
                </a:path>
              </a:pathLst>
            </a:cu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grpSp>
          <p:nvGrpSpPr>
            <p:cNvPr id="58" name="Group 57">
              <a:extLst>
                <a:ext uri="{FF2B5EF4-FFF2-40B4-BE49-F238E27FC236}">
                  <a16:creationId xmlns:a16="http://schemas.microsoft.com/office/drawing/2014/main" id="{D6D04BB4-1CEA-08F7-2D6A-1E8D2069C785}"/>
                </a:ext>
              </a:extLst>
            </p:cNvPr>
            <p:cNvGrpSpPr/>
            <p:nvPr/>
          </p:nvGrpSpPr>
          <p:grpSpPr>
            <a:xfrm>
              <a:off x="368907" y="2954958"/>
              <a:ext cx="4038920" cy="3021500"/>
              <a:chOff x="364847" y="3312617"/>
              <a:chExt cx="4038920" cy="3021500"/>
            </a:xfrm>
          </p:grpSpPr>
          <p:cxnSp>
            <p:nvCxnSpPr>
              <p:cNvPr id="59" name="Straight Connector 58">
                <a:extLst>
                  <a:ext uri="{FF2B5EF4-FFF2-40B4-BE49-F238E27FC236}">
                    <a16:creationId xmlns:a16="http://schemas.microsoft.com/office/drawing/2014/main" id="{CF8BF7E8-81F7-D86B-BACD-83E20EB81A84}"/>
                  </a:ext>
                </a:extLst>
              </p:cNvPr>
              <p:cNvCxnSpPr>
                <a:cxnSpLocks/>
              </p:cNvCxnSpPr>
              <p:nvPr/>
            </p:nvCxnSpPr>
            <p:spPr>
              <a:xfrm>
                <a:off x="1110997" y="4771043"/>
                <a:ext cx="254556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60" name="Isosceles Triangle 62">
                <a:extLst>
                  <a:ext uri="{FF2B5EF4-FFF2-40B4-BE49-F238E27FC236}">
                    <a16:creationId xmlns:a16="http://schemas.microsoft.com/office/drawing/2014/main" id="{0CC3069B-9B73-2AAC-6F52-1D6C232B2902}"/>
                  </a:ext>
                </a:extLst>
              </p:cNvPr>
              <p:cNvSpPr/>
              <p:nvPr/>
            </p:nvSpPr>
            <p:spPr>
              <a:xfrm>
                <a:off x="364847" y="4771043"/>
                <a:ext cx="4038920" cy="1562778"/>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476069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326400" y="396"/>
                    </a:lnTo>
                    <a:lnTo>
                      <a:pt x="1476069" y="0"/>
                    </a:lnTo>
                    <a:lnTo>
                      <a:pt x="1810264" y="968810"/>
                    </a:lnTo>
                    <a:lnTo>
                      <a:pt x="0" y="968810"/>
                    </a:lnTo>
                    <a:close/>
                  </a:path>
                </a:pathLst>
              </a:cu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cxnSp>
            <p:nvCxnSpPr>
              <p:cNvPr id="61" name="Straight Connector 60">
                <a:extLst>
                  <a:ext uri="{FF2B5EF4-FFF2-40B4-BE49-F238E27FC236}">
                    <a16:creationId xmlns:a16="http://schemas.microsoft.com/office/drawing/2014/main" id="{30649912-DE22-3B76-BA8B-EDD5EDF51312}"/>
                  </a:ext>
                </a:extLst>
              </p:cNvPr>
              <p:cNvCxnSpPr>
                <a:cxnSpLocks/>
              </p:cNvCxnSpPr>
              <p:nvPr/>
            </p:nvCxnSpPr>
            <p:spPr>
              <a:xfrm flipH="1">
                <a:off x="1833796" y="3312617"/>
                <a:ext cx="287660" cy="148830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B905D08-FF07-BBD4-A76F-11210DCD7D7C}"/>
                  </a:ext>
                </a:extLst>
              </p:cNvPr>
              <p:cNvCxnSpPr>
                <a:cxnSpLocks/>
              </p:cNvCxnSpPr>
              <p:nvPr/>
            </p:nvCxnSpPr>
            <p:spPr>
              <a:xfrm>
                <a:off x="2562892" y="4771043"/>
                <a:ext cx="106051" cy="1562778"/>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62D5CBD-06CC-4BBC-492B-6212D14A59C1}"/>
                  </a:ext>
                </a:extLst>
              </p:cNvPr>
              <p:cNvCxnSpPr>
                <a:cxnSpLocks/>
              </p:cNvCxnSpPr>
              <p:nvPr/>
            </p:nvCxnSpPr>
            <p:spPr>
              <a:xfrm flipH="1">
                <a:off x="2089604" y="4771042"/>
                <a:ext cx="76090" cy="156277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4" name="Straight Connector 6143">
                <a:extLst>
                  <a:ext uri="{FF2B5EF4-FFF2-40B4-BE49-F238E27FC236}">
                    <a16:creationId xmlns:a16="http://schemas.microsoft.com/office/drawing/2014/main" id="{5C12EF07-CE5C-9B84-2A72-CC8110D91726}"/>
                  </a:ext>
                </a:extLst>
              </p:cNvPr>
              <p:cNvCxnSpPr>
                <a:cxnSpLocks/>
              </p:cNvCxnSpPr>
              <p:nvPr/>
            </p:nvCxnSpPr>
            <p:spPr>
              <a:xfrm flipH="1">
                <a:off x="957027" y="4771042"/>
                <a:ext cx="526604" cy="156277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5" name="Straight Connector 6144">
                <a:extLst>
                  <a:ext uri="{FF2B5EF4-FFF2-40B4-BE49-F238E27FC236}">
                    <a16:creationId xmlns:a16="http://schemas.microsoft.com/office/drawing/2014/main" id="{952B5370-1029-B5AE-2FC1-38D020A437D5}"/>
                  </a:ext>
                </a:extLst>
              </p:cNvPr>
              <p:cNvCxnSpPr>
                <a:cxnSpLocks/>
              </p:cNvCxnSpPr>
              <p:nvPr/>
            </p:nvCxnSpPr>
            <p:spPr>
              <a:xfrm>
                <a:off x="2706590" y="3312617"/>
                <a:ext cx="267090" cy="145942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6" name="Straight Connector 6145">
                <a:extLst>
                  <a:ext uri="{FF2B5EF4-FFF2-40B4-BE49-F238E27FC236}">
                    <a16:creationId xmlns:a16="http://schemas.microsoft.com/office/drawing/2014/main" id="{2A3EBCCC-6FA2-2A25-849B-816A46769A74}"/>
                  </a:ext>
                </a:extLst>
              </p:cNvPr>
              <p:cNvCxnSpPr>
                <a:cxnSpLocks/>
              </p:cNvCxnSpPr>
              <p:nvPr/>
            </p:nvCxnSpPr>
            <p:spPr>
              <a:xfrm>
                <a:off x="3336756" y="4771043"/>
                <a:ext cx="506582" cy="1563074"/>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7" name="Straight Connector 6146">
                <a:extLst>
                  <a:ext uri="{FF2B5EF4-FFF2-40B4-BE49-F238E27FC236}">
                    <a16:creationId xmlns:a16="http://schemas.microsoft.com/office/drawing/2014/main" id="{F4A9D136-75AF-D6B2-5FFC-F1BD0E65292D}"/>
                  </a:ext>
                </a:extLst>
              </p:cNvPr>
              <p:cNvCxnSpPr>
                <a:cxnSpLocks/>
              </p:cNvCxnSpPr>
              <p:nvPr/>
            </p:nvCxnSpPr>
            <p:spPr>
              <a:xfrm flipH="1">
                <a:off x="1539549" y="4772039"/>
                <a:ext cx="300668" cy="156178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8" name="Straight Connector 6147">
                <a:extLst>
                  <a:ext uri="{FF2B5EF4-FFF2-40B4-BE49-F238E27FC236}">
                    <a16:creationId xmlns:a16="http://schemas.microsoft.com/office/drawing/2014/main" id="{E267D817-EF5A-8E2C-2948-BDAEEFE01DD1}"/>
                  </a:ext>
                </a:extLst>
              </p:cNvPr>
              <p:cNvCxnSpPr>
                <a:cxnSpLocks/>
              </p:cNvCxnSpPr>
              <p:nvPr/>
            </p:nvCxnSpPr>
            <p:spPr>
              <a:xfrm>
                <a:off x="2973680" y="4778378"/>
                <a:ext cx="284662" cy="155544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50" name="Straight Connector 6149">
                <a:extLst>
                  <a:ext uri="{FF2B5EF4-FFF2-40B4-BE49-F238E27FC236}">
                    <a16:creationId xmlns:a16="http://schemas.microsoft.com/office/drawing/2014/main" id="{532CE069-965E-1CF2-0C5D-6A89D1D66EC9}"/>
                  </a:ext>
                </a:extLst>
              </p:cNvPr>
              <p:cNvCxnSpPr>
                <a:cxnSpLocks/>
                <a:stCxn id="60" idx="1"/>
                <a:endCxn id="57" idx="3"/>
              </p:cNvCxnSpPr>
              <p:nvPr/>
            </p:nvCxnSpPr>
            <p:spPr>
              <a:xfrm flipV="1">
                <a:off x="1093085" y="4771043"/>
                <a:ext cx="2566294" cy="6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6" name="Isosceles Triangle 55">
              <a:extLst>
                <a:ext uri="{FF2B5EF4-FFF2-40B4-BE49-F238E27FC236}">
                  <a16:creationId xmlns:a16="http://schemas.microsoft.com/office/drawing/2014/main" id="{F46213E3-10B7-D543-E903-F10F25593690}"/>
                </a:ext>
              </a:extLst>
            </p:cNvPr>
            <p:cNvSpPr/>
            <p:nvPr/>
          </p:nvSpPr>
          <p:spPr>
            <a:xfrm>
              <a:off x="1792513" y="1700531"/>
              <a:ext cx="1191709" cy="1248079"/>
            </a:xfrm>
            <a:prstGeom prst="triangle">
              <a:avLst>
                <a:gd name="adj" fmla="val 49710"/>
              </a:avLst>
            </a:prstGeom>
            <a:solidFill>
              <a:srgbClr val="FFE4CD"/>
            </a:solidFill>
            <a:ln w="9525">
              <a:solidFill>
                <a:srgbClr val="FF834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grpSp>
      <p:graphicFrame>
        <p:nvGraphicFramePr>
          <p:cNvPr id="53" name="Chart 52">
            <a:extLst>
              <a:ext uri="{FF2B5EF4-FFF2-40B4-BE49-F238E27FC236}">
                <a16:creationId xmlns:a16="http://schemas.microsoft.com/office/drawing/2014/main" id="{E0BCD7D2-F70B-93AA-E2C1-5B3445D7CB34}"/>
              </a:ext>
            </a:extLst>
          </p:cNvPr>
          <p:cNvGraphicFramePr/>
          <p:nvPr>
            <p:extLst>
              <p:ext uri="{D42A27DB-BD31-4B8C-83A1-F6EECF244321}">
                <p14:modId xmlns:p14="http://schemas.microsoft.com/office/powerpoint/2010/main" val="9200414"/>
              </p:ext>
            </p:extLst>
          </p:nvPr>
        </p:nvGraphicFramePr>
        <p:xfrm>
          <a:off x="1828799" y="1997075"/>
          <a:ext cx="6815138" cy="4346575"/>
        </p:xfrm>
        <a:graphic>
          <a:graphicData uri="http://schemas.openxmlformats.org/drawingml/2006/chart">
            <c:chart xmlns:c="http://schemas.openxmlformats.org/drawingml/2006/chart" xmlns:r="http://schemas.openxmlformats.org/officeDocument/2006/relationships" r:id="rId21"/>
          </a:graphicData>
        </a:graphic>
      </p:graphicFrame>
      <p:sp>
        <p:nvSpPr>
          <p:cNvPr id="54" name="TextBox 53">
            <a:extLst>
              <a:ext uri="{FF2B5EF4-FFF2-40B4-BE49-F238E27FC236}">
                <a16:creationId xmlns:a16="http://schemas.microsoft.com/office/drawing/2014/main" id="{AE756E3C-F9A7-D8A6-289D-E4BB764C0914}"/>
              </a:ext>
            </a:extLst>
          </p:cNvPr>
          <p:cNvSpPr txBox="1"/>
          <p:nvPr>
            <p:custDataLst>
              <p:tags r:id="rId2"/>
            </p:custDataLst>
          </p:nvPr>
        </p:nvSpPr>
        <p:spPr>
          <a:xfrm>
            <a:off x="1811338" y="4727575"/>
            <a:ext cx="779463"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Low</a:t>
            </a:r>
          </a:p>
        </p:txBody>
      </p:sp>
      <p:sp>
        <p:nvSpPr>
          <p:cNvPr id="6149" name="TextBox 6148">
            <a:extLst>
              <a:ext uri="{FF2B5EF4-FFF2-40B4-BE49-F238E27FC236}">
                <a16:creationId xmlns:a16="http://schemas.microsoft.com/office/drawing/2014/main" id="{AE78FDE9-4BB1-61E8-1CD3-F98FCD264595}"/>
              </a:ext>
            </a:extLst>
          </p:cNvPr>
          <p:cNvSpPr txBox="1"/>
          <p:nvPr>
            <p:custDataLst>
              <p:tags r:id="rId3"/>
            </p:custDataLst>
          </p:nvPr>
        </p:nvSpPr>
        <p:spPr>
          <a:xfrm>
            <a:off x="1811338" y="2425700"/>
            <a:ext cx="779463"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High</a:t>
            </a:r>
          </a:p>
        </p:txBody>
      </p:sp>
      <p:sp>
        <p:nvSpPr>
          <p:cNvPr id="6151" name="TextBox 6150">
            <a:extLst>
              <a:ext uri="{FF2B5EF4-FFF2-40B4-BE49-F238E27FC236}">
                <a16:creationId xmlns:a16="http://schemas.microsoft.com/office/drawing/2014/main" id="{266739D9-70DC-D46B-E3D7-D2453D5D051F}"/>
              </a:ext>
            </a:extLst>
          </p:cNvPr>
          <p:cNvSpPr txBox="1"/>
          <p:nvPr/>
        </p:nvSpPr>
        <p:spPr>
          <a:xfrm rot="16200000">
            <a:off x="1068388" y="3665538"/>
            <a:ext cx="1836738"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sng"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Offering level</a:t>
            </a:r>
          </a:p>
        </p:txBody>
      </p:sp>
      <p:sp>
        <p:nvSpPr>
          <p:cNvPr id="6152" name="TextBox 6151">
            <a:extLst>
              <a:ext uri="{FF2B5EF4-FFF2-40B4-BE49-F238E27FC236}">
                <a16:creationId xmlns:a16="http://schemas.microsoft.com/office/drawing/2014/main" id="{FA548FAF-D46B-AE3C-FAC8-6FAEBEBC25B1}"/>
              </a:ext>
            </a:extLst>
          </p:cNvPr>
          <p:cNvSpPr txBox="1"/>
          <p:nvPr>
            <p:custDataLst>
              <p:tags r:id="rId4"/>
            </p:custDataLst>
          </p:nvPr>
        </p:nvSpPr>
        <p:spPr>
          <a:xfrm>
            <a:off x="349486" y="1242595"/>
            <a:ext cx="7844727" cy="33855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Example: Strategy Value Curve of Apple’s iPhone and Competitors (2007)</a:t>
            </a:r>
          </a:p>
        </p:txBody>
      </p:sp>
      <p:sp>
        <p:nvSpPr>
          <p:cNvPr id="6153" name="Rectangle: Rounded Corners 6152">
            <a:extLst>
              <a:ext uri="{FF2B5EF4-FFF2-40B4-BE49-F238E27FC236}">
                <a16:creationId xmlns:a16="http://schemas.microsoft.com/office/drawing/2014/main" id="{E3E37AC2-56BE-7B7A-34C5-CDB486359806}"/>
              </a:ext>
            </a:extLst>
          </p:cNvPr>
          <p:cNvSpPr/>
          <p:nvPr/>
        </p:nvSpPr>
        <p:spPr>
          <a:xfrm>
            <a:off x="2755899" y="2000250"/>
            <a:ext cx="5048250" cy="390525"/>
          </a:xfrm>
          <a:prstGeom prst="roundRect">
            <a:avLst/>
          </a:prstGeom>
          <a:noFill/>
          <a:ln w="6350"/>
        </p:spPr>
        <p:style>
          <a:lnRef idx="2">
            <a:schemeClr val="accent1"/>
          </a:lnRef>
          <a:fillRef idx="1">
            <a:schemeClr val="lt1"/>
          </a:fillRef>
          <a:effectRef idx="0">
            <a:schemeClr val="accent1"/>
          </a:effectRef>
          <a:fontRef idx="minor">
            <a:schemeClr val="dk1"/>
          </a:fontRef>
        </p:style>
        <p:txBody>
          <a:bodyPr rtlCol="0" anchor="t"/>
          <a:lstStyle/>
          <a:p>
            <a:pPr algn="ctr"/>
            <a:endParaRPr lang="en-GB" sz="1200" noProof="0">
              <a:solidFill>
                <a:srgbClr val="776E6A"/>
              </a:solidFill>
            </a:endParaRPr>
          </a:p>
        </p:txBody>
      </p:sp>
      <p:sp>
        <p:nvSpPr>
          <p:cNvPr id="6154" name="Rectangle 6153">
            <a:extLst>
              <a:ext uri="{FF2B5EF4-FFF2-40B4-BE49-F238E27FC236}">
                <a16:creationId xmlns:a16="http://schemas.microsoft.com/office/drawing/2014/main" id="{41971439-5CF9-650F-45C9-CC49DAF7C548}"/>
              </a:ext>
            </a:extLst>
          </p:cNvPr>
          <p:cNvSpPr/>
          <p:nvPr/>
        </p:nvSpPr>
        <p:spPr>
          <a:xfrm>
            <a:off x="4371975" y="1909763"/>
            <a:ext cx="1804988" cy="18573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noProof="0">
                <a:solidFill>
                  <a:srgbClr val="776E6A"/>
                </a:solidFill>
              </a:rPr>
              <a:t>Relative Performance</a:t>
            </a:r>
          </a:p>
        </p:txBody>
      </p:sp>
      <p:sp>
        <p:nvSpPr>
          <p:cNvPr id="6155" name="TextBox 6154">
            <a:extLst>
              <a:ext uri="{FF2B5EF4-FFF2-40B4-BE49-F238E27FC236}">
                <a16:creationId xmlns:a16="http://schemas.microsoft.com/office/drawing/2014/main" id="{97FB4382-10A4-35C0-BFA3-F79F6F207E2C}"/>
              </a:ext>
            </a:extLst>
          </p:cNvPr>
          <p:cNvSpPr txBox="1"/>
          <p:nvPr>
            <p:custDataLst>
              <p:tags r:id="rId5"/>
            </p:custDataLst>
          </p:nvPr>
        </p:nvSpPr>
        <p:spPr>
          <a:xfrm>
            <a:off x="1116180" y="5680075"/>
            <a:ext cx="1231900"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Importance</a:t>
            </a:r>
          </a:p>
        </p:txBody>
      </p:sp>
      <p:sp>
        <p:nvSpPr>
          <p:cNvPr id="6156" name="TextBox 6155">
            <a:extLst>
              <a:ext uri="{FF2B5EF4-FFF2-40B4-BE49-F238E27FC236}">
                <a16:creationId xmlns:a16="http://schemas.microsoft.com/office/drawing/2014/main" id="{5E0A94DB-137A-5ED8-F0A6-B512839A99D5}"/>
              </a:ext>
            </a:extLst>
          </p:cNvPr>
          <p:cNvSpPr txBox="1"/>
          <p:nvPr>
            <p:custDataLst>
              <p:tags r:id="rId6"/>
            </p:custDataLst>
          </p:nvPr>
        </p:nvSpPr>
        <p:spPr>
          <a:xfrm>
            <a:off x="4206312" y="6103596"/>
            <a:ext cx="2222500"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sng"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Competing Factors</a:t>
            </a:r>
          </a:p>
        </p:txBody>
      </p:sp>
      <p:sp>
        <p:nvSpPr>
          <p:cNvPr id="6157" name="Rectangle 6156">
            <a:extLst>
              <a:ext uri="{FF2B5EF4-FFF2-40B4-BE49-F238E27FC236}">
                <a16:creationId xmlns:a16="http://schemas.microsoft.com/office/drawing/2014/main" id="{2953F41C-9E26-3736-9DCD-644F1EE01C7C}"/>
              </a:ext>
            </a:extLst>
          </p:cNvPr>
          <p:cNvSpPr/>
          <p:nvPr/>
        </p:nvSpPr>
        <p:spPr>
          <a:xfrm>
            <a:off x="501875" y="1743076"/>
            <a:ext cx="1016000" cy="4667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noProof="0">
                <a:solidFill>
                  <a:schemeClr val="bg1"/>
                </a:solidFill>
              </a:rPr>
              <a:t>Relative Price</a:t>
            </a:r>
          </a:p>
        </p:txBody>
      </p:sp>
      <p:graphicFrame>
        <p:nvGraphicFramePr>
          <p:cNvPr id="14" name="Chart 13">
            <a:extLst>
              <a:ext uri="{FF2B5EF4-FFF2-40B4-BE49-F238E27FC236}">
                <a16:creationId xmlns:a16="http://schemas.microsoft.com/office/drawing/2014/main" id="{9EC1472F-FC90-F291-4316-675AC1D61CB5}"/>
              </a:ext>
            </a:extLst>
          </p:cNvPr>
          <p:cNvGraphicFramePr/>
          <p:nvPr>
            <p:custDataLst>
              <p:tags r:id="rId7"/>
            </p:custDataLst>
            <p:extLst>
              <p:ext uri="{D42A27DB-BD31-4B8C-83A1-F6EECF244321}">
                <p14:modId xmlns:p14="http://schemas.microsoft.com/office/powerpoint/2010/main" val="72994041"/>
              </p:ext>
            </p:extLst>
          </p:nvPr>
        </p:nvGraphicFramePr>
        <p:xfrm>
          <a:off x="654050" y="2347913"/>
          <a:ext cx="819150" cy="2771775"/>
        </p:xfrm>
        <a:graphic>
          <a:graphicData uri="http://schemas.openxmlformats.org/drawingml/2006/chart">
            <c:chart xmlns:c="http://schemas.openxmlformats.org/drawingml/2006/chart" xmlns:r="http://schemas.openxmlformats.org/officeDocument/2006/relationships" r:id="rId22"/>
          </a:graphicData>
        </a:graphic>
      </p:graphicFrame>
      <p:cxnSp>
        <p:nvCxnSpPr>
          <p:cNvPr id="6173" name="Straight Connector 6172">
            <a:extLst>
              <a:ext uri="{FF2B5EF4-FFF2-40B4-BE49-F238E27FC236}">
                <a16:creationId xmlns:a16="http://schemas.microsoft.com/office/drawing/2014/main" id="{4D8C1727-DC69-C7BC-33A9-61B6CFF493FF}"/>
              </a:ext>
            </a:extLst>
          </p:cNvPr>
          <p:cNvCxnSpPr>
            <a:cxnSpLocks/>
          </p:cNvCxnSpPr>
          <p:nvPr>
            <p:custDataLst>
              <p:tags r:id="rId8"/>
            </p:custDataLst>
          </p:nvPr>
        </p:nvCxnSpPr>
        <p:spPr bwMode="auto">
          <a:xfrm flipH="1">
            <a:off x="1069976" y="2790825"/>
            <a:ext cx="15875" cy="1174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75" name="Straight Connector 6174">
            <a:extLst>
              <a:ext uri="{FF2B5EF4-FFF2-40B4-BE49-F238E27FC236}">
                <a16:creationId xmlns:a16="http://schemas.microsoft.com/office/drawing/2014/main" id="{3095F6B5-1868-C9BB-5FEB-B50E4B36DAF8}"/>
              </a:ext>
            </a:extLst>
          </p:cNvPr>
          <p:cNvCxnSpPr>
            <a:cxnSpLocks/>
          </p:cNvCxnSpPr>
          <p:nvPr>
            <p:custDataLst>
              <p:tags r:id="rId9"/>
            </p:custDataLst>
          </p:nvPr>
        </p:nvCxnSpPr>
        <p:spPr bwMode="auto">
          <a:xfrm flipH="1" flipV="1">
            <a:off x="1082675" y="4032250"/>
            <a:ext cx="65088" cy="1238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76" name="Straight Connector 6175">
            <a:extLst>
              <a:ext uri="{FF2B5EF4-FFF2-40B4-BE49-F238E27FC236}">
                <a16:creationId xmlns:a16="http://schemas.microsoft.com/office/drawing/2014/main" id="{7D35D4F2-2CD2-079E-D4EB-21ECA6EFD6B2}"/>
              </a:ext>
            </a:extLst>
          </p:cNvPr>
          <p:cNvCxnSpPr>
            <a:cxnSpLocks/>
          </p:cNvCxnSpPr>
          <p:nvPr>
            <p:custDataLst>
              <p:tags r:id="rId10"/>
            </p:custDataLst>
          </p:nvPr>
        </p:nvCxnSpPr>
        <p:spPr bwMode="auto">
          <a:xfrm flipH="1" flipV="1">
            <a:off x="1085850" y="3092450"/>
            <a:ext cx="136525" cy="2143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177" name="Rectangle 6176">
            <a:extLst>
              <a:ext uri="{FF2B5EF4-FFF2-40B4-BE49-F238E27FC236}">
                <a16:creationId xmlns:a16="http://schemas.microsoft.com/office/drawing/2014/main" id="{3A2516EF-60AB-D120-195C-C30E8F256AE1}"/>
              </a:ext>
            </a:extLst>
          </p:cNvPr>
          <p:cNvSpPr/>
          <p:nvPr>
            <p:custDataLst>
              <p:tags r:id="rId11"/>
            </p:custDataLst>
          </p:nvPr>
        </p:nvSpPr>
        <p:spPr bwMode="gray">
          <a:xfrm>
            <a:off x="854075" y="2640013"/>
            <a:ext cx="4826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t"/>
          <a:lstStyle/>
          <a:p>
            <a:pPr>
              <a:lnSpc>
                <a:spcPct val="90000"/>
              </a:lnSpc>
              <a:spcBef>
                <a:spcPct val="0"/>
              </a:spcBef>
              <a:spcAft>
                <a:spcPct val="0"/>
              </a:spcAft>
            </a:pPr>
            <a:fld id="{A0D072A6-ED09-44B9-81E3-5F7B02A42EFC}" type="datetime'''''i''''''''P''h''o''n''''''''''''''''''e'''''''''">
              <a:rPr lang="en-GB" sz="1100" b="1" noProof="0" smtClean="0">
                <a:solidFill>
                  <a:schemeClr val="tx1"/>
                </a:solidFill>
                <a:effectLst/>
              </a:rPr>
              <a:pPr>
                <a:lnSpc>
                  <a:spcPct val="90000"/>
                </a:lnSpc>
                <a:spcBef>
                  <a:spcPct val="0"/>
                </a:spcBef>
                <a:spcAft>
                  <a:spcPct val="0"/>
                </a:spcAft>
              </a:pPr>
              <a:t>iPhone</a:t>
            </a:fld>
            <a:endParaRPr lang="en-GB" sz="1100" b="1" noProof="0">
              <a:solidFill>
                <a:schemeClr val="tx1"/>
              </a:solidFill>
            </a:endParaRPr>
          </a:p>
        </p:txBody>
      </p:sp>
      <p:sp useBgFill="1">
        <p:nvSpPr>
          <p:cNvPr id="6179" name="Rectangle 6178">
            <a:extLst>
              <a:ext uri="{FF2B5EF4-FFF2-40B4-BE49-F238E27FC236}">
                <a16:creationId xmlns:a16="http://schemas.microsoft.com/office/drawing/2014/main" id="{83E7F543-2E2B-1326-9876-E653F9459869}"/>
              </a:ext>
            </a:extLst>
          </p:cNvPr>
          <p:cNvSpPr/>
          <p:nvPr>
            <p:custDataLst>
              <p:tags r:id="rId12"/>
            </p:custDataLst>
          </p:nvPr>
        </p:nvSpPr>
        <p:spPr bwMode="gray">
          <a:xfrm>
            <a:off x="706438" y="4156075"/>
            <a:ext cx="960438" cy="150813"/>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t"/>
          <a:lstStyle/>
          <a:p>
            <a:pPr>
              <a:lnSpc>
                <a:spcPct val="90000"/>
              </a:lnSpc>
              <a:spcBef>
                <a:spcPct val="0"/>
              </a:spcBef>
              <a:spcAft>
                <a:spcPct val="0"/>
              </a:spcAft>
            </a:pPr>
            <a:fld id="{CC134829-4F59-4519-BB48-99A1041F1584}" type="datetime'''F''ea''''''''''''tu''''''re'''' ph''''''''''''''''o''''''ne'">
              <a:rPr lang="en-GB" sz="1100" b="1" noProof="0" smtClean="0">
                <a:solidFill>
                  <a:schemeClr val="tx1"/>
                </a:solidFill>
                <a:effectLst/>
              </a:rPr>
              <a:pPr>
                <a:lnSpc>
                  <a:spcPct val="90000"/>
                </a:lnSpc>
                <a:spcBef>
                  <a:spcPct val="0"/>
                </a:spcBef>
                <a:spcAft>
                  <a:spcPct val="0"/>
                </a:spcAft>
              </a:pPr>
              <a:t>Feature phone</a:t>
            </a:fld>
            <a:endParaRPr lang="en-GB" sz="1100" b="1" noProof="0">
              <a:solidFill>
                <a:schemeClr val="tx1"/>
              </a:solidFill>
            </a:endParaRPr>
          </a:p>
        </p:txBody>
      </p:sp>
      <p:sp>
        <p:nvSpPr>
          <p:cNvPr id="6181" name="Rectangle 6180">
            <a:extLst>
              <a:ext uri="{FF2B5EF4-FFF2-40B4-BE49-F238E27FC236}">
                <a16:creationId xmlns:a16="http://schemas.microsoft.com/office/drawing/2014/main" id="{2A653E88-60F0-DE26-A6FB-9EC3F118CAA3}"/>
              </a:ext>
            </a:extLst>
          </p:cNvPr>
          <p:cNvSpPr/>
          <p:nvPr>
            <p:custDataLst>
              <p:tags r:id="rId13"/>
            </p:custDataLst>
          </p:nvPr>
        </p:nvSpPr>
        <p:spPr bwMode="gray">
          <a:xfrm>
            <a:off x="823913" y="3306763"/>
            <a:ext cx="9017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t"/>
          <a:lstStyle/>
          <a:p>
            <a:pPr>
              <a:lnSpc>
                <a:spcPct val="90000"/>
              </a:lnSpc>
              <a:spcBef>
                <a:spcPct val="0"/>
              </a:spcBef>
              <a:spcAft>
                <a:spcPct val="0"/>
              </a:spcAft>
            </a:pPr>
            <a:fld id="{E6AD245D-B8DB-4B5A-B702-801521EE042D}" type="datetime'''''''''''''''''S''ma''r''t''''''''''''''''pho''''n''''e'''">
              <a:rPr lang="en-GB" sz="1200" b="1" noProof="0" smtClean="0">
                <a:solidFill>
                  <a:schemeClr val="tx1"/>
                </a:solidFill>
              </a:rPr>
              <a:pPr>
                <a:lnSpc>
                  <a:spcPct val="90000"/>
                </a:lnSpc>
                <a:spcBef>
                  <a:spcPct val="0"/>
                </a:spcBef>
                <a:spcAft>
                  <a:spcPct val="0"/>
                </a:spcAft>
              </a:pPr>
              <a:t>Smartphone</a:t>
            </a:fld>
            <a:endParaRPr lang="en-GB" sz="1200" b="1" noProof="0">
              <a:solidFill>
                <a:schemeClr val="tx1"/>
              </a:solidFill>
            </a:endParaRPr>
          </a:p>
        </p:txBody>
      </p:sp>
      <p:cxnSp>
        <p:nvCxnSpPr>
          <p:cNvPr id="6243" name="Straight Connector 6242">
            <a:extLst>
              <a:ext uri="{FF2B5EF4-FFF2-40B4-BE49-F238E27FC236}">
                <a16:creationId xmlns:a16="http://schemas.microsoft.com/office/drawing/2014/main" id="{723B3D9E-5D7B-EDF8-4C43-6F9E7C1A5FEF}"/>
              </a:ext>
            </a:extLst>
          </p:cNvPr>
          <p:cNvCxnSpPr>
            <a:cxnSpLocks/>
          </p:cNvCxnSpPr>
          <p:nvPr>
            <p:custDataLst>
              <p:tags r:id="rId14"/>
            </p:custDataLst>
          </p:nvPr>
        </p:nvCxnSpPr>
        <p:spPr>
          <a:xfrm>
            <a:off x="1795296" y="1909763"/>
            <a:ext cx="0" cy="3725861"/>
          </a:xfrm>
          <a:prstGeom prst="line">
            <a:avLst/>
          </a:prstGeom>
          <a:ln w="635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0" name="Picture 9">
            <a:extLst>
              <a:ext uri="{FF2B5EF4-FFF2-40B4-BE49-F238E27FC236}">
                <a16:creationId xmlns:a16="http://schemas.microsoft.com/office/drawing/2014/main" id="{C65AA52D-57E7-474F-F97E-A79962938351}"/>
              </a:ext>
            </a:extLst>
          </p:cNvPr>
          <p:cNvPicPr>
            <a:picLocks noChangeAspect="1"/>
          </p:cNvPicPr>
          <p:nvPr/>
        </p:nvPicPr>
        <p:blipFill>
          <a:blip r:embed="rId23"/>
          <a:srcRect l="11560" t="-8935" b="-1"/>
          <a:stretch>
            <a:fillRect/>
          </a:stretch>
        </p:blipFill>
        <p:spPr>
          <a:xfrm>
            <a:off x="2282633" y="5759107"/>
            <a:ext cx="6069858" cy="140726"/>
          </a:xfrm>
          <a:prstGeom prst="rect">
            <a:avLst/>
          </a:prstGeom>
        </p:spPr>
      </p:pic>
      <p:sp>
        <p:nvSpPr>
          <p:cNvPr id="2091" name="TextBox 2090">
            <a:extLst>
              <a:ext uri="{FF2B5EF4-FFF2-40B4-BE49-F238E27FC236}">
                <a16:creationId xmlns:a16="http://schemas.microsoft.com/office/drawing/2014/main" id="{A428E5B4-EE2E-E342-40A9-0BF7938D507F}"/>
              </a:ext>
            </a:extLst>
          </p:cNvPr>
          <p:cNvSpPr txBox="1"/>
          <p:nvPr>
            <p:custDataLst>
              <p:tags r:id="rId15"/>
            </p:custDataLst>
          </p:nvPr>
        </p:nvSpPr>
        <p:spPr>
          <a:xfrm>
            <a:off x="40250" y="4743063"/>
            <a:ext cx="779463" cy="276999"/>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Low</a:t>
            </a:r>
          </a:p>
        </p:txBody>
      </p:sp>
      <p:sp>
        <p:nvSpPr>
          <p:cNvPr id="2092" name="TextBox 2091">
            <a:extLst>
              <a:ext uri="{FF2B5EF4-FFF2-40B4-BE49-F238E27FC236}">
                <a16:creationId xmlns:a16="http://schemas.microsoft.com/office/drawing/2014/main" id="{301696A4-9528-2221-F844-45930B5E29AE}"/>
              </a:ext>
            </a:extLst>
          </p:cNvPr>
          <p:cNvSpPr txBox="1"/>
          <p:nvPr>
            <p:custDataLst>
              <p:tags r:id="rId16"/>
            </p:custDataLst>
          </p:nvPr>
        </p:nvSpPr>
        <p:spPr>
          <a:xfrm>
            <a:off x="40250" y="2441188"/>
            <a:ext cx="779463" cy="276999"/>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High</a:t>
            </a:r>
          </a:p>
        </p:txBody>
      </p:sp>
      <p:pic>
        <p:nvPicPr>
          <p:cNvPr id="3076" name="Picture 4" descr="Take A Bite Out of Apple | A Graphic World II">
            <a:extLst>
              <a:ext uri="{FF2B5EF4-FFF2-40B4-BE49-F238E27FC236}">
                <a16:creationId xmlns:a16="http://schemas.microsoft.com/office/drawing/2014/main" id="{862214B9-B2C0-5119-9E73-9D3F9179F469}"/>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8183763" y="2689315"/>
            <a:ext cx="422894" cy="509587"/>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Nokia (.EPS) vector logo - Nokia (.EPS) logo vector free download">
            <a:extLst>
              <a:ext uri="{FF2B5EF4-FFF2-40B4-BE49-F238E27FC236}">
                <a16:creationId xmlns:a16="http://schemas.microsoft.com/office/drawing/2014/main" id="{15ABD733-FB63-CB88-0F93-C96B0F84607D}"/>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t="36147" b="32792"/>
          <a:stretch>
            <a:fillRect/>
          </a:stretch>
        </p:blipFill>
        <p:spPr bwMode="auto">
          <a:xfrm>
            <a:off x="7323317" y="3879678"/>
            <a:ext cx="1257300" cy="390526"/>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HTC - Wikipedia">
            <a:extLst>
              <a:ext uri="{FF2B5EF4-FFF2-40B4-BE49-F238E27FC236}">
                <a16:creationId xmlns:a16="http://schemas.microsoft.com/office/drawing/2014/main" id="{03381D33-458C-99DA-0AD9-2C279463D254}"/>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7419474" y="4357516"/>
            <a:ext cx="688976" cy="229085"/>
          </a:xfrm>
          <a:prstGeom prst="rect">
            <a:avLst/>
          </a:prstGeom>
          <a:noFill/>
          <a:extLst>
            <a:ext uri="{909E8E84-426E-40DD-AFC4-6F175D3DCCD1}">
              <a14:hiddenFill xmlns:a14="http://schemas.microsoft.com/office/drawing/2010/main">
                <a:solidFill>
                  <a:srgbClr val="FFFFFF"/>
                </a:solidFill>
              </a14:hiddenFill>
            </a:ext>
          </a:extLst>
        </p:spPr>
      </p:pic>
      <p:sp>
        <p:nvSpPr>
          <p:cNvPr id="13" name="Arrow: Chevron 12">
            <a:extLst>
              <a:ext uri="{FF2B5EF4-FFF2-40B4-BE49-F238E27FC236}">
                <a16:creationId xmlns:a16="http://schemas.microsoft.com/office/drawing/2014/main" id="{B94D5206-1E30-95EE-3A60-BB9567F2E49A}"/>
              </a:ext>
            </a:extLst>
          </p:cNvPr>
          <p:cNvSpPr/>
          <p:nvPr/>
        </p:nvSpPr>
        <p:spPr>
          <a:xfrm>
            <a:off x="8108917"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15" name="Arrow: Chevron 14">
            <a:extLst>
              <a:ext uri="{FF2B5EF4-FFF2-40B4-BE49-F238E27FC236}">
                <a16:creationId xmlns:a16="http://schemas.microsoft.com/office/drawing/2014/main" id="{FA56001C-BBAC-CB8B-473C-6014BF339137}"/>
              </a:ext>
            </a:extLst>
          </p:cNvPr>
          <p:cNvSpPr/>
          <p:nvPr/>
        </p:nvSpPr>
        <p:spPr>
          <a:xfrm>
            <a:off x="9071675"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16" name="Arrow: Chevron 15">
            <a:extLst>
              <a:ext uri="{FF2B5EF4-FFF2-40B4-BE49-F238E27FC236}">
                <a16:creationId xmlns:a16="http://schemas.microsoft.com/office/drawing/2014/main" id="{BB19BFCE-E1EE-8205-2EBE-74DE721876EF}"/>
              </a:ext>
            </a:extLst>
          </p:cNvPr>
          <p:cNvSpPr/>
          <p:nvPr/>
        </p:nvSpPr>
        <p:spPr>
          <a:xfrm>
            <a:off x="10034433"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17" name="Arrow: Chevron 16">
            <a:extLst>
              <a:ext uri="{FF2B5EF4-FFF2-40B4-BE49-F238E27FC236}">
                <a16:creationId xmlns:a16="http://schemas.microsoft.com/office/drawing/2014/main" id="{47A6FAB6-7AC6-DAC4-7961-1BEFDCBCE297}"/>
              </a:ext>
            </a:extLst>
          </p:cNvPr>
          <p:cNvSpPr/>
          <p:nvPr/>
        </p:nvSpPr>
        <p:spPr>
          <a:xfrm>
            <a:off x="1099963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39517407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8FA108-FB98-4B39-E354-5E3077A3185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40BB512-6BF7-FA69-5202-55545939579F}"/>
              </a:ext>
            </a:extLst>
          </p:cNvPr>
          <p:cNvGraphicFramePr>
            <a:graphicFrameLocks noChangeAspect="1"/>
          </p:cNvGraphicFramePr>
          <p:nvPr>
            <p:custDataLst>
              <p:tags r:id="rId1"/>
            </p:custDataLst>
            <p:extLst>
              <p:ext uri="{D42A27DB-BD31-4B8C-83A1-F6EECF244321}">
                <p14:modId xmlns:p14="http://schemas.microsoft.com/office/powerpoint/2010/main" val="175452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440BB512-6BF7-FA69-5202-5554593957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B5D46A-1C30-6540-C173-62E936938489}"/>
              </a:ext>
            </a:extLst>
          </p:cNvPr>
          <p:cNvSpPr>
            <a:spLocks noGrp="1"/>
          </p:cNvSpPr>
          <p:nvPr>
            <p:ph type="title"/>
          </p:nvPr>
        </p:nvSpPr>
        <p:spPr>
          <a:xfrm>
            <a:off x="137786" y="125260"/>
            <a:ext cx="7888614" cy="806754"/>
          </a:xfrm>
        </p:spPr>
        <p:txBody>
          <a:bodyPr vert="horz"/>
          <a:lstStyle/>
          <a:p>
            <a:r>
              <a:rPr lang="en-GB" b="1" noProof="0"/>
              <a:t>Choice of Positioning Archetypes</a:t>
            </a:r>
          </a:p>
        </p:txBody>
      </p:sp>
      <p:sp>
        <p:nvSpPr>
          <p:cNvPr id="38" name="Rectangle 37">
            <a:extLst>
              <a:ext uri="{FF2B5EF4-FFF2-40B4-BE49-F238E27FC236}">
                <a16:creationId xmlns:a16="http://schemas.microsoft.com/office/drawing/2014/main" id="{B37F1E14-F036-FF8C-8EEF-472AF056CC58}"/>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endParaRPr lang="en-GB" sz="1200" noProof="0">
              <a:solidFill>
                <a:schemeClr val="tx1"/>
              </a:solidFill>
              <a:latin typeface="Avenir Next LT Pro" panose="020B0504020202020204" pitchFamily="34" charset="0"/>
            </a:endParaRPr>
          </a:p>
          <a:p>
            <a:pPr marL="285750" indent="-285750">
              <a:spcAft>
                <a:spcPts val="600"/>
              </a:spcAft>
              <a:buFont typeface="Arial" panose="020B0604020202020204" pitchFamily="34" charset="0"/>
              <a:buChar char="•"/>
            </a:pPr>
            <a:endParaRPr lang="en-GB" sz="1200" noProof="0">
              <a:solidFill>
                <a:schemeClr val="tx1"/>
              </a:solidFill>
              <a:latin typeface="Avenir Next LT Pro" panose="020B0504020202020204" pitchFamily="34" charset="0"/>
            </a:endParaRPr>
          </a:p>
          <a:p>
            <a:pPr marL="285750" indent="-285750">
              <a:spcAft>
                <a:spcPts val="600"/>
              </a:spcAft>
              <a:buFont typeface="Arial" panose="020B0604020202020204" pitchFamily="34" charset="0"/>
              <a:buChar char="•"/>
            </a:pPr>
            <a:endParaRPr lang="en-GB" sz="1200" noProof="0">
              <a:solidFill>
                <a:schemeClr val="tx1"/>
              </a:solidFill>
              <a:latin typeface="Avenir Next LT Pro" panose="020B0504020202020204" pitchFamily="34" charset="0"/>
            </a:endParaRP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The three generic positioning strategies are only a starting point; they don’t give enough detail to craft a truly distinctive way to win.</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Research shows there are 15 fundamental “Positioning Archetypes” that function like primary colours, letting leaders mix and match a small selection of them into a unique competitive palette.</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Enduring advantage comes not from any single archetype but from the specific combination—think Apple’s Innovator + Experience Provider + Premium Player + Platform—which rivals struggle to copy.</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Once chosen, this archetype mix becomes a strategic filter that aligns every decision—offerings, pricing, experiences, and investments—around a clear, differentiating identity.</a:t>
            </a:r>
          </a:p>
        </p:txBody>
      </p:sp>
      <p:grpSp>
        <p:nvGrpSpPr>
          <p:cNvPr id="55" name="Group 54">
            <a:extLst>
              <a:ext uri="{FF2B5EF4-FFF2-40B4-BE49-F238E27FC236}">
                <a16:creationId xmlns:a16="http://schemas.microsoft.com/office/drawing/2014/main" id="{D3401263-DA66-D19D-8330-AFD086EDF7C2}"/>
              </a:ext>
            </a:extLst>
          </p:cNvPr>
          <p:cNvGrpSpPr/>
          <p:nvPr/>
        </p:nvGrpSpPr>
        <p:grpSpPr>
          <a:xfrm>
            <a:off x="9436718" y="1108397"/>
            <a:ext cx="858460" cy="673769"/>
            <a:chOff x="368907" y="1700531"/>
            <a:chExt cx="4038920" cy="4275927"/>
          </a:xfrm>
          <a:effectLst/>
        </p:grpSpPr>
        <p:sp>
          <p:nvSpPr>
            <p:cNvPr id="57" name="Isosceles Triangle 62">
              <a:extLst>
                <a:ext uri="{FF2B5EF4-FFF2-40B4-BE49-F238E27FC236}">
                  <a16:creationId xmlns:a16="http://schemas.microsoft.com/office/drawing/2014/main" id="{B41D5362-D874-C2CB-7049-72722C20DA51}"/>
                </a:ext>
              </a:extLst>
            </p:cNvPr>
            <p:cNvSpPr/>
            <p:nvPr/>
          </p:nvSpPr>
          <p:spPr>
            <a:xfrm>
              <a:off x="1106945" y="2957333"/>
              <a:ext cx="2556494" cy="1456051"/>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481647" y="2614"/>
                  </a:lnTo>
                  <a:lnTo>
                    <a:pt x="1325344" y="0"/>
                  </a:lnTo>
                  <a:lnTo>
                    <a:pt x="1810264" y="968810"/>
                  </a:lnTo>
                  <a:lnTo>
                    <a:pt x="0" y="968810"/>
                  </a:lnTo>
                  <a:close/>
                </a:path>
              </a:pathLst>
            </a:cu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grpSp>
          <p:nvGrpSpPr>
            <p:cNvPr id="58" name="Group 57">
              <a:extLst>
                <a:ext uri="{FF2B5EF4-FFF2-40B4-BE49-F238E27FC236}">
                  <a16:creationId xmlns:a16="http://schemas.microsoft.com/office/drawing/2014/main" id="{47224E37-3AEA-EF57-9E65-FC1A9AFE329D}"/>
                </a:ext>
              </a:extLst>
            </p:cNvPr>
            <p:cNvGrpSpPr/>
            <p:nvPr/>
          </p:nvGrpSpPr>
          <p:grpSpPr>
            <a:xfrm>
              <a:off x="368907" y="2954958"/>
              <a:ext cx="4038920" cy="3021500"/>
              <a:chOff x="364847" y="3312617"/>
              <a:chExt cx="4038920" cy="3021500"/>
            </a:xfrm>
          </p:grpSpPr>
          <p:cxnSp>
            <p:nvCxnSpPr>
              <p:cNvPr id="59" name="Straight Connector 58">
                <a:extLst>
                  <a:ext uri="{FF2B5EF4-FFF2-40B4-BE49-F238E27FC236}">
                    <a16:creationId xmlns:a16="http://schemas.microsoft.com/office/drawing/2014/main" id="{016D0044-72C9-3735-DE15-6DDB113E4C64}"/>
                  </a:ext>
                </a:extLst>
              </p:cNvPr>
              <p:cNvCxnSpPr>
                <a:cxnSpLocks/>
              </p:cNvCxnSpPr>
              <p:nvPr/>
            </p:nvCxnSpPr>
            <p:spPr>
              <a:xfrm>
                <a:off x="1110997" y="4771043"/>
                <a:ext cx="254556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60" name="Isosceles Triangle 62">
                <a:extLst>
                  <a:ext uri="{FF2B5EF4-FFF2-40B4-BE49-F238E27FC236}">
                    <a16:creationId xmlns:a16="http://schemas.microsoft.com/office/drawing/2014/main" id="{E84F3A59-839B-10BE-A4A2-F2D069527B52}"/>
                  </a:ext>
                </a:extLst>
              </p:cNvPr>
              <p:cNvSpPr/>
              <p:nvPr/>
            </p:nvSpPr>
            <p:spPr>
              <a:xfrm>
                <a:off x="364847" y="4771043"/>
                <a:ext cx="4038920" cy="1562778"/>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476069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326400" y="396"/>
                    </a:lnTo>
                    <a:lnTo>
                      <a:pt x="1476069" y="0"/>
                    </a:lnTo>
                    <a:lnTo>
                      <a:pt x="1810264" y="968810"/>
                    </a:lnTo>
                    <a:lnTo>
                      <a:pt x="0" y="968810"/>
                    </a:lnTo>
                    <a:close/>
                  </a:path>
                </a:pathLst>
              </a:cu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cxnSp>
            <p:nvCxnSpPr>
              <p:cNvPr id="61" name="Straight Connector 60">
                <a:extLst>
                  <a:ext uri="{FF2B5EF4-FFF2-40B4-BE49-F238E27FC236}">
                    <a16:creationId xmlns:a16="http://schemas.microsoft.com/office/drawing/2014/main" id="{F02ED4E3-55B5-E971-E471-CBEFD209BC07}"/>
                  </a:ext>
                </a:extLst>
              </p:cNvPr>
              <p:cNvCxnSpPr>
                <a:cxnSpLocks/>
              </p:cNvCxnSpPr>
              <p:nvPr/>
            </p:nvCxnSpPr>
            <p:spPr>
              <a:xfrm flipH="1">
                <a:off x="1833796" y="3312617"/>
                <a:ext cx="287660" cy="148830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B6185E7-08E8-556D-D084-2A985D3CCD10}"/>
                  </a:ext>
                </a:extLst>
              </p:cNvPr>
              <p:cNvCxnSpPr>
                <a:cxnSpLocks/>
              </p:cNvCxnSpPr>
              <p:nvPr/>
            </p:nvCxnSpPr>
            <p:spPr>
              <a:xfrm>
                <a:off x="2562892" y="4771043"/>
                <a:ext cx="106051" cy="1562778"/>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7D7DABB-E945-B8BF-BC9D-0EDC0A3EA5E5}"/>
                  </a:ext>
                </a:extLst>
              </p:cNvPr>
              <p:cNvCxnSpPr>
                <a:cxnSpLocks/>
              </p:cNvCxnSpPr>
              <p:nvPr/>
            </p:nvCxnSpPr>
            <p:spPr>
              <a:xfrm flipH="1">
                <a:off x="2089604" y="4771042"/>
                <a:ext cx="76090" cy="156277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4" name="Straight Connector 6143">
                <a:extLst>
                  <a:ext uri="{FF2B5EF4-FFF2-40B4-BE49-F238E27FC236}">
                    <a16:creationId xmlns:a16="http://schemas.microsoft.com/office/drawing/2014/main" id="{1044D44F-1AAE-C717-D5F0-6E1EBA90ACDE}"/>
                  </a:ext>
                </a:extLst>
              </p:cNvPr>
              <p:cNvCxnSpPr>
                <a:cxnSpLocks/>
              </p:cNvCxnSpPr>
              <p:nvPr/>
            </p:nvCxnSpPr>
            <p:spPr>
              <a:xfrm flipH="1">
                <a:off x="957027" y="4771042"/>
                <a:ext cx="526604" cy="156277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5" name="Straight Connector 6144">
                <a:extLst>
                  <a:ext uri="{FF2B5EF4-FFF2-40B4-BE49-F238E27FC236}">
                    <a16:creationId xmlns:a16="http://schemas.microsoft.com/office/drawing/2014/main" id="{6372E28E-1D93-FC47-E5A4-B7C4AF8DD239}"/>
                  </a:ext>
                </a:extLst>
              </p:cNvPr>
              <p:cNvCxnSpPr>
                <a:cxnSpLocks/>
              </p:cNvCxnSpPr>
              <p:nvPr/>
            </p:nvCxnSpPr>
            <p:spPr>
              <a:xfrm>
                <a:off x="2706590" y="3312617"/>
                <a:ext cx="267090" cy="145942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6" name="Straight Connector 6145">
                <a:extLst>
                  <a:ext uri="{FF2B5EF4-FFF2-40B4-BE49-F238E27FC236}">
                    <a16:creationId xmlns:a16="http://schemas.microsoft.com/office/drawing/2014/main" id="{EE117C22-0FE6-73C7-C526-9AF53F85F03F}"/>
                  </a:ext>
                </a:extLst>
              </p:cNvPr>
              <p:cNvCxnSpPr>
                <a:cxnSpLocks/>
              </p:cNvCxnSpPr>
              <p:nvPr/>
            </p:nvCxnSpPr>
            <p:spPr>
              <a:xfrm>
                <a:off x="3336756" y="4771043"/>
                <a:ext cx="506582" cy="1563074"/>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7" name="Straight Connector 6146">
                <a:extLst>
                  <a:ext uri="{FF2B5EF4-FFF2-40B4-BE49-F238E27FC236}">
                    <a16:creationId xmlns:a16="http://schemas.microsoft.com/office/drawing/2014/main" id="{E89F57FE-C0E2-3F3C-8DBE-CF927A34D1FB}"/>
                  </a:ext>
                </a:extLst>
              </p:cNvPr>
              <p:cNvCxnSpPr>
                <a:cxnSpLocks/>
              </p:cNvCxnSpPr>
              <p:nvPr/>
            </p:nvCxnSpPr>
            <p:spPr>
              <a:xfrm flipH="1">
                <a:off x="1539549" y="4772039"/>
                <a:ext cx="300668" cy="156178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8" name="Straight Connector 6147">
                <a:extLst>
                  <a:ext uri="{FF2B5EF4-FFF2-40B4-BE49-F238E27FC236}">
                    <a16:creationId xmlns:a16="http://schemas.microsoft.com/office/drawing/2014/main" id="{BBEB32E1-3F16-D43B-37F6-1E6D3AAE83D6}"/>
                  </a:ext>
                </a:extLst>
              </p:cNvPr>
              <p:cNvCxnSpPr>
                <a:cxnSpLocks/>
              </p:cNvCxnSpPr>
              <p:nvPr/>
            </p:nvCxnSpPr>
            <p:spPr>
              <a:xfrm>
                <a:off x="2973680" y="4778378"/>
                <a:ext cx="284662" cy="155544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50" name="Straight Connector 6149">
                <a:extLst>
                  <a:ext uri="{FF2B5EF4-FFF2-40B4-BE49-F238E27FC236}">
                    <a16:creationId xmlns:a16="http://schemas.microsoft.com/office/drawing/2014/main" id="{D6F23168-B1AF-DCBD-9BBA-B563F055C950}"/>
                  </a:ext>
                </a:extLst>
              </p:cNvPr>
              <p:cNvCxnSpPr>
                <a:cxnSpLocks/>
                <a:stCxn id="60" idx="1"/>
                <a:endCxn id="57" idx="3"/>
              </p:cNvCxnSpPr>
              <p:nvPr/>
            </p:nvCxnSpPr>
            <p:spPr>
              <a:xfrm flipV="1">
                <a:off x="1093085" y="4771043"/>
                <a:ext cx="2566294" cy="6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6" name="Isosceles Triangle 55">
              <a:extLst>
                <a:ext uri="{FF2B5EF4-FFF2-40B4-BE49-F238E27FC236}">
                  <a16:creationId xmlns:a16="http://schemas.microsoft.com/office/drawing/2014/main" id="{E2E52F98-25E0-53E5-5315-4DE119A620D0}"/>
                </a:ext>
              </a:extLst>
            </p:cNvPr>
            <p:cNvSpPr/>
            <p:nvPr/>
          </p:nvSpPr>
          <p:spPr>
            <a:xfrm>
              <a:off x="1792513" y="1700531"/>
              <a:ext cx="1191709" cy="1248079"/>
            </a:xfrm>
            <a:prstGeom prst="triangle">
              <a:avLst>
                <a:gd name="adj" fmla="val 49710"/>
              </a:avLst>
            </a:prstGeom>
            <a:solidFill>
              <a:srgbClr val="FFE4CD"/>
            </a:solidFill>
            <a:ln w="9525">
              <a:solidFill>
                <a:srgbClr val="FF834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grpSp>
      <p:graphicFrame>
        <p:nvGraphicFramePr>
          <p:cNvPr id="3" name="Table 2">
            <a:extLst>
              <a:ext uri="{FF2B5EF4-FFF2-40B4-BE49-F238E27FC236}">
                <a16:creationId xmlns:a16="http://schemas.microsoft.com/office/drawing/2014/main" id="{8D5BF3F3-988A-E588-84E3-69C3B69E76A1}"/>
              </a:ext>
            </a:extLst>
          </p:cNvPr>
          <p:cNvGraphicFramePr>
            <a:graphicFrameLocks noGrp="1"/>
          </p:cNvGraphicFramePr>
          <p:nvPr>
            <p:extLst>
              <p:ext uri="{D42A27DB-BD31-4B8C-83A1-F6EECF244321}">
                <p14:modId xmlns:p14="http://schemas.microsoft.com/office/powerpoint/2010/main" val="1543845061"/>
              </p:ext>
            </p:extLst>
          </p:nvPr>
        </p:nvGraphicFramePr>
        <p:xfrm>
          <a:off x="284418" y="1080674"/>
          <a:ext cx="8926923" cy="5730240"/>
        </p:xfrm>
        <a:graphic>
          <a:graphicData uri="http://schemas.openxmlformats.org/drawingml/2006/table">
            <a:tbl>
              <a:tblPr firstRow="1" firstCol="1" bandRow="1">
                <a:tableStyleId>{B301B821-A1FF-4177-AEE7-76D212191A09}</a:tableStyleId>
              </a:tblPr>
              <a:tblGrid>
                <a:gridCol w="1305818">
                  <a:extLst>
                    <a:ext uri="{9D8B030D-6E8A-4147-A177-3AD203B41FA5}">
                      <a16:colId xmlns:a16="http://schemas.microsoft.com/office/drawing/2014/main" val="2328884543"/>
                    </a:ext>
                  </a:extLst>
                </a:gridCol>
                <a:gridCol w="4204607">
                  <a:extLst>
                    <a:ext uri="{9D8B030D-6E8A-4147-A177-3AD203B41FA5}">
                      <a16:colId xmlns:a16="http://schemas.microsoft.com/office/drawing/2014/main" val="2533140568"/>
                    </a:ext>
                  </a:extLst>
                </a:gridCol>
                <a:gridCol w="3416498">
                  <a:extLst>
                    <a:ext uri="{9D8B030D-6E8A-4147-A177-3AD203B41FA5}">
                      <a16:colId xmlns:a16="http://schemas.microsoft.com/office/drawing/2014/main" val="1403063322"/>
                    </a:ext>
                  </a:extLst>
                </a:gridCol>
              </a:tblGrid>
              <a:tr h="194270">
                <a:tc>
                  <a:txBody>
                    <a:bodyPr/>
                    <a:lstStyle/>
                    <a:p>
                      <a:pPr rtl="0"/>
                      <a:r>
                        <a:rPr lang="en-GB" sz="1000" noProof="0"/>
                        <a:t>Archetype</a:t>
                      </a:r>
                      <a:endParaRPr lang="en-GB" sz="1000" noProof="0">
                        <a:latin typeface="Aptos Narrow" panose="020B0004020202020204" pitchFamily="34" charset="0"/>
                      </a:endParaRPr>
                    </a:p>
                  </a:txBody>
                  <a:tcPr anchor="ctr"/>
                </a:tc>
                <a:tc>
                  <a:txBody>
                    <a:bodyPr/>
                    <a:lstStyle/>
                    <a:p>
                      <a:pPr rtl="0"/>
                      <a:r>
                        <a:rPr lang="en-GB" sz="1000" noProof="0"/>
                        <a:t>Description</a:t>
                      </a:r>
                      <a:endParaRPr lang="en-GB" sz="1000" noProof="0">
                        <a:latin typeface="Aptos Narrow" panose="020B0004020202020204" pitchFamily="34" charset="0"/>
                      </a:endParaRPr>
                    </a:p>
                  </a:txBody>
                  <a:tcPr anchor="ctr"/>
                </a:tc>
                <a:tc>
                  <a:txBody>
                    <a:bodyPr/>
                    <a:lstStyle/>
                    <a:p>
                      <a:pPr rtl="0"/>
                      <a:r>
                        <a:rPr lang="en-GB" sz="1000" noProof="0"/>
                        <a:t>Examples</a:t>
                      </a:r>
                      <a:endParaRPr lang="en-GB" sz="1000" noProof="0">
                        <a:latin typeface="Aptos Narrow" panose="020B0004020202020204" pitchFamily="34" charset="0"/>
                      </a:endParaRPr>
                    </a:p>
                  </a:txBody>
                  <a:tcPr anchor="ctr"/>
                </a:tc>
                <a:extLst>
                  <a:ext uri="{0D108BD9-81ED-4DB2-BD59-A6C34878D82A}">
                    <a16:rowId xmlns:a16="http://schemas.microsoft.com/office/drawing/2014/main" val="203329321"/>
                  </a:ext>
                </a:extLst>
              </a:tr>
              <a:tr h="315689">
                <a:tc>
                  <a:txBody>
                    <a:bodyPr/>
                    <a:lstStyle/>
                    <a:p>
                      <a:pPr rtl="0"/>
                      <a:r>
                        <a:rPr lang="en-GB" sz="900" b="1" noProof="0"/>
                        <a:t>Aggregator</a:t>
                      </a:r>
                      <a:endParaRPr lang="en-GB" sz="900" noProof="0">
                        <a:latin typeface="Aptos Narrow" panose="020B0004020202020204" pitchFamily="34" charset="0"/>
                      </a:endParaRPr>
                    </a:p>
                  </a:txBody>
                  <a:tcPr anchor="ctr"/>
                </a:tc>
                <a:tc>
                  <a:txBody>
                    <a:bodyPr/>
                    <a:lstStyle/>
                    <a:p>
                      <a:pPr rtl="0"/>
                      <a:r>
                        <a:rPr lang="en-GB" sz="900" noProof="0"/>
                        <a:t>Provides the convenience of one-stop solutions by bringing together multiple suppliers or sources under a common experience.</a:t>
                      </a:r>
                      <a:endParaRPr lang="en-GB" sz="900" noProof="0">
                        <a:latin typeface="Aptos Narrow" panose="020B0004020202020204" pitchFamily="34" charset="0"/>
                      </a:endParaRPr>
                    </a:p>
                  </a:txBody>
                  <a:tcPr anchor="ctr"/>
                </a:tc>
                <a:tc>
                  <a:txBody>
                    <a:bodyPr/>
                    <a:lstStyle/>
                    <a:p>
                      <a:pPr rtl="0"/>
                      <a:r>
                        <a:rPr lang="en-GB" sz="900" noProof="0"/>
                        <a:t>eBay (diverse marketplace), Grainger (industrial supplies)</a:t>
                      </a:r>
                      <a:endParaRPr lang="en-GB" sz="900" noProof="0">
                        <a:latin typeface="Aptos Narrow" panose="020B0004020202020204" pitchFamily="34" charset="0"/>
                      </a:endParaRPr>
                    </a:p>
                  </a:txBody>
                  <a:tcPr anchor="ctr"/>
                </a:tc>
                <a:extLst>
                  <a:ext uri="{0D108BD9-81ED-4DB2-BD59-A6C34878D82A}">
                    <a16:rowId xmlns:a16="http://schemas.microsoft.com/office/drawing/2014/main" val="429362170"/>
                  </a:ext>
                </a:extLst>
              </a:tr>
              <a:tr h="315689">
                <a:tc>
                  <a:txBody>
                    <a:bodyPr/>
                    <a:lstStyle/>
                    <a:p>
                      <a:pPr rtl="0"/>
                      <a:r>
                        <a:rPr lang="en-GB" sz="900" b="1" noProof="0"/>
                        <a:t>Category Leader</a:t>
                      </a:r>
                      <a:endParaRPr lang="en-GB" sz="900" noProof="0">
                        <a:latin typeface="Aptos Narrow" panose="020B0004020202020204" pitchFamily="34" charset="0"/>
                      </a:endParaRPr>
                    </a:p>
                  </a:txBody>
                  <a:tcPr anchor="ctr"/>
                </a:tc>
                <a:tc>
                  <a:txBody>
                    <a:bodyPr/>
                    <a:lstStyle/>
                    <a:p>
                      <a:pPr rtl="0"/>
                      <a:r>
                        <a:rPr lang="en-GB" sz="900" noProof="0"/>
                        <a:t>Maintains top market share in a category and uses that position to shape downstream channels and upstream supply markets.</a:t>
                      </a:r>
                      <a:endParaRPr lang="en-GB" sz="900" noProof="0">
                        <a:latin typeface="Aptos Narrow" panose="020B0004020202020204" pitchFamily="34" charset="0"/>
                      </a:endParaRPr>
                    </a:p>
                  </a:txBody>
                  <a:tcPr anchor="ctr"/>
                </a:tc>
                <a:tc>
                  <a:txBody>
                    <a:bodyPr/>
                    <a:lstStyle/>
                    <a:p>
                      <a:pPr rtl="0"/>
                      <a:r>
                        <a:rPr lang="en-GB" sz="900" noProof="0"/>
                        <a:t>Coca-Cola (beverages), Intel (processors), Microsoft (operating systems)</a:t>
                      </a:r>
                      <a:endParaRPr lang="en-GB" sz="900" noProof="0">
                        <a:latin typeface="Aptos Narrow" panose="020B0004020202020204" pitchFamily="34" charset="0"/>
                      </a:endParaRPr>
                    </a:p>
                  </a:txBody>
                  <a:tcPr anchor="ctr"/>
                </a:tc>
                <a:extLst>
                  <a:ext uri="{0D108BD9-81ED-4DB2-BD59-A6C34878D82A}">
                    <a16:rowId xmlns:a16="http://schemas.microsoft.com/office/drawing/2014/main" val="626982972"/>
                  </a:ext>
                </a:extLst>
              </a:tr>
              <a:tr h="315689">
                <a:tc>
                  <a:txBody>
                    <a:bodyPr/>
                    <a:lstStyle/>
                    <a:p>
                      <a:pPr rtl="0"/>
                      <a:r>
                        <a:rPr lang="en-GB" sz="900" b="1" noProof="0"/>
                        <a:t>Consolidator</a:t>
                      </a:r>
                      <a:endParaRPr lang="en-GB" sz="900" noProof="0">
                        <a:latin typeface="Aptos Narrow" panose="020B0004020202020204" pitchFamily="34" charset="0"/>
                      </a:endParaRPr>
                    </a:p>
                  </a:txBody>
                  <a:tcPr anchor="ctr"/>
                </a:tc>
                <a:tc>
                  <a:txBody>
                    <a:bodyPr/>
                    <a:lstStyle/>
                    <a:p>
                      <a:pPr rtl="0"/>
                      <a:r>
                        <a:rPr lang="en-GB" sz="900" noProof="0"/>
                        <a:t>Dominates an industry through acquisitions to provide value benefits or platform access that smaller companies cannot offer.</a:t>
                      </a:r>
                      <a:endParaRPr lang="en-GB" sz="900" noProof="0">
                        <a:latin typeface="Aptos Narrow" panose="020B0004020202020204" pitchFamily="34" charset="0"/>
                      </a:endParaRPr>
                    </a:p>
                  </a:txBody>
                  <a:tcPr anchor="ctr"/>
                </a:tc>
                <a:tc>
                  <a:txBody>
                    <a:bodyPr/>
                    <a:lstStyle/>
                    <a:p>
                      <a:pPr rtl="0"/>
                      <a:r>
                        <a:rPr lang="en-GB" sz="900" noProof="0"/>
                        <a:t>Cisco Systems (networking), GE (industrial conglomerates)</a:t>
                      </a:r>
                      <a:endParaRPr lang="en-GB" sz="900" noProof="0">
                        <a:latin typeface="Aptos Narrow" panose="020B0004020202020204" pitchFamily="34" charset="0"/>
                      </a:endParaRPr>
                    </a:p>
                  </a:txBody>
                  <a:tcPr anchor="ctr"/>
                </a:tc>
                <a:extLst>
                  <a:ext uri="{0D108BD9-81ED-4DB2-BD59-A6C34878D82A}">
                    <a16:rowId xmlns:a16="http://schemas.microsoft.com/office/drawing/2014/main" val="2585143103"/>
                  </a:ext>
                </a:extLst>
              </a:tr>
              <a:tr h="315689">
                <a:tc>
                  <a:txBody>
                    <a:bodyPr/>
                    <a:lstStyle/>
                    <a:p>
                      <a:pPr rtl="0"/>
                      <a:r>
                        <a:rPr lang="en-GB" sz="900" b="1" noProof="0" err="1"/>
                        <a:t>Customiser</a:t>
                      </a:r>
                      <a:endParaRPr lang="en-GB" sz="900" noProof="0">
                        <a:latin typeface="Aptos Narrow" panose="020B0004020202020204" pitchFamily="34" charset="0"/>
                      </a:endParaRPr>
                    </a:p>
                  </a:txBody>
                  <a:tcPr anchor="ctr"/>
                </a:tc>
                <a:tc>
                  <a:txBody>
                    <a:bodyPr/>
                    <a:lstStyle/>
                    <a:p>
                      <a:pPr rtl="0"/>
                      <a:r>
                        <a:rPr lang="en-GB" sz="900" noProof="0"/>
                        <a:t>Leverages market intelligence to offer tailored products or services for specific customer needs.</a:t>
                      </a:r>
                      <a:endParaRPr lang="en-GB" sz="900" noProof="0">
                        <a:latin typeface="Aptos Narrow" panose="020B0004020202020204" pitchFamily="34" charset="0"/>
                      </a:endParaRPr>
                    </a:p>
                  </a:txBody>
                  <a:tcPr anchor="ctr"/>
                </a:tc>
                <a:tc>
                  <a:txBody>
                    <a:bodyPr/>
                    <a:lstStyle/>
                    <a:p>
                      <a:pPr rtl="0"/>
                      <a:r>
                        <a:rPr lang="en-GB" sz="900" noProof="0"/>
                        <a:t>Dell (custom computers), Burger King (“have it your way”), Priceline (customised travel)</a:t>
                      </a:r>
                      <a:endParaRPr lang="en-GB" sz="900" noProof="0">
                        <a:latin typeface="Aptos Narrow" panose="020B0004020202020204" pitchFamily="34" charset="0"/>
                      </a:endParaRPr>
                    </a:p>
                  </a:txBody>
                  <a:tcPr anchor="ctr"/>
                </a:tc>
                <a:extLst>
                  <a:ext uri="{0D108BD9-81ED-4DB2-BD59-A6C34878D82A}">
                    <a16:rowId xmlns:a16="http://schemas.microsoft.com/office/drawing/2014/main" val="1174196204"/>
                  </a:ext>
                </a:extLst>
              </a:tr>
              <a:tr h="315689">
                <a:tc>
                  <a:txBody>
                    <a:bodyPr/>
                    <a:lstStyle/>
                    <a:p>
                      <a:pPr rtl="0"/>
                      <a:r>
                        <a:rPr lang="en-GB" sz="900" b="1" noProof="0" err="1"/>
                        <a:t>Disintermediator</a:t>
                      </a:r>
                      <a:endParaRPr lang="en-GB" sz="900" noProof="0">
                        <a:latin typeface="Aptos Narrow" panose="020B0004020202020204" pitchFamily="34" charset="0"/>
                      </a:endParaRPr>
                    </a:p>
                  </a:txBody>
                  <a:tcPr anchor="ctr"/>
                </a:tc>
                <a:tc>
                  <a:txBody>
                    <a:bodyPr/>
                    <a:lstStyle/>
                    <a:p>
                      <a:pPr rtl="0"/>
                      <a:r>
                        <a:rPr lang="en-GB" sz="900" noProof="0"/>
                        <a:t>Helps customers bypass expensive distribution channels by providing direct access to otherwise inaccessible services and products.</a:t>
                      </a:r>
                      <a:endParaRPr lang="en-GB" sz="900" noProof="0">
                        <a:latin typeface="Aptos Narrow" panose="020B0004020202020204" pitchFamily="34" charset="0"/>
                      </a:endParaRPr>
                    </a:p>
                  </a:txBody>
                  <a:tcPr anchor="ctr"/>
                </a:tc>
                <a:tc>
                  <a:txBody>
                    <a:bodyPr/>
                    <a:lstStyle/>
                    <a:p>
                      <a:pPr rtl="0"/>
                      <a:r>
                        <a:rPr lang="en-GB" sz="900" noProof="0"/>
                        <a:t>Third-party logistics firms (3PLs), direct-to-consumer brands</a:t>
                      </a:r>
                      <a:endParaRPr lang="en-GB" sz="900" noProof="0">
                        <a:latin typeface="Aptos Narrow" panose="020B0004020202020204" pitchFamily="34" charset="0"/>
                      </a:endParaRPr>
                    </a:p>
                  </a:txBody>
                  <a:tcPr anchor="ctr"/>
                </a:tc>
                <a:extLst>
                  <a:ext uri="{0D108BD9-81ED-4DB2-BD59-A6C34878D82A}">
                    <a16:rowId xmlns:a16="http://schemas.microsoft.com/office/drawing/2014/main" val="139431241"/>
                  </a:ext>
                </a:extLst>
              </a:tr>
              <a:tr h="315689">
                <a:tc>
                  <a:txBody>
                    <a:bodyPr/>
                    <a:lstStyle/>
                    <a:p>
                      <a:pPr rtl="0"/>
                      <a:r>
                        <a:rPr lang="en-GB" sz="900" b="1" noProof="0"/>
                        <a:t>Experience Provider</a:t>
                      </a:r>
                      <a:endParaRPr lang="en-GB" sz="900" noProof="0">
                        <a:latin typeface="Aptos Narrow" panose="020B0004020202020204" pitchFamily="34" charset="0"/>
                      </a:endParaRPr>
                    </a:p>
                  </a:txBody>
                  <a:tcPr anchor="ctr"/>
                </a:tc>
                <a:tc>
                  <a:txBody>
                    <a:bodyPr/>
                    <a:lstStyle/>
                    <a:p>
                      <a:pPr rtl="0"/>
                      <a:r>
                        <a:rPr lang="en-GB" sz="900" noProof="0"/>
                        <a:t>Builds emotional attachment through memorable experiences, strong brands, and customer engagement.</a:t>
                      </a:r>
                      <a:endParaRPr lang="en-GB" sz="900" noProof="0">
                        <a:latin typeface="Aptos Narrow" panose="020B0004020202020204" pitchFamily="34" charset="0"/>
                      </a:endParaRPr>
                    </a:p>
                  </a:txBody>
                  <a:tcPr anchor="ctr"/>
                </a:tc>
                <a:tc>
                  <a:txBody>
                    <a:bodyPr/>
                    <a:lstStyle/>
                    <a:p>
                      <a:pPr rtl="0"/>
                      <a:r>
                        <a:rPr lang="en-GB" sz="900" noProof="0"/>
                        <a:t>Starbucks (coffee experience), Apple (user experience), Virgin Airlines (flying experience)</a:t>
                      </a:r>
                      <a:endParaRPr lang="en-GB" sz="900" noProof="0">
                        <a:latin typeface="Aptos Narrow" panose="020B0004020202020204" pitchFamily="34" charset="0"/>
                      </a:endParaRPr>
                    </a:p>
                  </a:txBody>
                  <a:tcPr anchor="ctr"/>
                </a:tc>
                <a:extLst>
                  <a:ext uri="{0D108BD9-81ED-4DB2-BD59-A6C34878D82A}">
                    <a16:rowId xmlns:a16="http://schemas.microsoft.com/office/drawing/2014/main" val="3730458774"/>
                  </a:ext>
                </a:extLst>
              </a:tr>
              <a:tr h="315689">
                <a:tc>
                  <a:txBody>
                    <a:bodyPr/>
                    <a:lstStyle/>
                    <a:p>
                      <a:pPr rtl="0"/>
                      <a:r>
                        <a:rPr lang="en-GB" sz="900" b="1" noProof="0"/>
                        <a:t>Fast Follower</a:t>
                      </a:r>
                      <a:endParaRPr lang="en-GB" sz="900" noProof="0">
                        <a:latin typeface="Aptos Narrow" panose="020B0004020202020204" pitchFamily="34" charset="0"/>
                      </a:endParaRPr>
                    </a:p>
                  </a:txBody>
                  <a:tcPr anchor="ctr"/>
                </a:tc>
                <a:tc>
                  <a:txBody>
                    <a:bodyPr/>
                    <a:lstStyle/>
                    <a:p>
                      <a:pPr rtl="0"/>
                      <a:r>
                        <a:rPr lang="en-GB" sz="900" noProof="0"/>
                        <a:t>Leverages foundations laid by innovators to quickly introduce competing offerings at greater value or broader reach.</a:t>
                      </a:r>
                      <a:endParaRPr lang="en-GB" sz="900" noProof="0">
                        <a:latin typeface="Aptos Narrow" panose="020B0004020202020204" pitchFamily="34" charset="0"/>
                      </a:endParaRPr>
                    </a:p>
                  </a:txBody>
                  <a:tcPr anchor="ctr"/>
                </a:tc>
                <a:tc>
                  <a:txBody>
                    <a:bodyPr/>
                    <a:lstStyle/>
                    <a:p>
                      <a:pPr rtl="0"/>
                      <a:r>
                        <a:rPr lang="en-GB" sz="900" noProof="0"/>
                        <a:t>Hyundai (automotive features), various Chinese manufacturers</a:t>
                      </a:r>
                      <a:endParaRPr lang="en-GB" sz="900" noProof="0">
                        <a:latin typeface="Aptos Narrow" panose="020B0004020202020204" pitchFamily="34" charset="0"/>
                      </a:endParaRPr>
                    </a:p>
                  </a:txBody>
                  <a:tcPr anchor="ctr"/>
                </a:tc>
                <a:extLst>
                  <a:ext uri="{0D108BD9-81ED-4DB2-BD59-A6C34878D82A}">
                    <a16:rowId xmlns:a16="http://schemas.microsoft.com/office/drawing/2014/main" val="2566846496"/>
                  </a:ext>
                </a:extLst>
              </a:tr>
              <a:tr h="315689">
                <a:tc>
                  <a:txBody>
                    <a:bodyPr/>
                    <a:lstStyle/>
                    <a:p>
                      <a:pPr rtl="0"/>
                      <a:r>
                        <a:rPr lang="en-GB" sz="900" b="1" noProof="0"/>
                        <a:t>Innovator</a:t>
                      </a:r>
                      <a:endParaRPr lang="en-GB" sz="900" noProof="0">
                        <a:latin typeface="Aptos Narrow" panose="020B0004020202020204" pitchFamily="34" charset="0"/>
                      </a:endParaRPr>
                    </a:p>
                  </a:txBody>
                  <a:tcPr anchor="ctr"/>
                </a:tc>
                <a:tc>
                  <a:txBody>
                    <a:bodyPr/>
                    <a:lstStyle/>
                    <a:p>
                      <a:pPr rtl="0"/>
                      <a:r>
                        <a:rPr lang="en-GB" sz="900" noProof="0"/>
                        <a:t>Introduces new and creative products or services through ongoing innovative capabilities.</a:t>
                      </a:r>
                      <a:endParaRPr lang="en-GB" sz="900" noProof="0">
                        <a:latin typeface="Aptos Narrow" panose="020B0004020202020204" pitchFamily="34" charset="0"/>
                      </a:endParaRPr>
                    </a:p>
                  </a:txBody>
                  <a:tcPr anchor="ctr"/>
                </a:tc>
                <a:tc>
                  <a:txBody>
                    <a:bodyPr/>
                    <a:lstStyle/>
                    <a:p>
                      <a:pPr rtl="0"/>
                      <a:r>
                        <a:rPr lang="en-GB" sz="900" noProof="0"/>
                        <a:t>Apple (technology innovation), 3M (materials innovation), Procter &amp; Gamble (consumer products)</a:t>
                      </a:r>
                      <a:endParaRPr lang="en-GB" sz="900" noProof="0">
                        <a:latin typeface="Aptos Narrow" panose="020B0004020202020204" pitchFamily="34" charset="0"/>
                      </a:endParaRPr>
                    </a:p>
                  </a:txBody>
                  <a:tcPr anchor="ctr"/>
                </a:tc>
                <a:extLst>
                  <a:ext uri="{0D108BD9-81ED-4DB2-BD59-A6C34878D82A}">
                    <a16:rowId xmlns:a16="http://schemas.microsoft.com/office/drawing/2014/main" val="1691087782"/>
                  </a:ext>
                </a:extLst>
              </a:tr>
              <a:tr h="315689">
                <a:tc>
                  <a:txBody>
                    <a:bodyPr/>
                    <a:lstStyle/>
                    <a:p>
                      <a:pPr rtl="0"/>
                      <a:r>
                        <a:rPr lang="en-GB" sz="900" b="1" noProof="0"/>
                        <a:t>Platform Provider</a:t>
                      </a:r>
                      <a:endParaRPr lang="en-GB" sz="900" noProof="0">
                        <a:latin typeface="Aptos Narrow" panose="020B0004020202020204" pitchFamily="34" charset="0"/>
                      </a:endParaRPr>
                    </a:p>
                  </a:txBody>
                  <a:tcPr anchor="ctr"/>
                </a:tc>
                <a:tc>
                  <a:txBody>
                    <a:bodyPr/>
                    <a:lstStyle/>
                    <a:p>
                      <a:pPr rtl="0"/>
                      <a:r>
                        <a:rPr lang="en-GB" sz="900" noProof="0"/>
                        <a:t>Operates shared resources or infrastructure that others can access through doing business with them.</a:t>
                      </a:r>
                      <a:endParaRPr lang="en-GB" sz="900" noProof="0">
                        <a:latin typeface="Aptos Narrow" panose="020B0004020202020204" pitchFamily="34" charset="0"/>
                      </a:endParaRPr>
                    </a:p>
                  </a:txBody>
                  <a:tcPr anchor="ctr"/>
                </a:tc>
                <a:tc>
                  <a:txBody>
                    <a:bodyPr/>
                    <a:lstStyle/>
                    <a:p>
                      <a:pPr rtl="0"/>
                      <a:r>
                        <a:rPr lang="en-GB" sz="900" noProof="0"/>
                        <a:t>New York Stock Exchange (trading platform), FedEx (logistics platform), AWS (cloud platform)</a:t>
                      </a:r>
                      <a:endParaRPr lang="en-GB" sz="900" noProof="0">
                        <a:latin typeface="Aptos Narrow" panose="020B0004020202020204" pitchFamily="34" charset="0"/>
                      </a:endParaRPr>
                    </a:p>
                  </a:txBody>
                  <a:tcPr anchor="ctr"/>
                </a:tc>
                <a:extLst>
                  <a:ext uri="{0D108BD9-81ED-4DB2-BD59-A6C34878D82A}">
                    <a16:rowId xmlns:a16="http://schemas.microsoft.com/office/drawing/2014/main" val="857604290"/>
                  </a:ext>
                </a:extLst>
              </a:tr>
              <a:tr h="315689">
                <a:tc>
                  <a:txBody>
                    <a:bodyPr/>
                    <a:lstStyle/>
                    <a:p>
                      <a:pPr rtl="0"/>
                      <a:r>
                        <a:rPr lang="en-GB" sz="900" b="1" noProof="0"/>
                        <a:t>Premium Player</a:t>
                      </a:r>
                      <a:endParaRPr lang="en-GB" sz="900" noProof="0">
                        <a:latin typeface="Aptos Narrow" panose="020B0004020202020204" pitchFamily="34" charset="0"/>
                      </a:endParaRPr>
                    </a:p>
                  </a:txBody>
                  <a:tcPr anchor="ctr"/>
                </a:tc>
                <a:tc>
                  <a:txBody>
                    <a:bodyPr/>
                    <a:lstStyle/>
                    <a:p>
                      <a:pPr rtl="0"/>
                      <a:r>
                        <a:rPr lang="en-GB" sz="900" noProof="0"/>
                        <a:t>Offers high-end products or services where customers pay for both status and perceived superior value.</a:t>
                      </a:r>
                      <a:endParaRPr lang="en-GB" sz="900" noProof="0">
                        <a:latin typeface="Aptos Narrow" panose="020B0004020202020204" pitchFamily="34" charset="0"/>
                      </a:endParaRPr>
                    </a:p>
                  </a:txBody>
                  <a:tcPr anchor="ctr"/>
                </a:tc>
                <a:tc>
                  <a:txBody>
                    <a:bodyPr/>
                    <a:lstStyle/>
                    <a:p>
                      <a:pPr rtl="0"/>
                      <a:r>
                        <a:rPr lang="en-GB" sz="900" noProof="0"/>
                        <a:t>BMW (performance), Nordstrom (service), Herman Miller (design)</a:t>
                      </a:r>
                      <a:endParaRPr lang="en-GB" sz="900" noProof="0">
                        <a:latin typeface="Aptos Narrow" panose="020B0004020202020204" pitchFamily="34" charset="0"/>
                      </a:endParaRPr>
                    </a:p>
                  </a:txBody>
                  <a:tcPr anchor="ctr"/>
                </a:tc>
                <a:extLst>
                  <a:ext uri="{0D108BD9-81ED-4DB2-BD59-A6C34878D82A}">
                    <a16:rowId xmlns:a16="http://schemas.microsoft.com/office/drawing/2014/main" val="3461306360"/>
                  </a:ext>
                </a:extLst>
              </a:tr>
              <a:tr h="315689">
                <a:tc>
                  <a:txBody>
                    <a:bodyPr/>
                    <a:lstStyle/>
                    <a:p>
                      <a:pPr rtl="0"/>
                      <a:r>
                        <a:rPr lang="en-GB" sz="900" b="1" noProof="0"/>
                        <a:t>Regulation Navigator</a:t>
                      </a:r>
                      <a:endParaRPr lang="en-GB" sz="900" noProof="0">
                        <a:latin typeface="Aptos Narrow" panose="020B0004020202020204" pitchFamily="34" charset="0"/>
                      </a:endParaRPr>
                    </a:p>
                  </a:txBody>
                  <a:tcPr anchor="ctr"/>
                </a:tc>
                <a:tc>
                  <a:txBody>
                    <a:bodyPr/>
                    <a:lstStyle/>
                    <a:p>
                      <a:pPr rtl="0"/>
                      <a:r>
                        <a:rPr lang="en-GB" sz="900" noProof="0"/>
                        <a:t>Provides access to otherwise unreachable products and services by expertly managing within government rules and influencing regulatory frameworks.</a:t>
                      </a:r>
                      <a:endParaRPr lang="en-GB" sz="900" noProof="0">
                        <a:latin typeface="Aptos Narrow" panose="020B0004020202020204" pitchFamily="34" charset="0"/>
                      </a:endParaRPr>
                    </a:p>
                  </a:txBody>
                  <a:tcPr anchor="ctr"/>
                </a:tc>
                <a:tc>
                  <a:txBody>
                    <a:bodyPr/>
                    <a:lstStyle/>
                    <a:p>
                      <a:pPr rtl="0"/>
                      <a:r>
                        <a:rPr lang="en-GB" sz="900" noProof="0"/>
                        <a:t>Health insurance companies, financial services firms in regulated markets</a:t>
                      </a:r>
                      <a:endParaRPr lang="en-GB" sz="900" noProof="0">
                        <a:latin typeface="Aptos Narrow" panose="020B0004020202020204" pitchFamily="34" charset="0"/>
                      </a:endParaRPr>
                    </a:p>
                  </a:txBody>
                  <a:tcPr anchor="ctr"/>
                </a:tc>
                <a:extLst>
                  <a:ext uri="{0D108BD9-81ED-4DB2-BD59-A6C34878D82A}">
                    <a16:rowId xmlns:a16="http://schemas.microsoft.com/office/drawing/2014/main" val="321965101"/>
                  </a:ext>
                </a:extLst>
              </a:tr>
              <a:tr h="315689">
                <a:tc>
                  <a:txBody>
                    <a:bodyPr/>
                    <a:lstStyle/>
                    <a:p>
                      <a:pPr rtl="0"/>
                      <a:r>
                        <a:rPr lang="en-GB" sz="900" b="1" noProof="0"/>
                        <a:t>Reputation Player</a:t>
                      </a:r>
                      <a:endParaRPr lang="en-GB" sz="900" noProof="0">
                        <a:latin typeface="Aptos Narrow" panose="020B0004020202020204" pitchFamily="34" charset="0"/>
                      </a:endParaRPr>
                    </a:p>
                  </a:txBody>
                  <a:tcPr anchor="ctr"/>
                </a:tc>
                <a:tc>
                  <a:txBody>
                    <a:bodyPr/>
                    <a:lstStyle/>
                    <a:p>
                      <a:pPr rtl="0"/>
                      <a:r>
                        <a:rPr lang="en-GB" sz="900" noProof="0"/>
                        <a:t>Commands premium pricing or privileged customer access based on trustworthy brand reputation tied to specific values.</a:t>
                      </a:r>
                      <a:endParaRPr lang="en-GB" sz="900" noProof="0">
                        <a:latin typeface="Aptos Narrow" panose="020B0004020202020204" pitchFamily="34" charset="0"/>
                      </a:endParaRPr>
                    </a:p>
                  </a:txBody>
                  <a:tcPr anchor="ctr"/>
                </a:tc>
                <a:tc>
                  <a:txBody>
                    <a:bodyPr/>
                    <a:lstStyle/>
                    <a:p>
                      <a:pPr rtl="0"/>
                      <a:r>
                        <a:rPr lang="en-GB" sz="900" noProof="0"/>
                        <a:t>Volvo (safety), Whole Foods (organic/natural), Tata (ethical business practices)</a:t>
                      </a:r>
                      <a:endParaRPr lang="en-GB" sz="900" noProof="0">
                        <a:latin typeface="Aptos Narrow" panose="020B0004020202020204" pitchFamily="34" charset="0"/>
                      </a:endParaRPr>
                    </a:p>
                  </a:txBody>
                  <a:tcPr anchor="ctr"/>
                </a:tc>
                <a:extLst>
                  <a:ext uri="{0D108BD9-81ED-4DB2-BD59-A6C34878D82A}">
                    <a16:rowId xmlns:a16="http://schemas.microsoft.com/office/drawing/2014/main" val="1613727588"/>
                  </a:ext>
                </a:extLst>
              </a:tr>
              <a:tr h="315689">
                <a:tc>
                  <a:txBody>
                    <a:bodyPr/>
                    <a:lstStyle/>
                    <a:p>
                      <a:pPr rtl="0"/>
                      <a:r>
                        <a:rPr lang="en-GB" sz="900" b="1" noProof="0"/>
                        <a:t>Risk Absorber</a:t>
                      </a:r>
                      <a:endParaRPr lang="en-GB" sz="900" noProof="0">
                        <a:latin typeface="Aptos Narrow" panose="020B0004020202020204" pitchFamily="34" charset="0"/>
                      </a:endParaRPr>
                    </a:p>
                  </a:txBody>
                  <a:tcPr anchor="ctr"/>
                </a:tc>
                <a:tc>
                  <a:txBody>
                    <a:bodyPr/>
                    <a:lstStyle/>
                    <a:p>
                      <a:pPr rtl="0"/>
                      <a:r>
                        <a:rPr lang="en-GB" sz="900" noProof="0"/>
                        <a:t>Mitigates or pools market risk for customers, enabling them to operate with greater certainty.</a:t>
                      </a:r>
                      <a:endParaRPr lang="en-GB" sz="900" noProof="0">
                        <a:latin typeface="Aptos Narrow" panose="020B0004020202020204" pitchFamily="34" charset="0"/>
                      </a:endParaRPr>
                    </a:p>
                  </a:txBody>
                  <a:tcPr anchor="ctr"/>
                </a:tc>
                <a:tc>
                  <a:txBody>
                    <a:bodyPr/>
                    <a:lstStyle/>
                    <a:p>
                      <a:pPr rtl="0"/>
                      <a:r>
                        <a:rPr lang="en-GB" sz="900" noProof="0"/>
                        <a:t>Insurance companies, commodity hedge funds, financial guarantors</a:t>
                      </a:r>
                      <a:endParaRPr lang="en-GB" sz="900" noProof="0">
                        <a:latin typeface="Aptos Narrow" panose="020B0004020202020204" pitchFamily="34" charset="0"/>
                      </a:endParaRPr>
                    </a:p>
                  </a:txBody>
                  <a:tcPr anchor="ctr"/>
                </a:tc>
                <a:extLst>
                  <a:ext uri="{0D108BD9-81ED-4DB2-BD59-A6C34878D82A}">
                    <a16:rowId xmlns:a16="http://schemas.microsoft.com/office/drawing/2014/main" val="433239645"/>
                  </a:ext>
                </a:extLst>
              </a:tr>
              <a:tr h="315689">
                <a:tc>
                  <a:txBody>
                    <a:bodyPr/>
                    <a:lstStyle/>
                    <a:p>
                      <a:pPr rtl="0"/>
                      <a:r>
                        <a:rPr lang="en-GB" sz="900" b="1" noProof="0"/>
                        <a:t>Solutions Provider</a:t>
                      </a:r>
                      <a:endParaRPr lang="en-GB" sz="900" noProof="0">
                        <a:latin typeface="Aptos Narrow" panose="020B0004020202020204" pitchFamily="34" charset="0"/>
                      </a:endParaRPr>
                    </a:p>
                  </a:txBody>
                  <a:tcPr anchor="ctr"/>
                </a:tc>
                <a:tc>
                  <a:txBody>
                    <a:bodyPr/>
                    <a:lstStyle/>
                    <a:p>
                      <a:pPr rtl="0"/>
                      <a:r>
                        <a:rPr lang="en-GB" sz="900" noProof="0"/>
                        <a:t>Provides bundled products and services that fully address complex customer needs through integration capabilities.</a:t>
                      </a:r>
                      <a:endParaRPr lang="en-GB" sz="900" noProof="0">
                        <a:latin typeface="Aptos Narrow" panose="020B0004020202020204" pitchFamily="34" charset="0"/>
                      </a:endParaRPr>
                    </a:p>
                  </a:txBody>
                  <a:tcPr anchor="ctr"/>
                </a:tc>
                <a:tc>
                  <a:txBody>
                    <a:bodyPr/>
                    <a:lstStyle/>
                    <a:p>
                      <a:pPr rtl="0"/>
                      <a:r>
                        <a:rPr lang="en-GB" sz="900" noProof="0"/>
                        <a:t>IBM (enterprise solutions), Johnson Controls (building systems), Lockheed Martin (defence systems)</a:t>
                      </a:r>
                      <a:endParaRPr lang="en-GB" sz="900" noProof="0">
                        <a:latin typeface="Aptos Narrow" panose="020B0004020202020204" pitchFamily="34" charset="0"/>
                      </a:endParaRPr>
                    </a:p>
                  </a:txBody>
                  <a:tcPr anchor="ctr"/>
                </a:tc>
                <a:extLst>
                  <a:ext uri="{0D108BD9-81ED-4DB2-BD59-A6C34878D82A}">
                    <a16:rowId xmlns:a16="http://schemas.microsoft.com/office/drawing/2014/main" val="1508495469"/>
                  </a:ext>
                </a:extLst>
              </a:tr>
              <a:tr h="315689">
                <a:tc>
                  <a:txBody>
                    <a:bodyPr/>
                    <a:lstStyle/>
                    <a:p>
                      <a:pPr rtl="0"/>
                      <a:r>
                        <a:rPr lang="en-GB" sz="900" b="1" noProof="0"/>
                        <a:t>Value Player</a:t>
                      </a:r>
                      <a:endParaRPr lang="en-GB" sz="900" noProof="0">
                        <a:latin typeface="Aptos Narrow" panose="020B0004020202020204" pitchFamily="34" charset="0"/>
                      </a:endParaRPr>
                    </a:p>
                  </a:txBody>
                  <a:tcPr anchor="ctr"/>
                </a:tc>
                <a:tc>
                  <a:txBody>
                    <a:bodyPr/>
                    <a:lstStyle/>
                    <a:p>
                      <a:pPr rtl="0"/>
                      <a:r>
                        <a:rPr lang="en-GB" sz="900" noProof="0"/>
                        <a:t>Offers lowest prices or tremendous value through superior cost structures while avoiding commoditisation spirals.</a:t>
                      </a:r>
                      <a:endParaRPr lang="en-GB" sz="900" noProof="0">
                        <a:latin typeface="Aptos Narrow" panose="020B0004020202020204" pitchFamily="34" charset="0"/>
                      </a:endParaRPr>
                    </a:p>
                  </a:txBody>
                  <a:tcPr anchor="ctr"/>
                </a:tc>
                <a:tc>
                  <a:txBody>
                    <a:bodyPr/>
                    <a:lstStyle/>
                    <a:p>
                      <a:pPr rtl="0"/>
                      <a:r>
                        <a:rPr lang="en-GB" sz="900" noProof="0"/>
                        <a:t>Walmart (retail), Ryanair (air travel)</a:t>
                      </a:r>
                      <a:endParaRPr lang="en-GB" sz="900" noProof="0">
                        <a:latin typeface="Aptos Narrow" panose="020B0004020202020204" pitchFamily="34" charset="0"/>
                      </a:endParaRPr>
                    </a:p>
                  </a:txBody>
                  <a:tcPr anchor="ctr"/>
                </a:tc>
                <a:extLst>
                  <a:ext uri="{0D108BD9-81ED-4DB2-BD59-A6C34878D82A}">
                    <a16:rowId xmlns:a16="http://schemas.microsoft.com/office/drawing/2014/main" val="3541746684"/>
                  </a:ext>
                </a:extLst>
              </a:tr>
            </a:tbl>
          </a:graphicData>
        </a:graphic>
      </p:graphicFrame>
      <p:sp>
        <p:nvSpPr>
          <p:cNvPr id="13" name="Arrow: Chevron 12">
            <a:extLst>
              <a:ext uri="{FF2B5EF4-FFF2-40B4-BE49-F238E27FC236}">
                <a16:creationId xmlns:a16="http://schemas.microsoft.com/office/drawing/2014/main" id="{BEF9B425-B0FE-971A-9AD6-D3F2686AB5F4}"/>
              </a:ext>
            </a:extLst>
          </p:cNvPr>
          <p:cNvSpPr/>
          <p:nvPr/>
        </p:nvSpPr>
        <p:spPr>
          <a:xfrm>
            <a:off x="8108917"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14" name="Arrow: Chevron 13">
            <a:extLst>
              <a:ext uri="{FF2B5EF4-FFF2-40B4-BE49-F238E27FC236}">
                <a16:creationId xmlns:a16="http://schemas.microsoft.com/office/drawing/2014/main" id="{DB2FB9A0-33B8-9B15-D804-BB0CA333D04E}"/>
              </a:ext>
            </a:extLst>
          </p:cNvPr>
          <p:cNvSpPr/>
          <p:nvPr/>
        </p:nvSpPr>
        <p:spPr>
          <a:xfrm>
            <a:off x="9071675"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15" name="Arrow: Chevron 14">
            <a:extLst>
              <a:ext uri="{FF2B5EF4-FFF2-40B4-BE49-F238E27FC236}">
                <a16:creationId xmlns:a16="http://schemas.microsoft.com/office/drawing/2014/main" id="{3A8D92C1-027A-5BC7-CD82-4E85B2B16CD8}"/>
              </a:ext>
            </a:extLst>
          </p:cNvPr>
          <p:cNvSpPr/>
          <p:nvPr/>
        </p:nvSpPr>
        <p:spPr>
          <a:xfrm>
            <a:off x="10034433"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16" name="Arrow: Chevron 15">
            <a:extLst>
              <a:ext uri="{FF2B5EF4-FFF2-40B4-BE49-F238E27FC236}">
                <a16:creationId xmlns:a16="http://schemas.microsoft.com/office/drawing/2014/main" id="{3DA37718-4E13-7557-73B9-95B4FAFA502D}"/>
              </a:ext>
            </a:extLst>
          </p:cNvPr>
          <p:cNvSpPr/>
          <p:nvPr/>
        </p:nvSpPr>
        <p:spPr>
          <a:xfrm>
            <a:off x="1099963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26977447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901A8-83D8-91C7-6474-899D7592E98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059205B-2995-BAB1-E334-F3F6B89D8AFC}"/>
              </a:ext>
            </a:extLst>
          </p:cNvPr>
          <p:cNvGraphicFramePr>
            <a:graphicFrameLocks noChangeAspect="1"/>
          </p:cNvGraphicFramePr>
          <p:nvPr>
            <p:custDataLst>
              <p:tags r:id="rId1"/>
            </p:custDataLst>
            <p:extLst>
              <p:ext uri="{D42A27DB-BD31-4B8C-83A1-F6EECF244321}">
                <p14:modId xmlns:p14="http://schemas.microsoft.com/office/powerpoint/2010/main" val="3175481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C059205B-2995-BAB1-E334-F3F6B89D8A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2" name="Group 31">
            <a:extLst>
              <a:ext uri="{FF2B5EF4-FFF2-40B4-BE49-F238E27FC236}">
                <a16:creationId xmlns:a16="http://schemas.microsoft.com/office/drawing/2014/main" id="{FD46E81A-88DC-4676-F789-518B1F5FA49A}"/>
              </a:ext>
            </a:extLst>
          </p:cNvPr>
          <p:cNvGrpSpPr/>
          <p:nvPr/>
        </p:nvGrpSpPr>
        <p:grpSpPr>
          <a:xfrm>
            <a:off x="8410890" y="1054144"/>
            <a:ext cx="865611" cy="679381"/>
            <a:chOff x="368907" y="1700531"/>
            <a:chExt cx="4038920" cy="4275927"/>
          </a:xfrm>
          <a:effectLst/>
        </p:grpSpPr>
        <p:sp>
          <p:nvSpPr>
            <p:cNvPr id="33" name="Isosceles Triangle 32">
              <a:extLst>
                <a:ext uri="{FF2B5EF4-FFF2-40B4-BE49-F238E27FC236}">
                  <a16:creationId xmlns:a16="http://schemas.microsoft.com/office/drawing/2014/main" id="{9959858B-97FA-75CD-FB22-C06D4CF37151}"/>
                </a:ext>
              </a:extLst>
            </p:cNvPr>
            <p:cNvSpPr/>
            <p:nvPr/>
          </p:nvSpPr>
          <p:spPr>
            <a:xfrm>
              <a:off x="1792514" y="1700531"/>
              <a:ext cx="1191707" cy="1255807"/>
            </a:xfrm>
            <a:prstGeom prst="triangle">
              <a:avLst>
                <a:gd name="adj" fmla="val 49710"/>
              </a:avLst>
            </a:pr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sp>
          <p:nvSpPr>
            <p:cNvPr id="34" name="Isosceles Triangle 62">
              <a:extLst>
                <a:ext uri="{FF2B5EF4-FFF2-40B4-BE49-F238E27FC236}">
                  <a16:creationId xmlns:a16="http://schemas.microsoft.com/office/drawing/2014/main" id="{2C37F541-E1B0-6412-2847-40C6FAB14E35}"/>
                </a:ext>
              </a:extLst>
            </p:cNvPr>
            <p:cNvSpPr/>
            <p:nvPr/>
          </p:nvSpPr>
          <p:spPr>
            <a:xfrm>
              <a:off x="1106945" y="2957333"/>
              <a:ext cx="2556494" cy="1456051"/>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481647" y="2614"/>
                  </a:lnTo>
                  <a:lnTo>
                    <a:pt x="1325344" y="0"/>
                  </a:lnTo>
                  <a:lnTo>
                    <a:pt x="1810264" y="968810"/>
                  </a:lnTo>
                  <a:lnTo>
                    <a:pt x="0" y="968810"/>
                  </a:lnTo>
                  <a:close/>
                </a:path>
              </a:pathLst>
            </a:custGeom>
            <a:solidFill>
              <a:srgbClr val="FFD5B3"/>
            </a:solidFill>
            <a:ln w="9525">
              <a:solidFill>
                <a:srgbClr val="FF834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grpSp>
          <p:nvGrpSpPr>
            <p:cNvPr id="35" name="Group 34">
              <a:extLst>
                <a:ext uri="{FF2B5EF4-FFF2-40B4-BE49-F238E27FC236}">
                  <a16:creationId xmlns:a16="http://schemas.microsoft.com/office/drawing/2014/main" id="{BFE20B5F-5DB0-6251-728A-88364FBC9117}"/>
                </a:ext>
              </a:extLst>
            </p:cNvPr>
            <p:cNvGrpSpPr/>
            <p:nvPr/>
          </p:nvGrpSpPr>
          <p:grpSpPr>
            <a:xfrm>
              <a:off x="368907" y="2954958"/>
              <a:ext cx="4038920" cy="3021500"/>
              <a:chOff x="364847" y="3312617"/>
              <a:chExt cx="4038920" cy="3021500"/>
            </a:xfrm>
          </p:grpSpPr>
          <p:cxnSp>
            <p:nvCxnSpPr>
              <p:cNvPr id="36" name="Straight Connector 35">
                <a:extLst>
                  <a:ext uri="{FF2B5EF4-FFF2-40B4-BE49-F238E27FC236}">
                    <a16:creationId xmlns:a16="http://schemas.microsoft.com/office/drawing/2014/main" id="{A8F6EE00-3E5F-25DA-9F9F-CE893A486B0A}"/>
                  </a:ext>
                </a:extLst>
              </p:cNvPr>
              <p:cNvCxnSpPr>
                <a:cxnSpLocks/>
              </p:cNvCxnSpPr>
              <p:nvPr/>
            </p:nvCxnSpPr>
            <p:spPr>
              <a:xfrm>
                <a:off x="1110997" y="4771043"/>
                <a:ext cx="254556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Isosceles Triangle 62">
                <a:extLst>
                  <a:ext uri="{FF2B5EF4-FFF2-40B4-BE49-F238E27FC236}">
                    <a16:creationId xmlns:a16="http://schemas.microsoft.com/office/drawing/2014/main" id="{FF475D8D-3B6A-0340-48D5-026B5ECB6B71}"/>
                  </a:ext>
                </a:extLst>
              </p:cNvPr>
              <p:cNvSpPr/>
              <p:nvPr/>
            </p:nvSpPr>
            <p:spPr>
              <a:xfrm>
                <a:off x="364847" y="4771043"/>
                <a:ext cx="4038920" cy="1562778"/>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476069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326400" y="396"/>
                    </a:lnTo>
                    <a:lnTo>
                      <a:pt x="1476069" y="0"/>
                    </a:lnTo>
                    <a:lnTo>
                      <a:pt x="1810264" y="968810"/>
                    </a:lnTo>
                    <a:lnTo>
                      <a:pt x="0" y="968810"/>
                    </a:lnTo>
                    <a:close/>
                  </a:path>
                </a:pathLst>
              </a:cu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cxnSp>
            <p:nvCxnSpPr>
              <p:cNvPr id="39" name="Straight Connector 38">
                <a:extLst>
                  <a:ext uri="{FF2B5EF4-FFF2-40B4-BE49-F238E27FC236}">
                    <a16:creationId xmlns:a16="http://schemas.microsoft.com/office/drawing/2014/main" id="{0FA963F4-F651-7467-E236-63A985385DE5}"/>
                  </a:ext>
                </a:extLst>
              </p:cNvPr>
              <p:cNvCxnSpPr>
                <a:cxnSpLocks/>
              </p:cNvCxnSpPr>
              <p:nvPr/>
            </p:nvCxnSpPr>
            <p:spPr>
              <a:xfrm flipH="1">
                <a:off x="1833796" y="3312617"/>
                <a:ext cx="287660" cy="1488306"/>
              </a:xfrm>
              <a:prstGeom prst="line">
                <a:avLst/>
              </a:prstGeom>
              <a:ln w="9525">
                <a:solidFill>
                  <a:srgbClr val="FF8349"/>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DD995EA-803C-F583-D9B2-B5E34E9DBC21}"/>
                  </a:ext>
                </a:extLst>
              </p:cNvPr>
              <p:cNvCxnSpPr>
                <a:cxnSpLocks/>
              </p:cNvCxnSpPr>
              <p:nvPr/>
            </p:nvCxnSpPr>
            <p:spPr>
              <a:xfrm>
                <a:off x="2562892" y="4771043"/>
                <a:ext cx="106051" cy="1562778"/>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228622D-5A0E-2E81-070C-12ED3D1C1CE1}"/>
                  </a:ext>
                </a:extLst>
              </p:cNvPr>
              <p:cNvCxnSpPr>
                <a:cxnSpLocks/>
              </p:cNvCxnSpPr>
              <p:nvPr/>
            </p:nvCxnSpPr>
            <p:spPr>
              <a:xfrm flipH="1">
                <a:off x="2089604" y="4771042"/>
                <a:ext cx="76090" cy="156277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FA1D3DB-BBE1-F94B-313C-E6915F468EE2}"/>
                  </a:ext>
                </a:extLst>
              </p:cNvPr>
              <p:cNvCxnSpPr>
                <a:cxnSpLocks/>
              </p:cNvCxnSpPr>
              <p:nvPr/>
            </p:nvCxnSpPr>
            <p:spPr>
              <a:xfrm flipH="1">
                <a:off x="957027" y="4771042"/>
                <a:ext cx="526604" cy="156277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DDC60C4-DBA7-28E2-C7FF-AB26FC96DA29}"/>
                  </a:ext>
                </a:extLst>
              </p:cNvPr>
              <p:cNvCxnSpPr>
                <a:cxnSpLocks/>
              </p:cNvCxnSpPr>
              <p:nvPr/>
            </p:nvCxnSpPr>
            <p:spPr>
              <a:xfrm>
                <a:off x="2706590" y="3312617"/>
                <a:ext cx="267090" cy="1459422"/>
              </a:xfrm>
              <a:prstGeom prst="line">
                <a:avLst/>
              </a:prstGeom>
              <a:ln w="9525">
                <a:solidFill>
                  <a:srgbClr val="FF8349"/>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32B2EC6-0ABF-B7DF-5620-0974689663F6}"/>
                  </a:ext>
                </a:extLst>
              </p:cNvPr>
              <p:cNvCxnSpPr>
                <a:cxnSpLocks/>
              </p:cNvCxnSpPr>
              <p:nvPr/>
            </p:nvCxnSpPr>
            <p:spPr>
              <a:xfrm>
                <a:off x="3336756" y="4771043"/>
                <a:ext cx="506582" cy="1563074"/>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519C18A-0B5B-4054-A5E6-1D398BD83C2E}"/>
                  </a:ext>
                </a:extLst>
              </p:cNvPr>
              <p:cNvCxnSpPr>
                <a:cxnSpLocks/>
              </p:cNvCxnSpPr>
              <p:nvPr/>
            </p:nvCxnSpPr>
            <p:spPr>
              <a:xfrm flipH="1">
                <a:off x="1539549" y="4772039"/>
                <a:ext cx="300668" cy="156178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108F893-686F-3D19-E87A-BAEF469110E6}"/>
                  </a:ext>
                </a:extLst>
              </p:cNvPr>
              <p:cNvCxnSpPr>
                <a:cxnSpLocks/>
              </p:cNvCxnSpPr>
              <p:nvPr/>
            </p:nvCxnSpPr>
            <p:spPr>
              <a:xfrm>
                <a:off x="2973680" y="4778378"/>
                <a:ext cx="284662" cy="155544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49591A3-189B-3FE0-F33E-859C17737E9F}"/>
                  </a:ext>
                </a:extLst>
              </p:cNvPr>
              <p:cNvCxnSpPr>
                <a:cxnSpLocks/>
                <a:stCxn id="37" idx="1"/>
                <a:endCxn id="34" idx="3"/>
              </p:cNvCxnSpPr>
              <p:nvPr/>
            </p:nvCxnSpPr>
            <p:spPr>
              <a:xfrm flipV="1">
                <a:off x="1093085" y="4771043"/>
                <a:ext cx="2566294" cy="640"/>
              </a:xfrm>
              <a:prstGeom prst="line">
                <a:avLst/>
              </a:prstGeom>
              <a:ln w="9525">
                <a:solidFill>
                  <a:srgbClr val="FF8349"/>
                </a:solidFill>
              </a:ln>
            </p:spPr>
            <p:style>
              <a:lnRef idx="1">
                <a:schemeClr val="accent1"/>
              </a:lnRef>
              <a:fillRef idx="0">
                <a:schemeClr val="accent1"/>
              </a:fillRef>
              <a:effectRef idx="0">
                <a:schemeClr val="accent1"/>
              </a:effectRef>
              <a:fontRef idx="minor">
                <a:schemeClr val="tx1"/>
              </a:fontRef>
            </p:style>
          </p:cxnSp>
        </p:grpSp>
      </p:grpSp>
      <p:sp>
        <p:nvSpPr>
          <p:cNvPr id="2" name="Title 1">
            <a:extLst>
              <a:ext uri="{FF2B5EF4-FFF2-40B4-BE49-F238E27FC236}">
                <a16:creationId xmlns:a16="http://schemas.microsoft.com/office/drawing/2014/main" id="{FF80E921-48C2-8642-66AA-BFA9456549CD}"/>
              </a:ext>
            </a:extLst>
          </p:cNvPr>
          <p:cNvSpPr>
            <a:spLocks noGrp="1"/>
          </p:cNvSpPr>
          <p:nvPr>
            <p:ph type="title"/>
          </p:nvPr>
        </p:nvSpPr>
        <p:spPr>
          <a:xfrm>
            <a:off x="137786" y="125260"/>
            <a:ext cx="7038654" cy="806754"/>
          </a:xfrm>
        </p:spPr>
        <p:txBody>
          <a:bodyPr vert="horz">
            <a:normAutofit/>
          </a:bodyPr>
          <a:lstStyle/>
          <a:p>
            <a:r>
              <a:rPr lang="en-GB" sz="2400" b="1" noProof="0"/>
              <a:t>Choice of Segmentation of Value Propositions</a:t>
            </a:r>
          </a:p>
        </p:txBody>
      </p:sp>
      <p:sp>
        <p:nvSpPr>
          <p:cNvPr id="38" name="Rectangle 37">
            <a:extLst>
              <a:ext uri="{FF2B5EF4-FFF2-40B4-BE49-F238E27FC236}">
                <a16:creationId xmlns:a16="http://schemas.microsoft.com/office/drawing/2014/main" id="{957975BA-EA5F-B0FA-96B9-AC5BB27C8BEE}"/>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100" b="1" noProof="0">
                <a:solidFill>
                  <a:schemeClr val="tx1"/>
                </a:solidFill>
                <a:latin typeface="Avenir Next LT Pro" panose="020B0504020202020204" pitchFamily="34" charset="0"/>
              </a:rPr>
              <a:t>A critical strategic choice is whether to deploy one unified proposition or several tailored ones</a:t>
            </a:r>
            <a:r>
              <a:rPr lang="en-GB" sz="1100" noProof="0">
                <a:solidFill>
                  <a:schemeClr val="tx1"/>
                </a:solidFill>
                <a:latin typeface="Avenir Next LT Pro" panose="020B0504020202020204" pitchFamily="34" charset="0"/>
              </a:rPr>
              <a:t>: a single proposition suits homogenous customer priorities and tightly focused capabilities, while multiple propositions are required when segments have divergent needs that the firm can profitably serve.</a:t>
            </a:r>
          </a:p>
          <a:p>
            <a:pPr marL="285750" indent="-285750">
              <a:spcAft>
                <a:spcPts val="600"/>
              </a:spcAft>
              <a:buFont typeface="Arial" panose="020B0604020202020204" pitchFamily="34" charset="0"/>
              <a:buChar char="•"/>
            </a:pPr>
            <a:r>
              <a:rPr lang="en-GB" sz="1100" b="1" noProof="0">
                <a:solidFill>
                  <a:schemeClr val="tx1"/>
                </a:solidFill>
                <a:latin typeface="Avenir Next LT Pro" panose="020B0504020202020204" pitchFamily="34" charset="0"/>
              </a:rPr>
              <a:t>Failing to choose deliberately leads to “value-proposition drift”</a:t>
            </a:r>
            <a:r>
              <a:rPr lang="en-GB" sz="1100" noProof="0">
                <a:solidFill>
                  <a:schemeClr val="tx1"/>
                </a:solidFill>
                <a:latin typeface="Avenir Next LT Pro" panose="020B0504020202020204" pitchFamily="34" charset="0"/>
              </a:rPr>
              <a:t>,</a:t>
            </a:r>
            <a:r>
              <a:rPr lang="en-GB" sz="1100" b="1" noProof="0">
                <a:solidFill>
                  <a:schemeClr val="tx1"/>
                </a:solidFill>
                <a:latin typeface="Avenir Next LT Pro" panose="020B0504020202020204" pitchFamily="34" charset="0"/>
              </a:rPr>
              <a:t> </a:t>
            </a:r>
            <a:r>
              <a:rPr lang="en-GB" sz="1100" noProof="0">
                <a:solidFill>
                  <a:schemeClr val="tx1"/>
                </a:solidFill>
                <a:latin typeface="Avenir Next LT Pro" panose="020B0504020202020204" pitchFamily="34" charset="0"/>
              </a:rPr>
              <a:t>where overlapping promises confuse customers, spur internal conflict, and erode competitive positioning; </a:t>
            </a:r>
            <a:r>
              <a:rPr lang="en-GB" sz="1100" b="1" noProof="0">
                <a:solidFill>
                  <a:schemeClr val="tx1"/>
                </a:solidFill>
                <a:latin typeface="Avenir Next LT Pro" panose="020B0504020202020204" pitchFamily="34" charset="0"/>
              </a:rPr>
              <a:t>each chosen proposition must stand on its own economic and strategic merits</a:t>
            </a:r>
            <a:r>
              <a:rPr lang="en-GB" sz="1100" noProof="0">
                <a:solidFill>
                  <a:schemeClr val="tx1"/>
                </a:solidFill>
                <a:latin typeface="Avenir Next LT Pro" panose="020B0504020202020204" pitchFamily="34" charset="0"/>
              </a:rPr>
              <a:t>.</a:t>
            </a:r>
          </a:p>
          <a:p>
            <a:pPr marL="285750" indent="-285750">
              <a:spcAft>
                <a:spcPts val="600"/>
              </a:spcAft>
              <a:buFont typeface="Arial" panose="020B0604020202020204" pitchFamily="34" charset="0"/>
              <a:buChar char="•"/>
            </a:pPr>
            <a:r>
              <a:rPr lang="en-GB" sz="1100" b="1" noProof="0">
                <a:solidFill>
                  <a:schemeClr val="tx1"/>
                </a:solidFill>
                <a:latin typeface="Avenir Next LT Pro" panose="020B0504020202020204" pitchFamily="34" charset="0"/>
              </a:rPr>
              <a:t>Distinguishing core propositions from complementary offerings matters</a:t>
            </a:r>
            <a:r>
              <a:rPr lang="en-GB" sz="1100" noProof="0">
                <a:solidFill>
                  <a:schemeClr val="tx1"/>
                </a:solidFill>
                <a:latin typeface="Avenir Next LT Pro" panose="020B0504020202020204" pitchFamily="34" charset="0"/>
              </a:rPr>
              <a:t>, because well-priced complements can boost willingness-to-pay for the core and thereby strengthen the overall value-creation logic.</a:t>
            </a:r>
          </a:p>
        </p:txBody>
      </p:sp>
      <p:grpSp>
        <p:nvGrpSpPr>
          <p:cNvPr id="55" name="Group 54">
            <a:extLst>
              <a:ext uri="{FF2B5EF4-FFF2-40B4-BE49-F238E27FC236}">
                <a16:creationId xmlns:a16="http://schemas.microsoft.com/office/drawing/2014/main" id="{DA2FD928-3A2F-8BF4-BEC8-ECA43A75EFB2}"/>
              </a:ext>
            </a:extLst>
          </p:cNvPr>
          <p:cNvGrpSpPr/>
          <p:nvPr/>
        </p:nvGrpSpPr>
        <p:grpSpPr>
          <a:xfrm>
            <a:off x="1791335" y="1485176"/>
            <a:ext cx="5463269" cy="4572483"/>
            <a:chOff x="1778040" y="1485176"/>
            <a:chExt cx="4995005" cy="4180569"/>
          </a:xfrm>
        </p:grpSpPr>
        <p:sp>
          <p:nvSpPr>
            <p:cNvPr id="3" name="Rounded Rectangle 1">
              <a:extLst>
                <a:ext uri="{FF2B5EF4-FFF2-40B4-BE49-F238E27FC236}">
                  <a16:creationId xmlns:a16="http://schemas.microsoft.com/office/drawing/2014/main" id="{3536BD6A-348E-860E-48A1-5A14D29DF792}"/>
                </a:ext>
              </a:extLst>
            </p:cNvPr>
            <p:cNvSpPr/>
            <p:nvPr/>
          </p:nvSpPr>
          <p:spPr>
            <a:xfrm>
              <a:off x="3264209" y="4589374"/>
              <a:ext cx="1600200" cy="219317"/>
            </a:xfrm>
            <a:custGeom>
              <a:avLst/>
              <a:gdLst/>
              <a:ahLst/>
              <a:cxnLst/>
              <a:rect l="0" t="0" r="0" b="0"/>
              <a:pathLst>
                <a:path w="1600200" h="219317">
                  <a:moveTo>
                    <a:pt x="1600200" y="0"/>
                  </a:moveTo>
                  <a:lnTo>
                    <a:pt x="1600200" y="142662"/>
                  </a:lnTo>
                  <a:cubicBezTo>
                    <a:pt x="1600200" y="184736"/>
                    <a:pt x="1566100" y="218848"/>
                    <a:pt x="1524026" y="218862"/>
                  </a:cubicBezTo>
                  <a:lnTo>
                    <a:pt x="923925" y="219075"/>
                  </a:lnTo>
                  <a:moveTo>
                    <a:pt x="685800" y="219317"/>
                  </a:moveTo>
                  <a:lnTo>
                    <a:pt x="76200" y="219316"/>
                  </a:lnTo>
                  <a:cubicBezTo>
                    <a:pt x="34115" y="219316"/>
                    <a:pt x="0" y="185201"/>
                    <a:pt x="0" y="143116"/>
                  </a:cubicBezTo>
                  <a:lnTo>
                    <a:pt x="0" y="0"/>
                  </a:lnTo>
                </a:path>
              </a:pathLst>
            </a:custGeom>
            <a:noFill/>
            <a:ln w="7143">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nvGrpSpPr>
            <p:cNvPr id="10" name="Group 9">
              <a:extLst>
                <a:ext uri="{FF2B5EF4-FFF2-40B4-BE49-F238E27FC236}">
                  <a16:creationId xmlns:a16="http://schemas.microsoft.com/office/drawing/2014/main" id="{934FA15D-11E0-C439-AFBD-0A7103AE8172}"/>
                </a:ext>
              </a:extLst>
            </p:cNvPr>
            <p:cNvGrpSpPr/>
            <p:nvPr/>
          </p:nvGrpSpPr>
          <p:grpSpPr>
            <a:xfrm>
              <a:off x="3950009" y="4694149"/>
              <a:ext cx="229427" cy="228600"/>
              <a:chOff x="2857500" y="3714750"/>
              <a:chExt cx="229427" cy="228600"/>
            </a:xfrm>
          </p:grpSpPr>
          <p:sp>
            <p:nvSpPr>
              <p:cNvPr id="53" name="Rounded Rectangle 2">
                <a:extLst>
                  <a:ext uri="{FF2B5EF4-FFF2-40B4-BE49-F238E27FC236}">
                    <a16:creationId xmlns:a16="http://schemas.microsoft.com/office/drawing/2014/main" id="{109CCB95-F7AD-C280-BB5A-AF8416CFB343}"/>
                  </a:ext>
                </a:extLst>
              </p:cNvPr>
              <p:cNvSpPr/>
              <p:nvPr/>
            </p:nvSpPr>
            <p:spPr>
              <a:xfrm>
                <a:off x="2857500" y="3714750"/>
                <a:ext cx="229427" cy="228600"/>
              </a:xfrm>
              <a:custGeom>
                <a:avLst/>
                <a:gdLst/>
                <a:ahLst/>
                <a:cxnLst/>
                <a:rect l="0" t="0" r="0" b="0"/>
                <a:pathLst>
                  <a:path w="229427" h="228600">
                    <a:moveTo>
                      <a:pt x="114709" y="0"/>
                    </a:moveTo>
                    <a:cubicBezTo>
                      <a:pt x="178063" y="0"/>
                      <a:pt x="229427" y="51174"/>
                      <a:pt x="229427" y="114300"/>
                    </a:cubicBezTo>
                    <a:cubicBezTo>
                      <a:pt x="229427" y="177425"/>
                      <a:pt x="178063" y="228600"/>
                      <a:pt x="114709" y="228600"/>
                    </a:cubicBezTo>
                    <a:cubicBezTo>
                      <a:pt x="51356" y="228599"/>
                      <a:pt x="0" y="177425"/>
                      <a:pt x="0" y="114300"/>
                    </a:cubicBezTo>
                    <a:cubicBezTo>
                      <a:pt x="0" y="51174"/>
                      <a:pt x="51356" y="0"/>
                      <a:pt x="114709" y="0"/>
                    </a:cubicBezTo>
                    <a:close/>
                    <a:moveTo>
                      <a:pt x="114300" y="57150"/>
                    </a:moveTo>
                    <a:cubicBezTo>
                      <a:pt x="82737" y="57150"/>
                      <a:pt x="57150" y="82737"/>
                      <a:pt x="57150" y="114300"/>
                    </a:cubicBezTo>
                    <a:cubicBezTo>
                      <a:pt x="57150" y="145862"/>
                      <a:pt x="82737" y="171450"/>
                      <a:pt x="114300" y="171450"/>
                    </a:cubicBezTo>
                    <a:cubicBezTo>
                      <a:pt x="145862" y="171450"/>
                      <a:pt x="171450" y="145862"/>
                      <a:pt x="171450" y="114300"/>
                    </a:cubicBezTo>
                    <a:cubicBezTo>
                      <a:pt x="171450" y="82737"/>
                      <a:pt x="145862" y="57150"/>
                      <a:pt x="114300" y="57150"/>
                    </a:cubicBezTo>
                    <a:close/>
                  </a:path>
                </a:pathLst>
              </a:custGeom>
              <a:solidFill>
                <a:srgbClr val="FFA02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54" name="Rounded Rectangle 3">
                <a:extLst>
                  <a:ext uri="{FF2B5EF4-FFF2-40B4-BE49-F238E27FC236}">
                    <a16:creationId xmlns:a16="http://schemas.microsoft.com/office/drawing/2014/main" id="{9169684C-3BF5-70AF-2276-75D26B82B5F1}"/>
                  </a:ext>
                </a:extLst>
              </p:cNvPr>
              <p:cNvSpPr/>
              <p:nvPr/>
            </p:nvSpPr>
            <p:spPr>
              <a:xfrm>
                <a:off x="2857500" y="3714750"/>
                <a:ext cx="229427" cy="228600"/>
              </a:xfrm>
              <a:custGeom>
                <a:avLst/>
                <a:gdLst/>
                <a:ahLst/>
                <a:cxnLst/>
                <a:rect l="0" t="0" r="0" b="0"/>
                <a:pathLst>
                  <a:path w="229427" h="228600">
                    <a:moveTo>
                      <a:pt x="114709" y="0"/>
                    </a:moveTo>
                    <a:cubicBezTo>
                      <a:pt x="178063" y="0"/>
                      <a:pt x="229427" y="51174"/>
                      <a:pt x="229427" y="114300"/>
                    </a:cubicBezTo>
                    <a:cubicBezTo>
                      <a:pt x="229427" y="177425"/>
                      <a:pt x="178063" y="228600"/>
                      <a:pt x="114709" y="228600"/>
                    </a:cubicBezTo>
                    <a:cubicBezTo>
                      <a:pt x="51356" y="228599"/>
                      <a:pt x="0" y="177425"/>
                      <a:pt x="0" y="114300"/>
                    </a:cubicBezTo>
                    <a:cubicBezTo>
                      <a:pt x="0" y="51174"/>
                      <a:pt x="51356" y="0"/>
                      <a:pt x="114709" y="0"/>
                    </a:cubicBezTo>
                    <a:close/>
                    <a:moveTo>
                      <a:pt x="114300" y="57150"/>
                    </a:moveTo>
                    <a:cubicBezTo>
                      <a:pt x="82737" y="57150"/>
                      <a:pt x="57150" y="82737"/>
                      <a:pt x="57150" y="114300"/>
                    </a:cubicBezTo>
                    <a:cubicBezTo>
                      <a:pt x="57150" y="145862"/>
                      <a:pt x="82737" y="171450"/>
                      <a:pt x="114300" y="171450"/>
                    </a:cubicBezTo>
                    <a:cubicBezTo>
                      <a:pt x="145862" y="171450"/>
                      <a:pt x="171450" y="145862"/>
                      <a:pt x="171450" y="114300"/>
                    </a:cubicBezTo>
                    <a:cubicBezTo>
                      <a:pt x="171450" y="82737"/>
                      <a:pt x="145862" y="57150"/>
                      <a:pt x="114300" y="57150"/>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11" name="Group 10">
              <a:extLst>
                <a:ext uri="{FF2B5EF4-FFF2-40B4-BE49-F238E27FC236}">
                  <a16:creationId xmlns:a16="http://schemas.microsoft.com/office/drawing/2014/main" id="{7AA45C3A-0FF7-53A0-E4D9-B2B670636FB1}"/>
                </a:ext>
              </a:extLst>
            </p:cNvPr>
            <p:cNvGrpSpPr/>
            <p:nvPr/>
          </p:nvGrpSpPr>
          <p:grpSpPr>
            <a:xfrm>
              <a:off x="3607109" y="4897278"/>
              <a:ext cx="914400" cy="768467"/>
              <a:chOff x="2514600" y="3917879"/>
              <a:chExt cx="914400" cy="768467"/>
            </a:xfrm>
          </p:grpSpPr>
          <p:sp>
            <p:nvSpPr>
              <p:cNvPr id="49" name="Rounded Rectangle 5">
                <a:extLst>
                  <a:ext uri="{FF2B5EF4-FFF2-40B4-BE49-F238E27FC236}">
                    <a16:creationId xmlns:a16="http://schemas.microsoft.com/office/drawing/2014/main" id="{BF4F13E5-E029-C545-BC1E-E18005A43806}"/>
                  </a:ext>
                </a:extLst>
              </p:cNvPr>
              <p:cNvSpPr/>
              <p:nvPr/>
            </p:nvSpPr>
            <p:spPr>
              <a:xfrm>
                <a:off x="2628900" y="3917879"/>
                <a:ext cx="685800" cy="654123"/>
              </a:xfrm>
              <a:custGeom>
                <a:avLst/>
                <a:gdLst/>
                <a:ahLst/>
                <a:cxnLst/>
                <a:rect l="0" t="0" r="0" b="0"/>
                <a:pathLst>
                  <a:path w="685800" h="654123">
                    <a:moveTo>
                      <a:pt x="267385" y="0"/>
                    </a:moveTo>
                    <a:cubicBezTo>
                      <a:pt x="288490" y="18415"/>
                      <a:pt x="314195" y="28545"/>
                      <a:pt x="343311" y="28545"/>
                    </a:cubicBezTo>
                    <a:cubicBezTo>
                      <a:pt x="372173" y="28545"/>
                      <a:pt x="397433" y="18593"/>
                      <a:pt x="418706" y="554"/>
                    </a:cubicBezTo>
                    <a:cubicBezTo>
                      <a:pt x="495221" y="173036"/>
                      <a:pt x="685800" y="654123"/>
                      <a:pt x="685800" y="654123"/>
                    </a:cubicBezTo>
                    <a:lnTo>
                      <a:pt x="0" y="654123"/>
                    </a:lnTo>
                    <a:cubicBezTo>
                      <a:pt x="0" y="654123"/>
                      <a:pt x="190947" y="172543"/>
                      <a:pt x="267385" y="0"/>
                    </a:cubicBezTo>
                    <a:close/>
                  </a:path>
                </a:pathLst>
              </a:custGeom>
              <a:solidFill>
                <a:srgbClr val="FF900C"/>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50" name="Rounded Rectangle 6">
                <a:extLst>
                  <a:ext uri="{FF2B5EF4-FFF2-40B4-BE49-F238E27FC236}">
                    <a16:creationId xmlns:a16="http://schemas.microsoft.com/office/drawing/2014/main" id="{FF9F07C0-F4E0-2D95-6309-DFE5B0D860D1}"/>
                  </a:ext>
                </a:extLst>
              </p:cNvPr>
              <p:cNvSpPr/>
              <p:nvPr/>
            </p:nvSpPr>
            <p:spPr>
              <a:xfrm>
                <a:off x="2514600" y="4572046"/>
                <a:ext cx="914400" cy="114300"/>
              </a:xfrm>
              <a:custGeom>
                <a:avLst/>
                <a:gdLst/>
                <a:ahLst/>
                <a:cxnLst/>
                <a:rect l="0" t="0" r="0" b="0"/>
                <a:pathLst>
                  <a:path w="914400" h="114300">
                    <a:moveTo>
                      <a:pt x="838200" y="0"/>
                    </a:moveTo>
                    <a:cubicBezTo>
                      <a:pt x="880283" y="0"/>
                      <a:pt x="914400" y="34115"/>
                      <a:pt x="914400" y="76200"/>
                    </a:cubicBezTo>
                    <a:lnTo>
                      <a:pt x="914400" y="95250"/>
                    </a:lnTo>
                    <a:cubicBezTo>
                      <a:pt x="914400" y="105771"/>
                      <a:pt x="905870" y="114300"/>
                      <a:pt x="895350" y="114300"/>
                    </a:cubicBezTo>
                    <a:lnTo>
                      <a:pt x="19050" y="114300"/>
                    </a:lnTo>
                    <a:cubicBezTo>
                      <a:pt x="8528" y="114300"/>
                      <a:pt x="0" y="105771"/>
                      <a:pt x="0" y="95250"/>
                    </a:cubicBezTo>
                    <a:lnTo>
                      <a:pt x="0" y="76199"/>
                    </a:lnTo>
                    <a:cubicBezTo>
                      <a:pt x="0" y="34115"/>
                      <a:pt x="34116" y="0"/>
                      <a:pt x="76200" y="0"/>
                    </a:cubicBezTo>
                    <a:close/>
                  </a:path>
                </a:pathLst>
              </a:custGeom>
              <a:solidFill>
                <a:srgbClr val="FF900C"/>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51" name="Rounded Rectangle 7">
                <a:extLst>
                  <a:ext uri="{FF2B5EF4-FFF2-40B4-BE49-F238E27FC236}">
                    <a16:creationId xmlns:a16="http://schemas.microsoft.com/office/drawing/2014/main" id="{465EBEA6-F782-1109-2AC6-DA3F3405B0F5}"/>
                  </a:ext>
                </a:extLst>
              </p:cNvPr>
              <p:cNvSpPr/>
              <p:nvPr/>
            </p:nvSpPr>
            <p:spPr>
              <a:xfrm>
                <a:off x="2628900" y="3917879"/>
                <a:ext cx="685800" cy="654123"/>
              </a:xfrm>
              <a:custGeom>
                <a:avLst/>
                <a:gdLst/>
                <a:ahLst/>
                <a:cxnLst/>
                <a:rect l="0" t="0" r="0" b="0"/>
                <a:pathLst>
                  <a:path w="685800" h="654123">
                    <a:moveTo>
                      <a:pt x="267385" y="0"/>
                    </a:moveTo>
                    <a:cubicBezTo>
                      <a:pt x="288490" y="18415"/>
                      <a:pt x="314195" y="28545"/>
                      <a:pt x="343311" y="28545"/>
                    </a:cubicBezTo>
                    <a:cubicBezTo>
                      <a:pt x="372173" y="28545"/>
                      <a:pt x="397433" y="18593"/>
                      <a:pt x="418706" y="554"/>
                    </a:cubicBezTo>
                    <a:cubicBezTo>
                      <a:pt x="495221" y="173036"/>
                      <a:pt x="685800" y="654123"/>
                      <a:pt x="685800" y="654123"/>
                    </a:cubicBezTo>
                    <a:lnTo>
                      <a:pt x="0" y="654123"/>
                    </a:lnTo>
                    <a:cubicBezTo>
                      <a:pt x="0" y="654123"/>
                      <a:pt x="190947" y="172543"/>
                      <a:pt x="267385" y="0"/>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52" name="Rounded Rectangle 8">
                <a:extLst>
                  <a:ext uri="{FF2B5EF4-FFF2-40B4-BE49-F238E27FC236}">
                    <a16:creationId xmlns:a16="http://schemas.microsoft.com/office/drawing/2014/main" id="{8A338515-7BA5-6618-CA4C-3393B406FEC9}"/>
                  </a:ext>
                </a:extLst>
              </p:cNvPr>
              <p:cNvSpPr/>
              <p:nvPr/>
            </p:nvSpPr>
            <p:spPr>
              <a:xfrm>
                <a:off x="2514600" y="4295821"/>
                <a:ext cx="914400" cy="390525"/>
              </a:xfrm>
              <a:custGeom>
                <a:avLst/>
                <a:gdLst/>
                <a:ahLst/>
                <a:cxnLst/>
                <a:rect l="0" t="0" r="0" b="0"/>
                <a:pathLst>
                  <a:path w="914400" h="390525">
                    <a:moveTo>
                      <a:pt x="838200" y="276225"/>
                    </a:moveTo>
                    <a:cubicBezTo>
                      <a:pt x="880283" y="276225"/>
                      <a:pt x="914400" y="310340"/>
                      <a:pt x="914400" y="352425"/>
                    </a:cubicBezTo>
                    <a:lnTo>
                      <a:pt x="914400" y="371475"/>
                    </a:lnTo>
                    <a:cubicBezTo>
                      <a:pt x="914400" y="381996"/>
                      <a:pt x="905870" y="390525"/>
                      <a:pt x="895350" y="390525"/>
                    </a:cubicBezTo>
                    <a:lnTo>
                      <a:pt x="19050" y="390525"/>
                    </a:lnTo>
                    <a:cubicBezTo>
                      <a:pt x="8528" y="390525"/>
                      <a:pt x="0" y="381996"/>
                      <a:pt x="0" y="371475"/>
                    </a:cubicBezTo>
                    <a:lnTo>
                      <a:pt x="0" y="352424"/>
                    </a:lnTo>
                    <a:cubicBezTo>
                      <a:pt x="0" y="310340"/>
                      <a:pt x="34116" y="276225"/>
                      <a:pt x="76200" y="276225"/>
                    </a:cubicBezTo>
                    <a:close/>
                    <a:moveTo>
                      <a:pt x="419099" y="210219"/>
                    </a:moveTo>
                    <a:lnTo>
                      <a:pt x="419099" y="123825"/>
                    </a:lnTo>
                    <a:lnTo>
                      <a:pt x="457199" y="85725"/>
                    </a:lnTo>
                    <a:lnTo>
                      <a:pt x="495299" y="123825"/>
                    </a:lnTo>
                    <a:lnTo>
                      <a:pt x="495299" y="210219"/>
                    </a:lnTo>
                    <a:cubicBezTo>
                      <a:pt x="484091" y="203735"/>
                      <a:pt x="471078" y="200025"/>
                      <a:pt x="457199" y="200025"/>
                    </a:cubicBezTo>
                    <a:cubicBezTo>
                      <a:pt x="443319" y="200025"/>
                      <a:pt x="430307" y="203735"/>
                      <a:pt x="419099" y="210219"/>
                    </a:cubicBezTo>
                    <a:close/>
                    <a:moveTo>
                      <a:pt x="380999" y="276225"/>
                    </a:moveTo>
                    <a:cubicBezTo>
                      <a:pt x="380999" y="248020"/>
                      <a:pt x="396323" y="223394"/>
                      <a:pt x="419099" y="210219"/>
                    </a:cubicBezTo>
                    <a:cubicBezTo>
                      <a:pt x="430307" y="203735"/>
                      <a:pt x="443319" y="200025"/>
                      <a:pt x="457199" y="200025"/>
                    </a:cubicBezTo>
                    <a:cubicBezTo>
                      <a:pt x="471078" y="200025"/>
                      <a:pt x="484091" y="203735"/>
                      <a:pt x="495299" y="210219"/>
                    </a:cubicBezTo>
                    <a:cubicBezTo>
                      <a:pt x="518075" y="223394"/>
                      <a:pt x="533399" y="248020"/>
                      <a:pt x="533399" y="276225"/>
                    </a:cubicBezTo>
                    <a:close/>
                    <a:moveTo>
                      <a:pt x="457200" y="0"/>
                    </a:moveTo>
                    <a:lnTo>
                      <a:pt x="457200" y="55245"/>
                    </a:lnTo>
                    <a:moveTo>
                      <a:pt x="652491" y="80933"/>
                    </a:moveTo>
                    <a:lnTo>
                      <a:pt x="613451" y="119974"/>
                    </a:lnTo>
                    <a:moveTo>
                      <a:pt x="300949" y="119974"/>
                    </a:moveTo>
                    <a:lnTo>
                      <a:pt x="261909" y="80933"/>
                    </a:lnTo>
                    <a:moveTo>
                      <a:pt x="521468" y="36093"/>
                    </a:moveTo>
                    <a:lnTo>
                      <a:pt x="514379" y="62703"/>
                    </a:lnTo>
                    <a:moveTo>
                      <a:pt x="332806" y="60953"/>
                    </a:moveTo>
                    <a:lnTo>
                      <a:pt x="346710" y="84893"/>
                    </a:lnTo>
                    <a:moveTo>
                      <a:pt x="581317" y="60861"/>
                    </a:moveTo>
                    <a:lnTo>
                      <a:pt x="567598" y="84708"/>
                    </a:lnTo>
                    <a:moveTo>
                      <a:pt x="392656" y="36185"/>
                    </a:moveTo>
                    <a:lnTo>
                      <a:pt x="399838" y="62795"/>
                    </a:lnTo>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12" name="Group 11">
              <a:extLst>
                <a:ext uri="{FF2B5EF4-FFF2-40B4-BE49-F238E27FC236}">
                  <a16:creationId xmlns:a16="http://schemas.microsoft.com/office/drawing/2014/main" id="{7ADCB95B-DA3B-06E5-C02B-90CC6162D009}"/>
                </a:ext>
              </a:extLst>
            </p:cNvPr>
            <p:cNvGrpSpPr/>
            <p:nvPr/>
          </p:nvGrpSpPr>
          <p:grpSpPr>
            <a:xfrm>
              <a:off x="4521509" y="4408399"/>
              <a:ext cx="685800" cy="171450"/>
              <a:chOff x="3429000" y="3429000"/>
              <a:chExt cx="685800" cy="171450"/>
            </a:xfrm>
          </p:grpSpPr>
          <p:sp>
            <p:nvSpPr>
              <p:cNvPr id="31" name="Rounded Rectangle 10">
                <a:extLst>
                  <a:ext uri="{FF2B5EF4-FFF2-40B4-BE49-F238E27FC236}">
                    <a16:creationId xmlns:a16="http://schemas.microsoft.com/office/drawing/2014/main" id="{B9862096-38C8-F775-5B85-236CA1BC2DB1}"/>
                  </a:ext>
                </a:extLst>
              </p:cNvPr>
              <p:cNvSpPr/>
              <p:nvPr/>
            </p:nvSpPr>
            <p:spPr>
              <a:xfrm>
                <a:off x="3429000" y="3429000"/>
                <a:ext cx="685800" cy="171450"/>
              </a:xfrm>
              <a:custGeom>
                <a:avLst/>
                <a:gdLst/>
                <a:ahLst/>
                <a:cxnLst/>
                <a:rect l="0" t="0" r="0" b="0"/>
                <a:pathLst>
                  <a:path w="685800" h="171450">
                    <a:moveTo>
                      <a:pt x="0" y="17145"/>
                    </a:moveTo>
                    <a:cubicBezTo>
                      <a:pt x="0" y="7676"/>
                      <a:pt x="7676" y="0"/>
                      <a:pt x="17145" y="0"/>
                    </a:cubicBezTo>
                    <a:lnTo>
                      <a:pt x="668655" y="0"/>
                    </a:lnTo>
                    <a:cubicBezTo>
                      <a:pt x="678123" y="0"/>
                      <a:pt x="685800" y="7676"/>
                      <a:pt x="685800" y="17145"/>
                    </a:cubicBezTo>
                    <a:cubicBezTo>
                      <a:pt x="685800" y="102365"/>
                      <a:pt x="616715" y="171450"/>
                      <a:pt x="531495" y="171450"/>
                    </a:cubicBezTo>
                    <a:lnTo>
                      <a:pt x="154305" y="171450"/>
                    </a:lnTo>
                    <a:cubicBezTo>
                      <a:pt x="69084" y="171450"/>
                      <a:pt x="0" y="102365"/>
                      <a:pt x="0" y="17145"/>
                    </a:cubicBezTo>
                    <a:close/>
                  </a:path>
                </a:pathLst>
              </a:custGeom>
              <a:solidFill>
                <a:srgbClr val="464646"/>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48" name="Rounded Rectangle 11">
                <a:extLst>
                  <a:ext uri="{FF2B5EF4-FFF2-40B4-BE49-F238E27FC236}">
                    <a16:creationId xmlns:a16="http://schemas.microsoft.com/office/drawing/2014/main" id="{84470A5C-AF8D-E7D1-DE24-823FD3F4A910}"/>
                  </a:ext>
                </a:extLst>
              </p:cNvPr>
              <p:cNvSpPr/>
              <p:nvPr/>
            </p:nvSpPr>
            <p:spPr>
              <a:xfrm>
                <a:off x="3429000" y="3429000"/>
                <a:ext cx="685800" cy="171450"/>
              </a:xfrm>
              <a:custGeom>
                <a:avLst/>
                <a:gdLst/>
                <a:ahLst/>
                <a:cxnLst/>
                <a:rect l="0" t="0" r="0" b="0"/>
                <a:pathLst>
                  <a:path w="685800" h="171450">
                    <a:moveTo>
                      <a:pt x="0" y="17145"/>
                    </a:moveTo>
                    <a:cubicBezTo>
                      <a:pt x="0" y="7676"/>
                      <a:pt x="7676" y="0"/>
                      <a:pt x="17145" y="0"/>
                    </a:cubicBezTo>
                    <a:lnTo>
                      <a:pt x="668655" y="0"/>
                    </a:lnTo>
                    <a:cubicBezTo>
                      <a:pt x="678123" y="0"/>
                      <a:pt x="685800" y="7676"/>
                      <a:pt x="685800" y="17145"/>
                    </a:cubicBezTo>
                    <a:cubicBezTo>
                      <a:pt x="685800" y="102365"/>
                      <a:pt x="616715" y="171450"/>
                      <a:pt x="531495" y="171450"/>
                    </a:cubicBezTo>
                    <a:lnTo>
                      <a:pt x="154305" y="171450"/>
                    </a:lnTo>
                    <a:cubicBezTo>
                      <a:pt x="69084" y="171450"/>
                      <a:pt x="0" y="102365"/>
                      <a:pt x="0" y="17145"/>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13" name="Group 12">
              <a:extLst>
                <a:ext uri="{FF2B5EF4-FFF2-40B4-BE49-F238E27FC236}">
                  <a16:creationId xmlns:a16="http://schemas.microsoft.com/office/drawing/2014/main" id="{4B2951F2-3DA3-371B-EC3C-58083D748BD5}"/>
                </a:ext>
              </a:extLst>
            </p:cNvPr>
            <p:cNvGrpSpPr/>
            <p:nvPr/>
          </p:nvGrpSpPr>
          <p:grpSpPr>
            <a:xfrm>
              <a:off x="2921309" y="4408399"/>
              <a:ext cx="685800" cy="171450"/>
              <a:chOff x="1828800" y="3429000"/>
              <a:chExt cx="685800" cy="171450"/>
            </a:xfrm>
          </p:grpSpPr>
          <p:sp>
            <p:nvSpPr>
              <p:cNvPr id="29" name="Rounded Rectangle 13">
                <a:extLst>
                  <a:ext uri="{FF2B5EF4-FFF2-40B4-BE49-F238E27FC236}">
                    <a16:creationId xmlns:a16="http://schemas.microsoft.com/office/drawing/2014/main" id="{85F74F3B-0CB5-762A-8A12-4583422B9931}"/>
                  </a:ext>
                </a:extLst>
              </p:cNvPr>
              <p:cNvSpPr/>
              <p:nvPr/>
            </p:nvSpPr>
            <p:spPr>
              <a:xfrm>
                <a:off x="1828800" y="3429000"/>
                <a:ext cx="685800" cy="171450"/>
              </a:xfrm>
              <a:custGeom>
                <a:avLst/>
                <a:gdLst/>
                <a:ahLst/>
                <a:cxnLst/>
                <a:rect l="0" t="0" r="0" b="0"/>
                <a:pathLst>
                  <a:path w="685800" h="171450">
                    <a:moveTo>
                      <a:pt x="0" y="17145"/>
                    </a:moveTo>
                    <a:cubicBezTo>
                      <a:pt x="0" y="7676"/>
                      <a:pt x="7676" y="0"/>
                      <a:pt x="17145" y="0"/>
                    </a:cubicBezTo>
                    <a:lnTo>
                      <a:pt x="668655" y="0"/>
                    </a:lnTo>
                    <a:cubicBezTo>
                      <a:pt x="678123" y="0"/>
                      <a:pt x="685800" y="7676"/>
                      <a:pt x="685800" y="17145"/>
                    </a:cubicBezTo>
                    <a:cubicBezTo>
                      <a:pt x="685800" y="102365"/>
                      <a:pt x="616715" y="171450"/>
                      <a:pt x="531495" y="171450"/>
                    </a:cubicBezTo>
                    <a:lnTo>
                      <a:pt x="154305" y="171450"/>
                    </a:lnTo>
                    <a:cubicBezTo>
                      <a:pt x="69084" y="171450"/>
                      <a:pt x="0" y="102365"/>
                      <a:pt x="0" y="17145"/>
                    </a:cubicBezTo>
                    <a:close/>
                  </a:path>
                </a:pathLst>
              </a:custGeom>
              <a:solidFill>
                <a:srgbClr val="464646"/>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30" name="Rounded Rectangle 14">
                <a:extLst>
                  <a:ext uri="{FF2B5EF4-FFF2-40B4-BE49-F238E27FC236}">
                    <a16:creationId xmlns:a16="http://schemas.microsoft.com/office/drawing/2014/main" id="{58121B14-B065-364C-1DE8-2105550462A7}"/>
                  </a:ext>
                </a:extLst>
              </p:cNvPr>
              <p:cNvSpPr/>
              <p:nvPr/>
            </p:nvSpPr>
            <p:spPr>
              <a:xfrm>
                <a:off x="1828800" y="3429000"/>
                <a:ext cx="685800" cy="171450"/>
              </a:xfrm>
              <a:custGeom>
                <a:avLst/>
                <a:gdLst/>
                <a:ahLst/>
                <a:cxnLst/>
                <a:rect l="0" t="0" r="0" b="0"/>
                <a:pathLst>
                  <a:path w="685800" h="171450">
                    <a:moveTo>
                      <a:pt x="0" y="17145"/>
                    </a:moveTo>
                    <a:cubicBezTo>
                      <a:pt x="0" y="7676"/>
                      <a:pt x="7676" y="0"/>
                      <a:pt x="17145" y="0"/>
                    </a:cubicBezTo>
                    <a:lnTo>
                      <a:pt x="668655" y="0"/>
                    </a:lnTo>
                    <a:cubicBezTo>
                      <a:pt x="678123" y="0"/>
                      <a:pt x="685800" y="7676"/>
                      <a:pt x="685800" y="17145"/>
                    </a:cubicBezTo>
                    <a:cubicBezTo>
                      <a:pt x="685800" y="102365"/>
                      <a:pt x="616715" y="171450"/>
                      <a:pt x="531495" y="171450"/>
                    </a:cubicBezTo>
                    <a:lnTo>
                      <a:pt x="154305" y="171450"/>
                    </a:lnTo>
                    <a:cubicBezTo>
                      <a:pt x="69084" y="171450"/>
                      <a:pt x="0" y="102365"/>
                      <a:pt x="0" y="17145"/>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sp>
          <p:nvSpPr>
            <p:cNvPr id="14" name="TextBox 16">
              <a:extLst>
                <a:ext uri="{FF2B5EF4-FFF2-40B4-BE49-F238E27FC236}">
                  <a16:creationId xmlns:a16="http://schemas.microsoft.com/office/drawing/2014/main" id="{C18321C1-2609-3247-E7C4-65231F26B6DD}"/>
                </a:ext>
              </a:extLst>
            </p:cNvPr>
            <p:cNvSpPr txBox="1"/>
            <p:nvPr/>
          </p:nvSpPr>
          <p:spPr>
            <a:xfrm>
              <a:off x="2615001" y="1485176"/>
              <a:ext cx="3344575" cy="25325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800" b="1" noProof="0">
                  <a:solidFill>
                    <a:srgbClr val="464646"/>
                  </a:solidFill>
                  <a:latin typeface="Avenir LT Pro 45Book"/>
                </a:rPr>
                <a:t>Balancing Value Proposition Strategies</a:t>
              </a:r>
            </a:p>
          </p:txBody>
        </p:sp>
        <p:sp>
          <p:nvSpPr>
            <p:cNvPr id="15" name="TextBox 17">
              <a:extLst>
                <a:ext uri="{FF2B5EF4-FFF2-40B4-BE49-F238E27FC236}">
                  <a16:creationId xmlns:a16="http://schemas.microsoft.com/office/drawing/2014/main" id="{417317DC-BD89-A16E-D0FE-B10BCE74394F}"/>
                </a:ext>
              </a:extLst>
            </p:cNvPr>
            <p:cNvSpPr txBox="1"/>
            <p:nvPr/>
          </p:nvSpPr>
          <p:spPr>
            <a:xfrm>
              <a:off x="1778040" y="2093824"/>
              <a:ext cx="1154253" cy="422095"/>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500" b="0" noProof="0">
                  <a:solidFill>
                    <a:srgbClr val="464646"/>
                  </a:solidFill>
                  <a:latin typeface="Avenir LT Pro 45Book"/>
                </a:rPr>
                <a:t>Broad Customer
Appeal</a:t>
              </a:r>
            </a:p>
          </p:txBody>
        </p:sp>
        <p:sp>
          <p:nvSpPr>
            <p:cNvPr id="16" name="TextBox 18">
              <a:extLst>
                <a:ext uri="{FF2B5EF4-FFF2-40B4-BE49-F238E27FC236}">
                  <a16:creationId xmlns:a16="http://schemas.microsoft.com/office/drawing/2014/main" id="{20FA81FE-C883-F141-027F-520A410DF06C}"/>
                </a:ext>
              </a:extLst>
            </p:cNvPr>
            <p:cNvSpPr txBox="1"/>
            <p:nvPr/>
          </p:nvSpPr>
          <p:spPr>
            <a:xfrm>
              <a:off x="5226359" y="2093824"/>
              <a:ext cx="1181983" cy="422095"/>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500" b="0" noProof="0">
                  <a:solidFill>
                    <a:srgbClr val="464646"/>
                  </a:solidFill>
                  <a:latin typeface="Avenir LT Pro 45Book"/>
                </a:rPr>
                <a:t>Tailored
Customer Needs</a:t>
              </a:r>
            </a:p>
          </p:txBody>
        </p:sp>
        <p:sp>
          <p:nvSpPr>
            <p:cNvPr id="17" name="TextBox 19">
              <a:extLst>
                <a:ext uri="{FF2B5EF4-FFF2-40B4-BE49-F238E27FC236}">
                  <a16:creationId xmlns:a16="http://schemas.microsoft.com/office/drawing/2014/main" id="{3A0E2B28-295E-F725-C6A7-BB84BE16E658}"/>
                </a:ext>
              </a:extLst>
            </p:cNvPr>
            <p:cNvSpPr txBox="1"/>
            <p:nvPr/>
          </p:nvSpPr>
          <p:spPr>
            <a:xfrm>
              <a:off x="2107157" y="2893924"/>
              <a:ext cx="825136" cy="422095"/>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500" b="0" noProof="0">
                  <a:solidFill>
                    <a:srgbClr val="464646"/>
                  </a:solidFill>
                  <a:latin typeface="Avenir LT Pro 45Book"/>
                </a:rPr>
                <a:t>Specialised
Capabilities</a:t>
              </a:r>
            </a:p>
          </p:txBody>
        </p:sp>
        <p:sp>
          <p:nvSpPr>
            <p:cNvPr id="18" name="TextBox 20">
              <a:extLst>
                <a:ext uri="{FF2B5EF4-FFF2-40B4-BE49-F238E27FC236}">
                  <a16:creationId xmlns:a16="http://schemas.microsoft.com/office/drawing/2014/main" id="{A291F17D-5593-804D-1D8B-282DBBB9A2ED}"/>
                </a:ext>
              </a:extLst>
            </p:cNvPr>
            <p:cNvSpPr txBox="1"/>
            <p:nvPr/>
          </p:nvSpPr>
          <p:spPr>
            <a:xfrm>
              <a:off x="5226359" y="2893924"/>
              <a:ext cx="825137" cy="422095"/>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500" b="0" noProof="0">
                  <a:solidFill>
                    <a:srgbClr val="464646"/>
                  </a:solidFill>
                  <a:latin typeface="Avenir LT Pro 45Book"/>
                </a:rPr>
                <a:t>Diverse
Capabilities</a:t>
              </a:r>
            </a:p>
          </p:txBody>
        </p:sp>
        <p:sp>
          <p:nvSpPr>
            <p:cNvPr id="19" name="TextBox 21">
              <a:extLst>
                <a:ext uri="{FF2B5EF4-FFF2-40B4-BE49-F238E27FC236}">
                  <a16:creationId xmlns:a16="http://schemas.microsoft.com/office/drawing/2014/main" id="{C882CEEF-2646-BA06-018E-A9ADDF1D2782}"/>
                </a:ext>
              </a:extLst>
            </p:cNvPr>
            <p:cNvSpPr txBox="1"/>
            <p:nvPr/>
          </p:nvSpPr>
          <p:spPr>
            <a:xfrm>
              <a:off x="2008257" y="3694024"/>
              <a:ext cx="924036" cy="422095"/>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500" b="0" noProof="0">
                  <a:solidFill>
                    <a:srgbClr val="464646"/>
                  </a:solidFill>
                  <a:latin typeface="Avenir LT Pro 45Book"/>
                </a:rPr>
                <a:t>Clear Market
Focus</a:t>
              </a:r>
            </a:p>
          </p:txBody>
        </p:sp>
        <p:sp>
          <p:nvSpPr>
            <p:cNvPr id="20" name="TextBox 22">
              <a:extLst>
                <a:ext uri="{FF2B5EF4-FFF2-40B4-BE49-F238E27FC236}">
                  <a16:creationId xmlns:a16="http://schemas.microsoft.com/office/drawing/2014/main" id="{B97A7EC6-A0B4-DC5C-9D3D-3C728A1D3514}"/>
                </a:ext>
              </a:extLst>
            </p:cNvPr>
            <p:cNvSpPr txBox="1"/>
            <p:nvPr/>
          </p:nvSpPr>
          <p:spPr>
            <a:xfrm>
              <a:off x="5226359" y="3694024"/>
              <a:ext cx="1546686" cy="422095"/>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500" b="0" noProof="0">
                  <a:solidFill>
                    <a:srgbClr val="464646"/>
                  </a:solidFill>
                  <a:latin typeface="Avenir LT Pro 45Book"/>
                </a:rPr>
                <a:t>Different Competitive</a:t>
              </a:r>
            </a:p>
            <a:p>
              <a:pPr algn="l"/>
              <a:r>
                <a:rPr lang="en-GB" sz="1500" noProof="0">
                  <a:solidFill>
                    <a:srgbClr val="464646"/>
                  </a:solidFill>
                  <a:latin typeface="Avenir LT Pro 45Book"/>
                </a:rPr>
                <a:t>Approaches</a:t>
              </a:r>
              <a:endParaRPr lang="en-GB" sz="1500" b="0" noProof="0">
                <a:solidFill>
                  <a:srgbClr val="464646"/>
                </a:solidFill>
                <a:latin typeface="Avenir LT Pro 45Book"/>
              </a:endParaRPr>
            </a:p>
          </p:txBody>
        </p:sp>
        <p:sp>
          <p:nvSpPr>
            <p:cNvPr id="21" name="TextBox 23">
              <a:extLst>
                <a:ext uri="{FF2B5EF4-FFF2-40B4-BE49-F238E27FC236}">
                  <a16:creationId xmlns:a16="http://schemas.microsoft.com/office/drawing/2014/main" id="{8D83B3E7-FB62-0985-96DC-9C915C359C1E}"/>
                </a:ext>
              </a:extLst>
            </p:cNvPr>
            <p:cNvSpPr txBox="1"/>
            <p:nvPr/>
          </p:nvSpPr>
          <p:spPr>
            <a:xfrm>
              <a:off x="2049469" y="5113249"/>
              <a:ext cx="878427" cy="422095"/>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500" b="1" noProof="0">
                  <a:solidFill>
                    <a:srgbClr val="464646"/>
                  </a:solidFill>
                  <a:latin typeface="Avenir LT Pro 45Book"/>
                </a:rPr>
                <a:t>Single Value
Proposition</a:t>
              </a:r>
            </a:p>
          </p:txBody>
        </p:sp>
        <p:sp>
          <p:nvSpPr>
            <p:cNvPr id="22" name="TextBox 24">
              <a:extLst>
                <a:ext uri="{FF2B5EF4-FFF2-40B4-BE49-F238E27FC236}">
                  <a16:creationId xmlns:a16="http://schemas.microsoft.com/office/drawing/2014/main" id="{AA6B11AA-E145-334E-EB72-DA4BF85FCD58}"/>
                </a:ext>
              </a:extLst>
            </p:cNvPr>
            <p:cNvSpPr txBox="1"/>
            <p:nvPr/>
          </p:nvSpPr>
          <p:spPr>
            <a:xfrm>
              <a:off x="5149535" y="5113249"/>
              <a:ext cx="1063093" cy="422095"/>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500" b="1" noProof="0">
                  <a:solidFill>
                    <a:srgbClr val="464646"/>
                  </a:solidFill>
                  <a:latin typeface="Avenir LT Pro 45Book"/>
                </a:rPr>
                <a:t>Multiple Value
Propositions</a:t>
              </a:r>
            </a:p>
          </p:txBody>
        </p:sp>
        <p:sp>
          <p:nvSpPr>
            <p:cNvPr id="23" name="Rounded Rectangle 25">
              <a:extLst>
                <a:ext uri="{FF2B5EF4-FFF2-40B4-BE49-F238E27FC236}">
                  <a16:creationId xmlns:a16="http://schemas.microsoft.com/office/drawing/2014/main" id="{7130C810-78EA-477A-2C18-02080B815662}"/>
                </a:ext>
              </a:extLst>
            </p:cNvPr>
            <p:cNvSpPr/>
            <p:nvPr/>
          </p:nvSpPr>
          <p:spPr>
            <a:xfrm>
              <a:off x="3049761" y="2055724"/>
              <a:ext cx="419371" cy="438201"/>
            </a:xfrm>
            <a:custGeom>
              <a:avLst/>
              <a:gdLst/>
              <a:ahLst/>
              <a:cxnLst/>
              <a:rect l="0" t="0" r="0" b="0"/>
              <a:pathLst>
                <a:path w="419371" h="438201">
                  <a:moveTo>
                    <a:pt x="335531" y="152400"/>
                  </a:moveTo>
                  <a:lnTo>
                    <a:pt x="362011" y="152400"/>
                  </a:lnTo>
                  <a:moveTo>
                    <a:pt x="302384" y="59245"/>
                  </a:moveTo>
                  <a:lnTo>
                    <a:pt x="322196" y="39433"/>
                  </a:lnTo>
                  <a:moveTo>
                    <a:pt x="209611" y="26479"/>
                  </a:moveTo>
                  <a:lnTo>
                    <a:pt x="209611" y="0"/>
                  </a:lnTo>
                  <a:moveTo>
                    <a:pt x="116837" y="59245"/>
                  </a:moveTo>
                  <a:lnTo>
                    <a:pt x="97025" y="39433"/>
                  </a:lnTo>
                  <a:moveTo>
                    <a:pt x="83690" y="152400"/>
                  </a:moveTo>
                  <a:lnTo>
                    <a:pt x="57211" y="152400"/>
                  </a:lnTo>
                  <a:moveTo>
                    <a:pt x="414779" y="282511"/>
                  </a:moveTo>
                  <a:cubicBezTo>
                    <a:pt x="417636" y="284250"/>
                    <a:pt x="419371" y="287359"/>
                    <a:pt x="419351" y="290703"/>
                  </a:cubicBezTo>
                  <a:lnTo>
                    <a:pt x="419351" y="428625"/>
                  </a:lnTo>
                  <a:cubicBezTo>
                    <a:pt x="419352" y="431184"/>
                    <a:pt x="418322" y="433636"/>
                    <a:pt x="416495" y="435428"/>
                  </a:cubicBezTo>
                  <a:cubicBezTo>
                    <a:pt x="414667" y="437220"/>
                    <a:pt x="412195" y="438201"/>
                    <a:pt x="409636" y="438150"/>
                  </a:cubicBezTo>
                  <a:lnTo>
                    <a:pt x="9586" y="438150"/>
                  </a:lnTo>
                  <a:cubicBezTo>
                    <a:pt x="4325" y="438150"/>
                    <a:pt x="61" y="433885"/>
                    <a:pt x="61" y="428625"/>
                  </a:cubicBezTo>
                  <a:lnTo>
                    <a:pt x="61" y="290703"/>
                  </a:lnTo>
                  <a:cubicBezTo>
                    <a:pt x="0" y="287298"/>
                    <a:pt x="1835" y="284142"/>
                    <a:pt x="4823" y="282511"/>
                  </a:cubicBezTo>
                  <a:cubicBezTo>
                    <a:pt x="109408" y="220218"/>
                    <a:pt x="310004" y="219075"/>
                    <a:pt x="414779" y="282511"/>
                  </a:cubicBezTo>
                  <a:close/>
                  <a:moveTo>
                    <a:pt x="245234" y="236410"/>
                  </a:moveTo>
                  <a:lnTo>
                    <a:pt x="307337" y="437768"/>
                  </a:lnTo>
                  <a:moveTo>
                    <a:pt x="273047" y="238886"/>
                  </a:moveTo>
                  <a:lnTo>
                    <a:pt x="419161" y="418337"/>
                  </a:lnTo>
                  <a:moveTo>
                    <a:pt x="173987" y="236601"/>
                  </a:moveTo>
                  <a:lnTo>
                    <a:pt x="111884" y="437769"/>
                  </a:lnTo>
                  <a:moveTo>
                    <a:pt x="148079" y="238886"/>
                  </a:moveTo>
                  <a:lnTo>
                    <a:pt x="61" y="420433"/>
                  </a:lnTo>
                  <a:moveTo>
                    <a:pt x="209611" y="235458"/>
                  </a:moveTo>
                  <a:lnTo>
                    <a:pt x="209611" y="437769"/>
                  </a:lnTo>
                  <a:moveTo>
                    <a:pt x="127886" y="201168"/>
                  </a:moveTo>
                  <a:cubicBezTo>
                    <a:pt x="119129" y="186410"/>
                    <a:pt x="114522" y="169560"/>
                    <a:pt x="114551" y="152400"/>
                  </a:cubicBezTo>
                  <a:cubicBezTo>
                    <a:pt x="114593" y="112139"/>
                    <a:pt x="139943" y="76253"/>
                    <a:pt x="177874" y="62757"/>
                  </a:cubicBezTo>
                  <a:cubicBezTo>
                    <a:pt x="215806" y="49262"/>
                    <a:pt x="258125" y="61074"/>
                    <a:pt x="283586" y="92261"/>
                  </a:cubicBezTo>
                  <a:cubicBezTo>
                    <a:pt x="309047" y="123449"/>
                    <a:pt x="312149" y="167276"/>
                    <a:pt x="291335" y="201739"/>
                  </a:cubicBezTo>
                </a:path>
              </a:pathLst>
            </a:custGeom>
            <a:noFill/>
            <a:ln w="7143">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4" name="Rounded Rectangle 26">
              <a:extLst>
                <a:ext uri="{FF2B5EF4-FFF2-40B4-BE49-F238E27FC236}">
                  <a16:creationId xmlns:a16="http://schemas.microsoft.com/office/drawing/2014/main" id="{342636AA-3C00-7315-989A-A8B6B71EAB6C}"/>
                </a:ext>
              </a:extLst>
            </p:cNvPr>
            <p:cNvSpPr/>
            <p:nvPr/>
          </p:nvSpPr>
          <p:spPr>
            <a:xfrm>
              <a:off x="4644684" y="2084299"/>
              <a:ext cx="439638" cy="438258"/>
            </a:xfrm>
            <a:custGeom>
              <a:avLst/>
              <a:gdLst/>
              <a:ahLst/>
              <a:cxnLst/>
              <a:rect l="0" t="0" r="0" b="0"/>
              <a:pathLst>
                <a:path w="439638" h="438258">
                  <a:moveTo>
                    <a:pt x="299924" y="20383"/>
                  </a:moveTo>
                  <a:lnTo>
                    <a:pt x="381649" y="47625"/>
                  </a:lnTo>
                  <a:lnTo>
                    <a:pt x="334024" y="180975"/>
                  </a:lnTo>
                  <a:lnTo>
                    <a:pt x="353074" y="428625"/>
                  </a:lnTo>
                  <a:cubicBezTo>
                    <a:pt x="353235" y="431130"/>
                    <a:pt x="352336" y="433588"/>
                    <a:pt x="350598" y="435399"/>
                  </a:cubicBezTo>
                  <a:cubicBezTo>
                    <a:pt x="348859" y="437210"/>
                    <a:pt x="346440" y="438208"/>
                    <a:pt x="343930" y="438150"/>
                  </a:cubicBezTo>
                  <a:lnTo>
                    <a:pt x="267730" y="438150"/>
                  </a:lnTo>
                  <a:cubicBezTo>
                    <a:pt x="261807" y="437806"/>
                    <a:pt x="256261" y="435136"/>
                    <a:pt x="252299" y="430720"/>
                  </a:cubicBezTo>
                  <a:lnTo>
                    <a:pt x="219724" y="390525"/>
                  </a:lnTo>
                  <a:lnTo>
                    <a:pt x="187529" y="430720"/>
                  </a:lnTo>
                  <a:cubicBezTo>
                    <a:pt x="183543" y="435102"/>
                    <a:pt x="178011" y="437766"/>
                    <a:pt x="172099" y="438150"/>
                  </a:cubicBezTo>
                  <a:lnTo>
                    <a:pt x="95899" y="438150"/>
                  </a:lnTo>
                  <a:cubicBezTo>
                    <a:pt x="93341" y="438258"/>
                    <a:pt x="90854" y="437290"/>
                    <a:pt x="89044" y="435480"/>
                  </a:cubicBezTo>
                  <a:cubicBezTo>
                    <a:pt x="87233" y="433669"/>
                    <a:pt x="86265" y="431183"/>
                    <a:pt x="86374" y="428625"/>
                  </a:cubicBezTo>
                  <a:lnTo>
                    <a:pt x="105424" y="180975"/>
                  </a:lnTo>
                  <a:lnTo>
                    <a:pt x="57799" y="47625"/>
                  </a:lnTo>
                  <a:lnTo>
                    <a:pt x="139523" y="20383"/>
                  </a:lnTo>
                  <a:moveTo>
                    <a:pt x="219724" y="390525"/>
                  </a:moveTo>
                  <a:lnTo>
                    <a:pt x="219724" y="276225"/>
                  </a:lnTo>
                  <a:moveTo>
                    <a:pt x="257824" y="0"/>
                  </a:moveTo>
                  <a:cubicBezTo>
                    <a:pt x="251537" y="76200"/>
                    <a:pt x="248299" y="180975"/>
                    <a:pt x="219724" y="276225"/>
                  </a:cubicBezTo>
                  <a:cubicBezTo>
                    <a:pt x="191149" y="180975"/>
                    <a:pt x="187910" y="76200"/>
                    <a:pt x="181624" y="0"/>
                  </a:cubicBezTo>
                  <a:moveTo>
                    <a:pt x="181624" y="0"/>
                  </a:moveTo>
                  <a:cubicBezTo>
                    <a:pt x="155525" y="0"/>
                    <a:pt x="132475" y="22860"/>
                    <a:pt x="118759" y="49339"/>
                  </a:cubicBezTo>
                  <a:cubicBezTo>
                    <a:pt x="116454" y="53638"/>
                    <a:pt x="117770" y="58983"/>
                    <a:pt x="121807" y="61722"/>
                  </a:cubicBezTo>
                  <a:lnTo>
                    <a:pt x="143524" y="76200"/>
                  </a:lnTo>
                  <a:lnTo>
                    <a:pt x="127141" y="100012"/>
                  </a:lnTo>
                  <a:cubicBezTo>
                    <a:pt x="125323" y="102995"/>
                    <a:pt x="125323" y="106744"/>
                    <a:pt x="127141" y="109727"/>
                  </a:cubicBezTo>
                  <a:cubicBezTo>
                    <a:pt x="153430" y="160401"/>
                    <a:pt x="164288" y="248602"/>
                    <a:pt x="219724" y="276225"/>
                  </a:cubicBezTo>
                  <a:cubicBezTo>
                    <a:pt x="274969" y="248602"/>
                    <a:pt x="286018" y="160401"/>
                    <a:pt x="311735" y="109727"/>
                  </a:cubicBezTo>
                  <a:cubicBezTo>
                    <a:pt x="313432" y="106711"/>
                    <a:pt x="313432" y="103028"/>
                    <a:pt x="311735" y="100012"/>
                  </a:cubicBezTo>
                  <a:lnTo>
                    <a:pt x="295924" y="76200"/>
                  </a:lnTo>
                  <a:lnTo>
                    <a:pt x="317641" y="61722"/>
                  </a:lnTo>
                  <a:cubicBezTo>
                    <a:pt x="321677" y="58983"/>
                    <a:pt x="322993" y="53638"/>
                    <a:pt x="320689" y="49339"/>
                  </a:cubicBezTo>
                  <a:cubicBezTo>
                    <a:pt x="306782" y="22860"/>
                    <a:pt x="283922" y="0"/>
                    <a:pt x="257824" y="0"/>
                  </a:cubicBezTo>
                  <a:close/>
                  <a:moveTo>
                    <a:pt x="162574" y="342900"/>
                  </a:moveTo>
                  <a:lnTo>
                    <a:pt x="133999" y="342900"/>
                  </a:lnTo>
                  <a:moveTo>
                    <a:pt x="305449" y="342900"/>
                  </a:moveTo>
                  <a:lnTo>
                    <a:pt x="276874" y="342900"/>
                  </a:lnTo>
                  <a:moveTo>
                    <a:pt x="105424" y="180975"/>
                  </a:moveTo>
                  <a:lnTo>
                    <a:pt x="60847" y="401193"/>
                  </a:lnTo>
                  <a:cubicBezTo>
                    <a:pt x="60269" y="403938"/>
                    <a:pt x="58532" y="406299"/>
                    <a:pt x="56084" y="407670"/>
                  </a:cubicBezTo>
                  <a:cubicBezTo>
                    <a:pt x="53606" y="408811"/>
                    <a:pt x="50752" y="408811"/>
                    <a:pt x="48274" y="407670"/>
                  </a:cubicBezTo>
                  <a:lnTo>
                    <a:pt x="6935" y="393192"/>
                  </a:lnTo>
                  <a:cubicBezTo>
                    <a:pt x="2575" y="391597"/>
                    <a:pt x="0" y="387090"/>
                    <a:pt x="839" y="382523"/>
                  </a:cubicBezTo>
                  <a:cubicBezTo>
                    <a:pt x="7697" y="342900"/>
                    <a:pt x="31319" y="161925"/>
                    <a:pt x="57799" y="47625"/>
                  </a:cubicBezTo>
                  <a:moveTo>
                    <a:pt x="381649" y="47625"/>
                  </a:moveTo>
                  <a:cubicBezTo>
                    <a:pt x="408128" y="161925"/>
                    <a:pt x="431750" y="342900"/>
                    <a:pt x="438799" y="382523"/>
                  </a:cubicBezTo>
                  <a:cubicBezTo>
                    <a:pt x="439638" y="387090"/>
                    <a:pt x="437063" y="391597"/>
                    <a:pt x="432703" y="393192"/>
                  </a:cubicBezTo>
                  <a:lnTo>
                    <a:pt x="391174" y="407670"/>
                  </a:lnTo>
                  <a:cubicBezTo>
                    <a:pt x="388695" y="408811"/>
                    <a:pt x="385842" y="408811"/>
                    <a:pt x="383363" y="407670"/>
                  </a:cubicBezTo>
                  <a:cubicBezTo>
                    <a:pt x="380915" y="406299"/>
                    <a:pt x="379179" y="403938"/>
                    <a:pt x="378601" y="401193"/>
                  </a:cubicBezTo>
                  <a:lnTo>
                    <a:pt x="334024" y="180975"/>
                  </a:lnTo>
                </a:path>
              </a:pathLst>
            </a:custGeom>
            <a:noFill/>
            <a:ln w="7143">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5" name="Rounded Rectangle 27">
              <a:extLst>
                <a:ext uri="{FF2B5EF4-FFF2-40B4-BE49-F238E27FC236}">
                  <a16:creationId xmlns:a16="http://schemas.microsoft.com/office/drawing/2014/main" id="{B9F2CAE5-CF95-88C4-A5C8-646DB96568F0}"/>
                </a:ext>
              </a:extLst>
            </p:cNvPr>
            <p:cNvSpPr/>
            <p:nvPr/>
          </p:nvSpPr>
          <p:spPr>
            <a:xfrm>
              <a:off x="3037197" y="2846299"/>
              <a:ext cx="444499" cy="446953"/>
            </a:xfrm>
            <a:custGeom>
              <a:avLst/>
              <a:gdLst/>
              <a:ahLst/>
              <a:cxnLst/>
              <a:rect l="0" t="0" r="0" b="0"/>
              <a:pathLst>
                <a:path w="444499" h="446953">
                  <a:moveTo>
                    <a:pt x="229516" y="186869"/>
                  </a:moveTo>
                  <a:cubicBezTo>
                    <a:pt x="249436" y="186869"/>
                    <a:pt x="265585" y="170720"/>
                    <a:pt x="265585" y="150799"/>
                  </a:cubicBezTo>
                  <a:cubicBezTo>
                    <a:pt x="265585" y="130878"/>
                    <a:pt x="249436" y="114729"/>
                    <a:pt x="229516" y="114729"/>
                  </a:cubicBezTo>
                  <a:cubicBezTo>
                    <a:pt x="209595" y="114729"/>
                    <a:pt x="193447" y="130878"/>
                    <a:pt x="193447" y="150799"/>
                  </a:cubicBezTo>
                  <a:cubicBezTo>
                    <a:pt x="193447" y="170720"/>
                    <a:pt x="209595" y="186869"/>
                    <a:pt x="229516" y="186869"/>
                  </a:cubicBezTo>
                  <a:close/>
                  <a:moveTo>
                    <a:pt x="0" y="0"/>
                  </a:moveTo>
                  <a:moveTo>
                    <a:pt x="178162" y="190665"/>
                  </a:moveTo>
                  <a:lnTo>
                    <a:pt x="176285" y="181156"/>
                  </a:lnTo>
                  <a:cubicBezTo>
                    <a:pt x="166897" y="147873"/>
                    <a:pt x="166897" y="112213"/>
                    <a:pt x="178162" y="78930"/>
                  </a:cubicBezTo>
                  <a:cubicBezTo>
                    <a:pt x="189427" y="45647"/>
                    <a:pt x="206789" y="23796"/>
                    <a:pt x="229320" y="14287"/>
                  </a:cubicBezTo>
                  <a:cubicBezTo>
                    <a:pt x="251850" y="23796"/>
                    <a:pt x="269540" y="45647"/>
                    <a:pt x="280806" y="78930"/>
                  </a:cubicBezTo>
                  <a:cubicBezTo>
                    <a:pt x="292070" y="112213"/>
                    <a:pt x="292070" y="147873"/>
                    <a:pt x="282682" y="181156"/>
                  </a:cubicBezTo>
                  <a:lnTo>
                    <a:pt x="280806" y="190665"/>
                  </a:lnTo>
                  <a:moveTo>
                    <a:pt x="0" y="0"/>
                  </a:moveTo>
                  <a:moveTo>
                    <a:pt x="293937" y="232430"/>
                  </a:moveTo>
                  <a:lnTo>
                    <a:pt x="231289" y="253313"/>
                  </a:lnTo>
                  <a:moveTo>
                    <a:pt x="0" y="0"/>
                  </a:moveTo>
                  <a:moveTo>
                    <a:pt x="265090" y="145288"/>
                  </a:moveTo>
                  <a:lnTo>
                    <a:pt x="348994" y="399491"/>
                  </a:lnTo>
                  <a:cubicBezTo>
                    <a:pt x="354690" y="416577"/>
                    <a:pt x="345197" y="435561"/>
                    <a:pt x="328111" y="441257"/>
                  </a:cubicBezTo>
                  <a:cubicBezTo>
                    <a:pt x="311025" y="446951"/>
                    <a:pt x="292042" y="437460"/>
                    <a:pt x="286346" y="420374"/>
                  </a:cubicBezTo>
                  <a:lnTo>
                    <a:pt x="229247" y="247381"/>
                  </a:lnTo>
                  <a:moveTo>
                    <a:pt x="0" y="0"/>
                  </a:moveTo>
                  <a:moveTo>
                    <a:pt x="227346" y="253313"/>
                  </a:moveTo>
                  <a:lnTo>
                    <a:pt x="164698" y="232430"/>
                  </a:lnTo>
                  <a:moveTo>
                    <a:pt x="0" y="0"/>
                  </a:moveTo>
                  <a:moveTo>
                    <a:pt x="229390" y="247381"/>
                  </a:moveTo>
                  <a:lnTo>
                    <a:pt x="172292" y="420374"/>
                  </a:lnTo>
                  <a:cubicBezTo>
                    <a:pt x="166596" y="437460"/>
                    <a:pt x="147612" y="446953"/>
                    <a:pt x="130526" y="441257"/>
                  </a:cubicBezTo>
                  <a:cubicBezTo>
                    <a:pt x="113441" y="435561"/>
                    <a:pt x="103948" y="416577"/>
                    <a:pt x="109644" y="399491"/>
                  </a:cubicBezTo>
                  <a:lnTo>
                    <a:pt x="194399" y="142706"/>
                  </a:lnTo>
                  <a:moveTo>
                    <a:pt x="110371" y="421854"/>
                  </a:moveTo>
                  <a:lnTo>
                    <a:pt x="16894" y="230531"/>
                  </a:lnTo>
                  <a:lnTo>
                    <a:pt x="43472" y="241923"/>
                  </a:lnTo>
                  <a:cubicBezTo>
                    <a:pt x="81440" y="259009"/>
                    <a:pt x="113713" y="287485"/>
                    <a:pt x="134596" y="323554"/>
                  </a:cubicBezTo>
                  <a:moveTo>
                    <a:pt x="90932" y="190665"/>
                  </a:moveTo>
                  <a:lnTo>
                    <a:pt x="107495" y="215442"/>
                  </a:lnTo>
                  <a:cubicBezTo>
                    <a:pt x="126128" y="245935"/>
                    <a:pt x="138550" y="278333"/>
                    <a:pt x="138550" y="312639"/>
                  </a:cubicBezTo>
                  <a:moveTo>
                    <a:pt x="425514" y="213921"/>
                  </a:moveTo>
                  <a:cubicBezTo>
                    <a:pt x="438803" y="221515"/>
                    <a:pt x="444499" y="238601"/>
                    <a:pt x="436906" y="251890"/>
                  </a:cubicBezTo>
                  <a:lnTo>
                    <a:pt x="350649" y="405650"/>
                  </a:lnTo>
                  <a:moveTo>
                    <a:pt x="0" y="0"/>
                  </a:moveTo>
                  <a:moveTo>
                    <a:pt x="398937" y="263278"/>
                  </a:moveTo>
                  <a:lnTo>
                    <a:pt x="423616" y="276567"/>
                  </a:lnTo>
                  <a:moveTo>
                    <a:pt x="0" y="0"/>
                  </a:moveTo>
                  <a:moveTo>
                    <a:pt x="370461" y="312639"/>
                  </a:moveTo>
                  <a:lnTo>
                    <a:pt x="395140" y="325928"/>
                  </a:lnTo>
                  <a:moveTo>
                    <a:pt x="0" y="0"/>
                  </a:moveTo>
                  <a:moveTo>
                    <a:pt x="229516" y="114729"/>
                  </a:moveTo>
                  <a:lnTo>
                    <a:pt x="229516" y="14287"/>
                  </a:lnTo>
                  <a:moveTo>
                    <a:pt x="0" y="0"/>
                  </a:moveTo>
                  <a:moveTo>
                    <a:pt x="229247" y="186869"/>
                  </a:moveTo>
                  <a:lnTo>
                    <a:pt x="229247" y="247619"/>
                  </a:lnTo>
                </a:path>
              </a:pathLst>
            </a:custGeom>
            <a:noFill/>
            <a:ln w="7143">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6" name="Rounded Rectangle 28">
              <a:extLst>
                <a:ext uri="{FF2B5EF4-FFF2-40B4-BE49-F238E27FC236}">
                  <a16:creationId xmlns:a16="http://schemas.microsoft.com/office/drawing/2014/main" id="{E075E74B-2B27-436F-F5C0-7A76BBD72269}"/>
                </a:ext>
              </a:extLst>
            </p:cNvPr>
            <p:cNvSpPr/>
            <p:nvPr/>
          </p:nvSpPr>
          <p:spPr>
            <a:xfrm>
              <a:off x="4650096" y="2907106"/>
              <a:ext cx="428625" cy="392753"/>
            </a:xfrm>
            <a:custGeom>
              <a:avLst/>
              <a:gdLst/>
              <a:ahLst/>
              <a:cxnLst/>
              <a:rect l="0" t="0" r="0" b="0"/>
              <a:pathLst>
                <a:path w="428625" h="392753">
                  <a:moveTo>
                    <a:pt x="167259" y="113576"/>
                  </a:moveTo>
                  <a:cubicBezTo>
                    <a:pt x="160559" y="128775"/>
                    <a:pt x="149389" y="141572"/>
                    <a:pt x="135235" y="150266"/>
                  </a:cubicBezTo>
                  <a:lnTo>
                    <a:pt x="154095" y="248564"/>
                  </a:lnTo>
                  <a:lnTo>
                    <a:pt x="95154" y="248564"/>
                  </a:lnTo>
                  <a:lnTo>
                    <a:pt x="78428" y="161143"/>
                  </a:lnTo>
                  <a:cubicBezTo>
                    <a:pt x="44919" y="155318"/>
                    <a:pt x="18513" y="129361"/>
                    <a:pt x="12114" y="95956"/>
                  </a:cubicBezTo>
                  <a:cubicBezTo>
                    <a:pt x="5715" y="62552"/>
                    <a:pt x="20659" y="28673"/>
                    <a:pt x="49644" y="10877"/>
                  </a:cubicBezTo>
                  <a:lnTo>
                    <a:pt x="61321" y="71780"/>
                  </a:lnTo>
                  <a:lnTo>
                    <a:pt x="95154" y="94735"/>
                  </a:lnTo>
                  <a:lnTo>
                    <a:pt x="118110" y="60921"/>
                  </a:lnTo>
                  <a:lnTo>
                    <a:pt x="106432" y="0"/>
                  </a:lnTo>
                  <a:cubicBezTo>
                    <a:pt x="131224" y="4300"/>
                    <a:pt x="152656" y="19776"/>
                    <a:pt x="164535" y="41958"/>
                  </a:cubicBezTo>
                  <a:cubicBezTo>
                    <a:pt x="176415" y="64140"/>
                    <a:pt x="177419" y="90556"/>
                    <a:pt x="167258" y="113576"/>
                  </a:cubicBezTo>
                  <a:close/>
                  <a:moveTo>
                    <a:pt x="427291" y="39681"/>
                  </a:moveTo>
                  <a:lnTo>
                    <a:pt x="408508" y="124186"/>
                  </a:lnTo>
                  <a:lnTo>
                    <a:pt x="215341" y="81248"/>
                  </a:lnTo>
                  <a:lnTo>
                    <a:pt x="223399" y="45034"/>
                  </a:lnTo>
                  <a:cubicBezTo>
                    <a:pt x="264699" y="54216"/>
                    <a:pt x="294836" y="37128"/>
                    <a:pt x="300532" y="11506"/>
                  </a:cubicBezTo>
                  <a:close/>
                  <a:moveTo>
                    <a:pt x="262089" y="248564"/>
                  </a:moveTo>
                  <a:lnTo>
                    <a:pt x="295313" y="99098"/>
                  </a:lnTo>
                  <a:lnTo>
                    <a:pt x="350310" y="111328"/>
                  </a:lnTo>
                  <a:lnTo>
                    <a:pt x="318249" y="248583"/>
                  </a:lnTo>
                  <a:lnTo>
                    <a:pt x="262089" y="248583"/>
                  </a:lnTo>
                  <a:close/>
                  <a:moveTo>
                    <a:pt x="409994" y="392753"/>
                  </a:moveTo>
                  <a:lnTo>
                    <a:pt x="18630" y="392753"/>
                  </a:lnTo>
                  <a:cubicBezTo>
                    <a:pt x="8343" y="392753"/>
                    <a:pt x="0" y="384390"/>
                    <a:pt x="0" y="374103"/>
                  </a:cubicBezTo>
                  <a:lnTo>
                    <a:pt x="0" y="248564"/>
                  </a:lnTo>
                  <a:lnTo>
                    <a:pt x="428625" y="248564"/>
                  </a:lnTo>
                  <a:lnTo>
                    <a:pt x="428625" y="374103"/>
                  </a:lnTo>
                  <a:cubicBezTo>
                    <a:pt x="428625" y="384390"/>
                    <a:pt x="420281" y="392753"/>
                    <a:pt x="409994" y="392753"/>
                  </a:cubicBezTo>
                  <a:close/>
                  <a:moveTo>
                    <a:pt x="242258" y="248583"/>
                  </a:moveTo>
                  <a:lnTo>
                    <a:pt x="186366" y="248583"/>
                  </a:lnTo>
                  <a:lnTo>
                    <a:pt x="186366" y="276529"/>
                  </a:lnTo>
                  <a:cubicBezTo>
                    <a:pt x="186366" y="291964"/>
                    <a:pt x="198878" y="304476"/>
                    <a:pt x="214312" y="304476"/>
                  </a:cubicBezTo>
                  <a:cubicBezTo>
                    <a:pt x="229746" y="304476"/>
                    <a:pt x="242258" y="291964"/>
                    <a:pt x="242258" y="276529"/>
                  </a:cubicBezTo>
                  <a:close/>
                </a:path>
              </a:pathLst>
            </a:custGeom>
            <a:noFill/>
            <a:ln w="7143">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7" name="Rounded Rectangle 29">
              <a:extLst>
                <a:ext uri="{FF2B5EF4-FFF2-40B4-BE49-F238E27FC236}">
                  <a16:creationId xmlns:a16="http://schemas.microsoft.com/office/drawing/2014/main" id="{30507078-8D24-41BB-48E1-9C0942B8FA21}"/>
                </a:ext>
              </a:extLst>
            </p:cNvPr>
            <p:cNvSpPr/>
            <p:nvPr/>
          </p:nvSpPr>
          <p:spPr>
            <a:xfrm>
              <a:off x="3040371" y="3655924"/>
              <a:ext cx="438150" cy="438150"/>
            </a:xfrm>
            <a:custGeom>
              <a:avLst/>
              <a:gdLst/>
              <a:ahLst/>
              <a:cxnLst/>
              <a:rect l="0" t="0" r="0" b="0"/>
              <a:pathLst>
                <a:path w="438150" h="438150">
                  <a:moveTo>
                    <a:pt x="19050" y="0"/>
                  </a:moveTo>
                  <a:lnTo>
                    <a:pt x="419100" y="0"/>
                  </a:lnTo>
                  <a:cubicBezTo>
                    <a:pt x="429621" y="0"/>
                    <a:pt x="438150" y="8528"/>
                    <a:pt x="438150" y="19050"/>
                  </a:cubicBezTo>
                  <a:lnTo>
                    <a:pt x="438150" y="66675"/>
                  </a:lnTo>
                  <a:cubicBezTo>
                    <a:pt x="438150" y="71935"/>
                    <a:pt x="433885" y="76200"/>
                    <a:pt x="428625" y="76200"/>
                  </a:cubicBezTo>
                  <a:lnTo>
                    <a:pt x="9525" y="76200"/>
                  </a:lnTo>
                  <a:cubicBezTo>
                    <a:pt x="4264" y="76200"/>
                    <a:pt x="0" y="71935"/>
                    <a:pt x="0" y="66675"/>
                  </a:cubicBezTo>
                  <a:lnTo>
                    <a:pt x="0" y="19050"/>
                  </a:lnTo>
                  <a:cubicBezTo>
                    <a:pt x="0" y="8528"/>
                    <a:pt x="8528" y="0"/>
                    <a:pt x="19050" y="0"/>
                  </a:cubicBezTo>
                  <a:close/>
                  <a:moveTo>
                    <a:pt x="7429" y="4000"/>
                  </a:moveTo>
                  <a:lnTo>
                    <a:pt x="104775" y="76200"/>
                  </a:lnTo>
                  <a:lnTo>
                    <a:pt x="219075" y="0"/>
                  </a:lnTo>
                  <a:lnTo>
                    <a:pt x="333375" y="76200"/>
                  </a:lnTo>
                  <a:lnTo>
                    <a:pt x="430720" y="4000"/>
                  </a:lnTo>
                  <a:moveTo>
                    <a:pt x="19050" y="76200"/>
                  </a:moveTo>
                  <a:lnTo>
                    <a:pt x="19050" y="438150"/>
                  </a:lnTo>
                  <a:moveTo>
                    <a:pt x="419100" y="76200"/>
                  </a:moveTo>
                  <a:lnTo>
                    <a:pt x="419100" y="438150"/>
                  </a:lnTo>
                  <a:moveTo>
                    <a:pt x="276225" y="409575"/>
                  </a:moveTo>
                  <a:lnTo>
                    <a:pt x="276225" y="290512"/>
                  </a:lnTo>
                  <a:moveTo>
                    <a:pt x="254127" y="279463"/>
                  </a:moveTo>
                  <a:lnTo>
                    <a:pt x="314515" y="309753"/>
                  </a:lnTo>
                  <a:moveTo>
                    <a:pt x="200025" y="266700"/>
                  </a:moveTo>
                  <a:cubicBezTo>
                    <a:pt x="200025" y="250918"/>
                    <a:pt x="212818" y="238125"/>
                    <a:pt x="228600" y="238125"/>
                  </a:cubicBezTo>
                  <a:cubicBezTo>
                    <a:pt x="244381" y="238125"/>
                    <a:pt x="257175" y="250918"/>
                    <a:pt x="257175" y="266700"/>
                  </a:cubicBezTo>
                  <a:cubicBezTo>
                    <a:pt x="257175" y="282481"/>
                    <a:pt x="244381" y="295275"/>
                    <a:pt x="228600" y="295275"/>
                  </a:cubicBezTo>
                  <a:cubicBezTo>
                    <a:pt x="212818" y="295275"/>
                    <a:pt x="200025" y="282481"/>
                    <a:pt x="200025" y="266700"/>
                  </a:cubicBezTo>
                  <a:moveTo>
                    <a:pt x="238125" y="438150"/>
                  </a:moveTo>
                  <a:lnTo>
                    <a:pt x="276225" y="409575"/>
                  </a:lnTo>
                  <a:moveTo>
                    <a:pt x="314325" y="438150"/>
                  </a:moveTo>
                  <a:lnTo>
                    <a:pt x="276225" y="409575"/>
                  </a:lnTo>
                  <a:moveTo>
                    <a:pt x="228600" y="76200"/>
                  </a:moveTo>
                  <a:lnTo>
                    <a:pt x="252984" y="130302"/>
                  </a:lnTo>
                  <a:cubicBezTo>
                    <a:pt x="253962" y="133197"/>
                    <a:pt x="253491" y="136386"/>
                    <a:pt x="251718" y="138875"/>
                  </a:cubicBezTo>
                  <a:cubicBezTo>
                    <a:pt x="249946" y="141364"/>
                    <a:pt x="247086" y="142852"/>
                    <a:pt x="244030" y="142875"/>
                  </a:cubicBezTo>
                  <a:lnTo>
                    <a:pt x="194119" y="142875"/>
                  </a:lnTo>
                  <a:cubicBezTo>
                    <a:pt x="191063" y="142852"/>
                    <a:pt x="188203" y="141364"/>
                    <a:pt x="186431" y="138875"/>
                  </a:cubicBezTo>
                  <a:cubicBezTo>
                    <a:pt x="184658" y="136386"/>
                    <a:pt x="184187" y="133197"/>
                    <a:pt x="185165" y="130302"/>
                  </a:cubicBezTo>
                  <a:lnTo>
                    <a:pt x="209550" y="76200"/>
                  </a:lnTo>
                  <a:moveTo>
                    <a:pt x="18859" y="76581"/>
                  </a:moveTo>
                  <a:lnTo>
                    <a:pt x="101345" y="112014"/>
                  </a:lnTo>
                  <a:cubicBezTo>
                    <a:pt x="104240" y="113350"/>
                    <a:pt x="106351" y="115954"/>
                    <a:pt x="107060" y="119062"/>
                  </a:cubicBezTo>
                  <a:cubicBezTo>
                    <a:pt x="107759" y="122063"/>
                    <a:pt x="106900" y="125214"/>
                    <a:pt x="104774" y="127444"/>
                  </a:cubicBezTo>
                  <a:lnTo>
                    <a:pt x="70294" y="161925"/>
                  </a:lnTo>
                  <a:cubicBezTo>
                    <a:pt x="68139" y="164187"/>
                    <a:pt x="64978" y="165193"/>
                    <a:pt x="61912" y="164592"/>
                  </a:cubicBezTo>
                  <a:cubicBezTo>
                    <a:pt x="58804" y="163882"/>
                    <a:pt x="56200" y="161771"/>
                    <a:pt x="54863" y="158877"/>
                  </a:cubicBezTo>
                  <a:lnTo>
                    <a:pt x="19430" y="76009"/>
                  </a:lnTo>
                  <a:moveTo>
                    <a:pt x="418719" y="76390"/>
                  </a:moveTo>
                  <a:lnTo>
                    <a:pt x="383286" y="158877"/>
                  </a:lnTo>
                  <a:cubicBezTo>
                    <a:pt x="381949" y="161771"/>
                    <a:pt x="379345" y="163882"/>
                    <a:pt x="376237" y="164592"/>
                  </a:cubicBezTo>
                  <a:cubicBezTo>
                    <a:pt x="373171" y="165193"/>
                    <a:pt x="370010" y="164187"/>
                    <a:pt x="367855" y="161925"/>
                  </a:cubicBezTo>
                  <a:lnTo>
                    <a:pt x="333755" y="127444"/>
                  </a:lnTo>
                  <a:cubicBezTo>
                    <a:pt x="331493" y="125289"/>
                    <a:pt x="330487" y="122128"/>
                    <a:pt x="331088" y="119062"/>
                  </a:cubicBezTo>
                  <a:cubicBezTo>
                    <a:pt x="331798" y="115954"/>
                    <a:pt x="333909" y="113350"/>
                    <a:pt x="336803" y="112014"/>
                  </a:cubicBezTo>
                  <a:lnTo>
                    <a:pt x="419290" y="76581"/>
                  </a:lnTo>
                </a:path>
              </a:pathLst>
            </a:custGeom>
            <a:noFill/>
            <a:ln w="7143">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8" name="Rounded Rectangle 30">
              <a:extLst>
                <a:ext uri="{FF2B5EF4-FFF2-40B4-BE49-F238E27FC236}">
                  <a16:creationId xmlns:a16="http://schemas.microsoft.com/office/drawing/2014/main" id="{D9BBA120-BA9A-9A76-F6A3-8FDCF4659A59}"/>
                </a:ext>
              </a:extLst>
            </p:cNvPr>
            <p:cNvSpPr/>
            <p:nvPr/>
          </p:nvSpPr>
          <p:spPr>
            <a:xfrm>
              <a:off x="4645334" y="3703549"/>
              <a:ext cx="438150" cy="400050"/>
            </a:xfrm>
            <a:custGeom>
              <a:avLst/>
              <a:gdLst/>
              <a:ahLst/>
              <a:cxnLst/>
              <a:rect l="0" t="0" r="0" b="0"/>
              <a:pathLst>
                <a:path w="438150" h="400050">
                  <a:moveTo>
                    <a:pt x="219075" y="180975"/>
                  </a:moveTo>
                  <a:lnTo>
                    <a:pt x="200025" y="161925"/>
                  </a:lnTo>
                  <a:moveTo>
                    <a:pt x="266700" y="180975"/>
                  </a:moveTo>
                  <a:lnTo>
                    <a:pt x="266700" y="161925"/>
                  </a:lnTo>
                  <a:moveTo>
                    <a:pt x="200025" y="228600"/>
                  </a:moveTo>
                  <a:lnTo>
                    <a:pt x="219075" y="228600"/>
                  </a:lnTo>
                  <a:moveTo>
                    <a:pt x="266700" y="314325"/>
                  </a:moveTo>
                  <a:cubicBezTo>
                    <a:pt x="266700" y="266980"/>
                    <a:pt x="305080" y="228600"/>
                    <a:pt x="352425" y="228600"/>
                  </a:cubicBezTo>
                  <a:cubicBezTo>
                    <a:pt x="399769" y="228600"/>
                    <a:pt x="438150" y="266980"/>
                    <a:pt x="438150" y="314325"/>
                  </a:cubicBezTo>
                  <a:cubicBezTo>
                    <a:pt x="438150" y="361669"/>
                    <a:pt x="399769" y="400050"/>
                    <a:pt x="352425" y="400050"/>
                  </a:cubicBezTo>
                  <a:cubicBezTo>
                    <a:pt x="305080" y="400050"/>
                    <a:pt x="266700" y="361669"/>
                    <a:pt x="266700" y="314325"/>
                  </a:cubicBezTo>
                  <a:moveTo>
                    <a:pt x="257175" y="219075"/>
                  </a:moveTo>
                  <a:lnTo>
                    <a:pt x="291807" y="253707"/>
                  </a:lnTo>
                  <a:moveTo>
                    <a:pt x="161925" y="304800"/>
                  </a:moveTo>
                  <a:lnTo>
                    <a:pt x="19050" y="304800"/>
                  </a:lnTo>
                  <a:cubicBezTo>
                    <a:pt x="8528" y="304800"/>
                    <a:pt x="0" y="296271"/>
                    <a:pt x="0" y="285750"/>
                  </a:cubicBezTo>
                  <a:lnTo>
                    <a:pt x="0" y="76200"/>
                  </a:lnTo>
                  <a:cubicBezTo>
                    <a:pt x="0" y="65678"/>
                    <a:pt x="8528" y="57150"/>
                    <a:pt x="19050" y="57150"/>
                  </a:cubicBezTo>
                  <a:lnTo>
                    <a:pt x="323850" y="57150"/>
                  </a:lnTo>
                  <a:cubicBezTo>
                    <a:pt x="334371" y="57150"/>
                    <a:pt x="342900" y="65678"/>
                    <a:pt x="342900" y="76200"/>
                  </a:cubicBezTo>
                  <a:lnTo>
                    <a:pt x="342900" y="142875"/>
                  </a:lnTo>
                  <a:moveTo>
                    <a:pt x="400050" y="142875"/>
                  </a:moveTo>
                  <a:lnTo>
                    <a:pt x="400050" y="19050"/>
                  </a:lnTo>
                  <a:cubicBezTo>
                    <a:pt x="400050" y="8528"/>
                    <a:pt x="391521" y="0"/>
                    <a:pt x="381000" y="0"/>
                  </a:cubicBezTo>
                  <a:lnTo>
                    <a:pt x="76200" y="0"/>
                  </a:lnTo>
                </a:path>
              </a:pathLst>
            </a:custGeom>
            <a:noFill/>
            <a:ln w="7143">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sp>
        <p:nvSpPr>
          <p:cNvPr id="59" name="Arrow: Chevron 58">
            <a:extLst>
              <a:ext uri="{FF2B5EF4-FFF2-40B4-BE49-F238E27FC236}">
                <a16:creationId xmlns:a16="http://schemas.microsoft.com/office/drawing/2014/main" id="{D87ECC51-A8BC-17E1-7DD0-CD2D6A6A5A96}"/>
              </a:ext>
            </a:extLst>
          </p:cNvPr>
          <p:cNvSpPr/>
          <p:nvPr/>
        </p:nvSpPr>
        <p:spPr>
          <a:xfrm>
            <a:off x="8108917"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60" name="Arrow: Chevron 59">
            <a:extLst>
              <a:ext uri="{FF2B5EF4-FFF2-40B4-BE49-F238E27FC236}">
                <a16:creationId xmlns:a16="http://schemas.microsoft.com/office/drawing/2014/main" id="{FD8E24C0-CD2A-9DEB-7912-875D9F400E3A}"/>
              </a:ext>
            </a:extLst>
          </p:cNvPr>
          <p:cNvSpPr/>
          <p:nvPr/>
        </p:nvSpPr>
        <p:spPr>
          <a:xfrm>
            <a:off x="9071675"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61" name="Arrow: Chevron 60">
            <a:extLst>
              <a:ext uri="{FF2B5EF4-FFF2-40B4-BE49-F238E27FC236}">
                <a16:creationId xmlns:a16="http://schemas.microsoft.com/office/drawing/2014/main" id="{FF9122A9-3364-9B78-5AD2-07400A9D3F37}"/>
              </a:ext>
            </a:extLst>
          </p:cNvPr>
          <p:cNvSpPr/>
          <p:nvPr/>
        </p:nvSpPr>
        <p:spPr>
          <a:xfrm>
            <a:off x="10034433"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62" name="Arrow: Chevron 61">
            <a:extLst>
              <a:ext uri="{FF2B5EF4-FFF2-40B4-BE49-F238E27FC236}">
                <a16:creationId xmlns:a16="http://schemas.microsoft.com/office/drawing/2014/main" id="{89623828-051B-CE3E-5DEC-9FD7592A0BC2}"/>
              </a:ext>
            </a:extLst>
          </p:cNvPr>
          <p:cNvSpPr/>
          <p:nvPr/>
        </p:nvSpPr>
        <p:spPr>
          <a:xfrm>
            <a:off x="1099963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22135784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23BCA5-02CA-FABC-5745-B2A1CCE8DD4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8C2603-F235-C658-D506-7044DF7BE092}"/>
              </a:ext>
            </a:extLst>
          </p:cNvPr>
          <p:cNvGraphicFramePr>
            <a:graphicFrameLocks noChangeAspect="1"/>
          </p:cNvGraphicFramePr>
          <p:nvPr>
            <p:custDataLst>
              <p:tags r:id="rId1"/>
            </p:custDataLst>
            <p:extLst>
              <p:ext uri="{D42A27DB-BD31-4B8C-83A1-F6EECF244321}">
                <p14:modId xmlns:p14="http://schemas.microsoft.com/office/powerpoint/2010/main" val="3974117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7D8C2603-F235-C658-D506-7044DF7BE0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2" name="Group 31">
            <a:extLst>
              <a:ext uri="{FF2B5EF4-FFF2-40B4-BE49-F238E27FC236}">
                <a16:creationId xmlns:a16="http://schemas.microsoft.com/office/drawing/2014/main" id="{7224D58E-2B4C-D732-CF0D-03DA4D2D2B1E}"/>
              </a:ext>
            </a:extLst>
          </p:cNvPr>
          <p:cNvGrpSpPr/>
          <p:nvPr/>
        </p:nvGrpSpPr>
        <p:grpSpPr>
          <a:xfrm>
            <a:off x="8410890" y="1054144"/>
            <a:ext cx="865611" cy="679381"/>
            <a:chOff x="368907" y="1700531"/>
            <a:chExt cx="4038920" cy="4275927"/>
          </a:xfrm>
          <a:effectLst/>
        </p:grpSpPr>
        <p:sp>
          <p:nvSpPr>
            <p:cNvPr id="33" name="Isosceles Triangle 32">
              <a:extLst>
                <a:ext uri="{FF2B5EF4-FFF2-40B4-BE49-F238E27FC236}">
                  <a16:creationId xmlns:a16="http://schemas.microsoft.com/office/drawing/2014/main" id="{ECED0B6C-9606-2C2C-9F93-57463C13BFD2}"/>
                </a:ext>
              </a:extLst>
            </p:cNvPr>
            <p:cNvSpPr/>
            <p:nvPr/>
          </p:nvSpPr>
          <p:spPr>
            <a:xfrm>
              <a:off x="1792514" y="1700531"/>
              <a:ext cx="1191707" cy="1255807"/>
            </a:xfrm>
            <a:prstGeom prst="triangle">
              <a:avLst>
                <a:gd name="adj" fmla="val 49710"/>
              </a:avLst>
            </a:pr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sp>
          <p:nvSpPr>
            <p:cNvPr id="34" name="Isosceles Triangle 62">
              <a:extLst>
                <a:ext uri="{FF2B5EF4-FFF2-40B4-BE49-F238E27FC236}">
                  <a16:creationId xmlns:a16="http://schemas.microsoft.com/office/drawing/2014/main" id="{72427D9A-F1B6-5B34-F3AB-F3FF3E81C557}"/>
                </a:ext>
              </a:extLst>
            </p:cNvPr>
            <p:cNvSpPr/>
            <p:nvPr/>
          </p:nvSpPr>
          <p:spPr>
            <a:xfrm>
              <a:off x="1106945" y="2957333"/>
              <a:ext cx="2556494" cy="1456051"/>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481647" y="2614"/>
                  </a:lnTo>
                  <a:lnTo>
                    <a:pt x="1325344" y="0"/>
                  </a:lnTo>
                  <a:lnTo>
                    <a:pt x="1810264" y="968810"/>
                  </a:lnTo>
                  <a:lnTo>
                    <a:pt x="0" y="968810"/>
                  </a:lnTo>
                  <a:close/>
                </a:path>
              </a:pathLst>
            </a:custGeom>
            <a:solidFill>
              <a:srgbClr val="FFD5B3"/>
            </a:solidFill>
            <a:ln w="9525">
              <a:solidFill>
                <a:srgbClr val="FF834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grpSp>
          <p:nvGrpSpPr>
            <p:cNvPr id="35" name="Group 34">
              <a:extLst>
                <a:ext uri="{FF2B5EF4-FFF2-40B4-BE49-F238E27FC236}">
                  <a16:creationId xmlns:a16="http://schemas.microsoft.com/office/drawing/2014/main" id="{382B868D-B6BC-FC60-1E1A-613D744EA0CD}"/>
                </a:ext>
              </a:extLst>
            </p:cNvPr>
            <p:cNvGrpSpPr/>
            <p:nvPr/>
          </p:nvGrpSpPr>
          <p:grpSpPr>
            <a:xfrm>
              <a:off x="368907" y="2954958"/>
              <a:ext cx="4038920" cy="3021500"/>
              <a:chOff x="364847" y="3312617"/>
              <a:chExt cx="4038920" cy="3021500"/>
            </a:xfrm>
          </p:grpSpPr>
          <p:cxnSp>
            <p:nvCxnSpPr>
              <p:cNvPr id="36" name="Straight Connector 35">
                <a:extLst>
                  <a:ext uri="{FF2B5EF4-FFF2-40B4-BE49-F238E27FC236}">
                    <a16:creationId xmlns:a16="http://schemas.microsoft.com/office/drawing/2014/main" id="{35DEECAB-1E7C-FABE-E42A-350C1F82EEE3}"/>
                  </a:ext>
                </a:extLst>
              </p:cNvPr>
              <p:cNvCxnSpPr>
                <a:cxnSpLocks/>
              </p:cNvCxnSpPr>
              <p:nvPr/>
            </p:nvCxnSpPr>
            <p:spPr>
              <a:xfrm>
                <a:off x="1110997" y="4771043"/>
                <a:ext cx="254556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Isosceles Triangle 62">
                <a:extLst>
                  <a:ext uri="{FF2B5EF4-FFF2-40B4-BE49-F238E27FC236}">
                    <a16:creationId xmlns:a16="http://schemas.microsoft.com/office/drawing/2014/main" id="{11A652E4-52B0-D286-E321-8BE14E45965F}"/>
                  </a:ext>
                </a:extLst>
              </p:cNvPr>
              <p:cNvSpPr/>
              <p:nvPr/>
            </p:nvSpPr>
            <p:spPr>
              <a:xfrm>
                <a:off x="364847" y="4771043"/>
                <a:ext cx="4038920" cy="1562778"/>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476069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326400" y="396"/>
                    </a:lnTo>
                    <a:lnTo>
                      <a:pt x="1476069" y="0"/>
                    </a:lnTo>
                    <a:lnTo>
                      <a:pt x="1810264" y="968810"/>
                    </a:lnTo>
                    <a:lnTo>
                      <a:pt x="0" y="968810"/>
                    </a:lnTo>
                    <a:close/>
                  </a:path>
                </a:pathLst>
              </a:cu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cxnSp>
            <p:nvCxnSpPr>
              <p:cNvPr id="39" name="Straight Connector 38">
                <a:extLst>
                  <a:ext uri="{FF2B5EF4-FFF2-40B4-BE49-F238E27FC236}">
                    <a16:creationId xmlns:a16="http://schemas.microsoft.com/office/drawing/2014/main" id="{5D9C1C9D-E076-0529-2549-294CFF7616E3}"/>
                  </a:ext>
                </a:extLst>
              </p:cNvPr>
              <p:cNvCxnSpPr>
                <a:cxnSpLocks/>
              </p:cNvCxnSpPr>
              <p:nvPr/>
            </p:nvCxnSpPr>
            <p:spPr>
              <a:xfrm flipH="1">
                <a:off x="1833796" y="3312617"/>
                <a:ext cx="287660" cy="1488306"/>
              </a:xfrm>
              <a:prstGeom prst="line">
                <a:avLst/>
              </a:prstGeom>
              <a:ln w="9525">
                <a:solidFill>
                  <a:srgbClr val="FF8349"/>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D331D16-8E3A-27F5-F470-3FB67FA0193D}"/>
                  </a:ext>
                </a:extLst>
              </p:cNvPr>
              <p:cNvCxnSpPr>
                <a:cxnSpLocks/>
              </p:cNvCxnSpPr>
              <p:nvPr/>
            </p:nvCxnSpPr>
            <p:spPr>
              <a:xfrm>
                <a:off x="2562892" y="4771043"/>
                <a:ext cx="106051" cy="1562778"/>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9C779C0-68EE-32AB-521C-B8DEEDA47399}"/>
                  </a:ext>
                </a:extLst>
              </p:cNvPr>
              <p:cNvCxnSpPr>
                <a:cxnSpLocks/>
              </p:cNvCxnSpPr>
              <p:nvPr/>
            </p:nvCxnSpPr>
            <p:spPr>
              <a:xfrm flipH="1">
                <a:off x="2089604" y="4771042"/>
                <a:ext cx="76090" cy="156277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02182ED-0B24-320D-8EC8-C030049C1226}"/>
                  </a:ext>
                </a:extLst>
              </p:cNvPr>
              <p:cNvCxnSpPr>
                <a:cxnSpLocks/>
              </p:cNvCxnSpPr>
              <p:nvPr/>
            </p:nvCxnSpPr>
            <p:spPr>
              <a:xfrm flipH="1">
                <a:off x="957027" y="4771042"/>
                <a:ext cx="526604" cy="156277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50FAF62-ABDD-6FE2-13F9-75124884D122}"/>
                  </a:ext>
                </a:extLst>
              </p:cNvPr>
              <p:cNvCxnSpPr>
                <a:cxnSpLocks/>
              </p:cNvCxnSpPr>
              <p:nvPr/>
            </p:nvCxnSpPr>
            <p:spPr>
              <a:xfrm>
                <a:off x="2706590" y="3312617"/>
                <a:ext cx="267090" cy="1459422"/>
              </a:xfrm>
              <a:prstGeom prst="line">
                <a:avLst/>
              </a:prstGeom>
              <a:ln w="9525">
                <a:solidFill>
                  <a:srgbClr val="FF8349"/>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76AC189-49F6-E706-2594-4E10DB89FB25}"/>
                  </a:ext>
                </a:extLst>
              </p:cNvPr>
              <p:cNvCxnSpPr>
                <a:cxnSpLocks/>
              </p:cNvCxnSpPr>
              <p:nvPr/>
            </p:nvCxnSpPr>
            <p:spPr>
              <a:xfrm>
                <a:off x="3336756" y="4771043"/>
                <a:ext cx="506582" cy="1563074"/>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87075B7-1252-977D-91E4-582D5CA5F6F2}"/>
                  </a:ext>
                </a:extLst>
              </p:cNvPr>
              <p:cNvCxnSpPr>
                <a:cxnSpLocks/>
              </p:cNvCxnSpPr>
              <p:nvPr/>
            </p:nvCxnSpPr>
            <p:spPr>
              <a:xfrm flipH="1">
                <a:off x="1539549" y="4772039"/>
                <a:ext cx="300668" cy="156178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3D0DD17-0046-C46E-F14D-33FF0FCDA04C}"/>
                  </a:ext>
                </a:extLst>
              </p:cNvPr>
              <p:cNvCxnSpPr>
                <a:cxnSpLocks/>
              </p:cNvCxnSpPr>
              <p:nvPr/>
            </p:nvCxnSpPr>
            <p:spPr>
              <a:xfrm>
                <a:off x="2973680" y="4778378"/>
                <a:ext cx="284662" cy="155544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33C4349-27B9-368A-5743-D3A9BE7FA61B}"/>
                  </a:ext>
                </a:extLst>
              </p:cNvPr>
              <p:cNvCxnSpPr>
                <a:cxnSpLocks/>
                <a:stCxn id="37" idx="1"/>
                <a:endCxn id="34" idx="3"/>
              </p:cNvCxnSpPr>
              <p:nvPr/>
            </p:nvCxnSpPr>
            <p:spPr>
              <a:xfrm flipV="1">
                <a:off x="1093085" y="4771043"/>
                <a:ext cx="2566294" cy="640"/>
              </a:xfrm>
              <a:prstGeom prst="line">
                <a:avLst/>
              </a:prstGeom>
              <a:ln w="9525">
                <a:solidFill>
                  <a:srgbClr val="FF8349"/>
                </a:solidFill>
              </a:ln>
            </p:spPr>
            <p:style>
              <a:lnRef idx="1">
                <a:schemeClr val="accent1"/>
              </a:lnRef>
              <a:fillRef idx="0">
                <a:schemeClr val="accent1"/>
              </a:fillRef>
              <a:effectRef idx="0">
                <a:schemeClr val="accent1"/>
              </a:effectRef>
              <a:fontRef idx="minor">
                <a:schemeClr val="tx1"/>
              </a:fontRef>
            </p:style>
          </p:cxnSp>
        </p:grpSp>
      </p:grpSp>
      <p:sp>
        <p:nvSpPr>
          <p:cNvPr id="2" name="Title 1">
            <a:extLst>
              <a:ext uri="{FF2B5EF4-FFF2-40B4-BE49-F238E27FC236}">
                <a16:creationId xmlns:a16="http://schemas.microsoft.com/office/drawing/2014/main" id="{C7E8D827-C875-05FD-B98D-E47DF661C111}"/>
              </a:ext>
            </a:extLst>
          </p:cNvPr>
          <p:cNvSpPr>
            <a:spLocks noGrp="1"/>
          </p:cNvSpPr>
          <p:nvPr>
            <p:ph type="title"/>
          </p:nvPr>
        </p:nvSpPr>
        <p:spPr>
          <a:xfrm>
            <a:off x="137786" y="125260"/>
            <a:ext cx="7038654" cy="806754"/>
          </a:xfrm>
        </p:spPr>
        <p:txBody>
          <a:bodyPr vert="horz">
            <a:normAutofit/>
          </a:bodyPr>
          <a:lstStyle/>
          <a:p>
            <a:r>
              <a:rPr lang="en-GB" sz="2400" b="1" noProof="0"/>
              <a:t>Choice of Segmentation of Value Propositions</a:t>
            </a:r>
          </a:p>
        </p:txBody>
      </p:sp>
      <p:sp>
        <p:nvSpPr>
          <p:cNvPr id="38" name="Rectangle 37">
            <a:extLst>
              <a:ext uri="{FF2B5EF4-FFF2-40B4-BE49-F238E27FC236}">
                <a16:creationId xmlns:a16="http://schemas.microsoft.com/office/drawing/2014/main" id="{F5EFE11A-61AA-8FF1-D896-474A8A31E87E}"/>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Tesla exemplifies </a:t>
            </a:r>
            <a:r>
              <a:rPr lang="en-GB" sz="1200" b="1" noProof="0">
                <a:solidFill>
                  <a:schemeClr val="tx1"/>
                </a:solidFill>
                <a:latin typeface="Avenir Next LT Pro" panose="020B0504020202020204" pitchFamily="34" charset="0"/>
              </a:rPr>
              <a:t>strategic complement design with unrelated products enhancing their core</a:t>
            </a:r>
            <a:r>
              <a:rPr lang="en-GB" sz="1200" noProof="0">
                <a:solidFill>
                  <a:schemeClr val="tx1"/>
                </a:solidFill>
                <a:latin typeface="Avenir Next LT Pro" panose="020B0504020202020204" pitchFamily="34" charset="0"/>
              </a:rPr>
              <a:t> electric vehicle value proposition. </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Tesla's </a:t>
            </a:r>
            <a:r>
              <a:rPr lang="en-GB" sz="1200" b="1" noProof="0">
                <a:solidFill>
                  <a:schemeClr val="tx1"/>
                </a:solidFill>
                <a:latin typeface="Avenir Next LT Pro" panose="020B0504020202020204" pitchFamily="34" charset="0"/>
              </a:rPr>
              <a:t>core value proposition </a:t>
            </a:r>
            <a:r>
              <a:rPr lang="en-GB" sz="1200" noProof="0" err="1">
                <a:solidFill>
                  <a:schemeClr val="tx1"/>
                </a:solidFill>
                <a:latin typeface="Avenir Next LT Pro" panose="020B0504020202020204" pitchFamily="34" charset="0"/>
              </a:rPr>
              <a:t>centers</a:t>
            </a:r>
            <a:r>
              <a:rPr lang="en-GB" sz="1200" noProof="0">
                <a:solidFill>
                  <a:schemeClr val="tx1"/>
                </a:solidFill>
                <a:latin typeface="Avenir Next LT Pro" panose="020B0504020202020204" pitchFamily="34" charset="0"/>
              </a:rPr>
              <a:t> on premium electric vehicles with superior performance, technology, and sustainability. </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Their </a:t>
            </a:r>
            <a:r>
              <a:rPr lang="en-GB" sz="1200" b="1" noProof="0">
                <a:solidFill>
                  <a:schemeClr val="tx1"/>
                </a:solidFill>
                <a:latin typeface="Avenir Next LT Pro" panose="020B0504020202020204" pitchFamily="34" charset="0"/>
              </a:rPr>
              <a:t>complementary offerings </a:t>
            </a:r>
            <a:r>
              <a:rPr lang="en-GB" sz="1200" noProof="0">
                <a:solidFill>
                  <a:schemeClr val="tx1"/>
                </a:solidFill>
                <a:latin typeface="Avenir Next LT Pro" panose="020B0504020202020204" pitchFamily="34" charset="0"/>
              </a:rPr>
              <a:t>- Supercharger network, solar panels, and energy storage systems - are entirely </a:t>
            </a:r>
            <a:r>
              <a:rPr lang="en-GB" sz="1200" b="1" noProof="0">
                <a:solidFill>
                  <a:schemeClr val="tx1"/>
                </a:solidFill>
                <a:latin typeface="Avenir Next LT Pro" panose="020B0504020202020204" pitchFamily="34" charset="0"/>
              </a:rPr>
              <a:t>different product categories that enhance </a:t>
            </a:r>
            <a:r>
              <a:rPr lang="en-GB" sz="1200" noProof="0">
                <a:solidFill>
                  <a:schemeClr val="tx1"/>
                </a:solidFill>
                <a:latin typeface="Avenir Next LT Pro" panose="020B0504020202020204" pitchFamily="34" charset="0"/>
              </a:rPr>
              <a:t>the electric vehicle experience.</a:t>
            </a:r>
          </a:p>
        </p:txBody>
      </p:sp>
      <p:sp>
        <p:nvSpPr>
          <p:cNvPr id="55" name="Rounded Rectangle 1">
            <a:extLst>
              <a:ext uri="{FF2B5EF4-FFF2-40B4-BE49-F238E27FC236}">
                <a16:creationId xmlns:a16="http://schemas.microsoft.com/office/drawing/2014/main" id="{D6EAD6C4-BA84-F758-15A2-5FEC30FC4D07}"/>
              </a:ext>
            </a:extLst>
          </p:cNvPr>
          <p:cNvSpPr/>
          <p:nvPr/>
        </p:nvSpPr>
        <p:spPr>
          <a:xfrm>
            <a:off x="911697" y="1927024"/>
            <a:ext cx="4277527" cy="900545"/>
          </a:xfrm>
          <a:custGeom>
            <a:avLst/>
            <a:gdLst/>
            <a:ahLst/>
            <a:cxnLst/>
            <a:rect l="0" t="0" r="0" b="0"/>
            <a:pathLst>
              <a:path w="4277527" h="900545">
                <a:moveTo>
                  <a:pt x="3376981" y="900545"/>
                </a:moveTo>
                <a:lnTo>
                  <a:pt x="108815" y="900545"/>
                </a:lnTo>
                <a:cubicBezTo>
                  <a:pt x="48718" y="900545"/>
                  <a:pt x="0" y="851826"/>
                  <a:pt x="0" y="791729"/>
                </a:cubicBezTo>
                <a:lnTo>
                  <a:pt x="0" y="108815"/>
                </a:lnTo>
                <a:cubicBezTo>
                  <a:pt x="0" y="48718"/>
                  <a:pt x="48718" y="0"/>
                  <a:pt x="108815" y="0"/>
                </a:cubicBezTo>
                <a:lnTo>
                  <a:pt x="4277527" y="0"/>
                </a:lnTo>
              </a:path>
            </a:pathLst>
          </a:custGeom>
          <a:noFill/>
          <a:ln w="5628">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nvGrpSpPr>
          <p:cNvPr id="56" name="Group 55">
            <a:extLst>
              <a:ext uri="{FF2B5EF4-FFF2-40B4-BE49-F238E27FC236}">
                <a16:creationId xmlns:a16="http://schemas.microsoft.com/office/drawing/2014/main" id="{0F5518A0-0EAD-4EAA-B0B1-03A5E044A37D}"/>
              </a:ext>
            </a:extLst>
          </p:cNvPr>
          <p:cNvGrpSpPr/>
          <p:nvPr/>
        </p:nvGrpSpPr>
        <p:grpSpPr>
          <a:xfrm>
            <a:off x="3152436" y="1871372"/>
            <a:ext cx="4253724" cy="2744154"/>
            <a:chOff x="2420848" y="934948"/>
            <a:chExt cx="4253724" cy="2744154"/>
          </a:xfrm>
        </p:grpSpPr>
        <p:sp>
          <p:nvSpPr>
            <p:cNvPr id="82" name="Rounded Rectangle 2">
              <a:extLst>
                <a:ext uri="{FF2B5EF4-FFF2-40B4-BE49-F238E27FC236}">
                  <a16:creationId xmlns:a16="http://schemas.microsoft.com/office/drawing/2014/main" id="{D7CE5BDB-3FC7-8AE9-0C49-F48DB6D92DE6}"/>
                </a:ext>
              </a:extLst>
            </p:cNvPr>
            <p:cNvSpPr/>
            <p:nvPr/>
          </p:nvSpPr>
          <p:spPr>
            <a:xfrm>
              <a:off x="2420848" y="934948"/>
              <a:ext cx="4253724" cy="2744154"/>
            </a:xfrm>
            <a:custGeom>
              <a:avLst/>
              <a:gdLst/>
              <a:ahLst/>
              <a:cxnLst/>
              <a:rect l="0" t="0" r="0" b="0"/>
              <a:pathLst>
                <a:path w="4253724" h="2744154">
                  <a:moveTo>
                    <a:pt x="2049946" y="42495"/>
                  </a:moveTo>
                  <a:cubicBezTo>
                    <a:pt x="2092437" y="0"/>
                    <a:pt x="2161336" y="0"/>
                    <a:pt x="2203835" y="42496"/>
                  </a:cubicBezTo>
                  <a:lnTo>
                    <a:pt x="4211225" y="2049946"/>
                  </a:lnTo>
                  <a:cubicBezTo>
                    <a:pt x="4253724" y="2092437"/>
                    <a:pt x="4253716" y="2161336"/>
                    <a:pt x="4211225" y="2203835"/>
                  </a:cubicBezTo>
                  <a:lnTo>
                    <a:pt x="3670898" y="2744154"/>
                  </a:lnTo>
                  <a:cubicBezTo>
                    <a:pt x="3713389" y="2701656"/>
                    <a:pt x="3713389" y="2632757"/>
                    <a:pt x="3670898" y="2590266"/>
                  </a:cubicBezTo>
                  <a:lnTo>
                    <a:pt x="2203827" y="1123150"/>
                  </a:lnTo>
                  <a:cubicBezTo>
                    <a:pt x="2161329" y="1080652"/>
                    <a:pt x="2092430" y="1080652"/>
                    <a:pt x="2049939" y="1123150"/>
                  </a:cubicBezTo>
                  <a:lnTo>
                    <a:pt x="582822" y="2590266"/>
                  </a:lnTo>
                  <a:cubicBezTo>
                    <a:pt x="540581" y="2632502"/>
                    <a:pt x="540329" y="2700838"/>
                    <a:pt x="582066" y="2743389"/>
                  </a:cubicBezTo>
                  <a:lnTo>
                    <a:pt x="42496" y="2203835"/>
                  </a:lnTo>
                  <a:cubicBezTo>
                    <a:pt x="0" y="2161336"/>
                    <a:pt x="0" y="2092437"/>
                    <a:pt x="42495" y="2049946"/>
                  </a:cubicBez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83" name="Rounded Rectangle 3">
              <a:extLst>
                <a:ext uri="{FF2B5EF4-FFF2-40B4-BE49-F238E27FC236}">
                  <a16:creationId xmlns:a16="http://schemas.microsoft.com/office/drawing/2014/main" id="{CAA7CE37-5C34-77FB-D5C6-BC7CA91EAEBC}"/>
                </a:ext>
              </a:extLst>
            </p:cNvPr>
            <p:cNvSpPr/>
            <p:nvPr/>
          </p:nvSpPr>
          <p:spPr>
            <a:xfrm>
              <a:off x="2420848" y="934948"/>
              <a:ext cx="4253720" cy="2744151"/>
            </a:xfrm>
            <a:custGeom>
              <a:avLst/>
              <a:gdLst/>
              <a:ahLst/>
              <a:cxnLst/>
              <a:rect l="0" t="0" r="0" b="0"/>
              <a:pathLst>
                <a:path w="4253720" h="2744151">
                  <a:moveTo>
                    <a:pt x="2049943" y="42495"/>
                  </a:moveTo>
                  <a:cubicBezTo>
                    <a:pt x="2092439" y="0"/>
                    <a:pt x="2161338" y="0"/>
                    <a:pt x="2203832" y="42496"/>
                  </a:cubicBezTo>
                  <a:lnTo>
                    <a:pt x="4211225" y="2049943"/>
                  </a:lnTo>
                  <a:cubicBezTo>
                    <a:pt x="4253720" y="2092439"/>
                    <a:pt x="4253719" y="2161336"/>
                    <a:pt x="4211225" y="2203832"/>
                  </a:cubicBezTo>
                  <a:lnTo>
                    <a:pt x="3670897" y="2744151"/>
                  </a:lnTo>
                  <a:cubicBezTo>
                    <a:pt x="3713392" y="2701657"/>
                    <a:pt x="3713392" y="2632759"/>
                    <a:pt x="3670898" y="2590264"/>
                  </a:cubicBezTo>
                  <a:lnTo>
                    <a:pt x="2203826" y="1123151"/>
                  </a:lnTo>
                  <a:cubicBezTo>
                    <a:pt x="2161330" y="1080655"/>
                    <a:pt x="2092431" y="1080654"/>
                    <a:pt x="2049935" y="1123149"/>
                  </a:cubicBezTo>
                  <a:lnTo>
                    <a:pt x="582822" y="2590262"/>
                  </a:lnTo>
                  <a:cubicBezTo>
                    <a:pt x="540581" y="2632504"/>
                    <a:pt x="540329" y="2700834"/>
                    <a:pt x="582066" y="2743387"/>
                  </a:cubicBezTo>
                  <a:lnTo>
                    <a:pt x="42496" y="2203832"/>
                  </a:lnTo>
                  <a:cubicBezTo>
                    <a:pt x="0" y="2161337"/>
                    <a:pt x="0" y="2092439"/>
                    <a:pt x="42495" y="2049943"/>
                  </a:cubicBezTo>
                  <a:close/>
                </a:path>
              </a:pathLst>
            </a:custGeom>
            <a:noFill/>
            <a:ln w="5628">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sp>
        <p:nvSpPr>
          <p:cNvPr id="57" name="Rounded Rectangle 5">
            <a:extLst>
              <a:ext uri="{FF2B5EF4-FFF2-40B4-BE49-F238E27FC236}">
                <a16:creationId xmlns:a16="http://schemas.microsoft.com/office/drawing/2014/main" id="{C1CDDE74-3936-A760-E7A8-8FC7B4A2E039}"/>
              </a:ext>
            </a:extLst>
          </p:cNvPr>
          <p:cNvSpPr/>
          <p:nvPr/>
        </p:nvSpPr>
        <p:spPr>
          <a:xfrm>
            <a:off x="911697" y="3007678"/>
            <a:ext cx="3196936" cy="900545"/>
          </a:xfrm>
          <a:custGeom>
            <a:avLst/>
            <a:gdLst/>
            <a:ahLst/>
            <a:cxnLst/>
            <a:rect l="0" t="0" r="0" b="0"/>
            <a:pathLst>
              <a:path w="3196936" h="900545">
                <a:moveTo>
                  <a:pt x="2296390" y="900545"/>
                </a:moveTo>
                <a:lnTo>
                  <a:pt x="108815" y="900545"/>
                </a:lnTo>
                <a:cubicBezTo>
                  <a:pt x="48718" y="900545"/>
                  <a:pt x="0" y="851826"/>
                  <a:pt x="0" y="791729"/>
                </a:cubicBezTo>
                <a:lnTo>
                  <a:pt x="0" y="108815"/>
                </a:lnTo>
                <a:cubicBezTo>
                  <a:pt x="0" y="48718"/>
                  <a:pt x="48718" y="0"/>
                  <a:pt x="108815" y="0"/>
                </a:cubicBezTo>
                <a:lnTo>
                  <a:pt x="3196936" y="0"/>
                </a:lnTo>
              </a:path>
            </a:pathLst>
          </a:custGeom>
          <a:noFill/>
          <a:ln w="5628">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nvGrpSpPr>
          <p:cNvPr id="58" name="Group 57">
            <a:extLst>
              <a:ext uri="{FF2B5EF4-FFF2-40B4-BE49-F238E27FC236}">
                <a16:creationId xmlns:a16="http://schemas.microsoft.com/office/drawing/2014/main" id="{9C660017-9BC8-D4F4-5E18-7E764B70BDC2}"/>
              </a:ext>
            </a:extLst>
          </p:cNvPr>
          <p:cNvGrpSpPr/>
          <p:nvPr/>
        </p:nvGrpSpPr>
        <p:grpSpPr>
          <a:xfrm>
            <a:off x="3692763" y="2952027"/>
            <a:ext cx="3173065" cy="2203820"/>
            <a:chOff x="2961175" y="2015603"/>
            <a:chExt cx="3173065" cy="2203820"/>
          </a:xfrm>
        </p:grpSpPr>
        <p:sp>
          <p:nvSpPr>
            <p:cNvPr id="80" name="Rounded Rectangle 6">
              <a:extLst>
                <a:ext uri="{FF2B5EF4-FFF2-40B4-BE49-F238E27FC236}">
                  <a16:creationId xmlns:a16="http://schemas.microsoft.com/office/drawing/2014/main" id="{BF29ECCA-73B9-E122-8667-2E0E81298367}"/>
                </a:ext>
              </a:extLst>
            </p:cNvPr>
            <p:cNvSpPr/>
            <p:nvPr/>
          </p:nvSpPr>
          <p:spPr>
            <a:xfrm>
              <a:off x="2961175" y="2015603"/>
              <a:ext cx="3173062" cy="2203820"/>
            </a:xfrm>
            <a:custGeom>
              <a:avLst/>
              <a:gdLst/>
              <a:ahLst/>
              <a:cxnLst/>
              <a:rect l="0" t="0" r="0" b="0"/>
              <a:pathLst>
                <a:path w="3173062" h="2203820">
                  <a:moveTo>
                    <a:pt x="1509612" y="42495"/>
                  </a:moveTo>
                  <a:cubicBezTo>
                    <a:pt x="1552102" y="0"/>
                    <a:pt x="1621002" y="0"/>
                    <a:pt x="1663500" y="42496"/>
                  </a:cubicBezTo>
                  <a:lnTo>
                    <a:pt x="3130571" y="1509612"/>
                  </a:lnTo>
                  <a:cubicBezTo>
                    <a:pt x="3173062" y="1552102"/>
                    <a:pt x="3173062" y="1621002"/>
                    <a:pt x="3130571" y="1663500"/>
                  </a:cubicBezTo>
                  <a:lnTo>
                    <a:pt x="2590244" y="2203820"/>
                  </a:lnTo>
                  <a:cubicBezTo>
                    <a:pt x="2632734" y="2161321"/>
                    <a:pt x="2632742" y="2092422"/>
                    <a:pt x="2590244" y="2049931"/>
                  </a:cubicBezTo>
                  <a:lnTo>
                    <a:pt x="1663492" y="1123150"/>
                  </a:lnTo>
                  <a:cubicBezTo>
                    <a:pt x="1620994" y="1080652"/>
                    <a:pt x="1552095" y="1080652"/>
                    <a:pt x="1509604" y="1123150"/>
                  </a:cubicBezTo>
                  <a:lnTo>
                    <a:pt x="582823" y="2049931"/>
                  </a:lnTo>
                  <a:cubicBezTo>
                    <a:pt x="540579" y="2092174"/>
                    <a:pt x="540328" y="2160503"/>
                    <a:pt x="582071" y="2203062"/>
                  </a:cubicBezTo>
                  <a:lnTo>
                    <a:pt x="42496" y="1663500"/>
                  </a:lnTo>
                  <a:cubicBezTo>
                    <a:pt x="0" y="1621002"/>
                    <a:pt x="0" y="1552102"/>
                    <a:pt x="42495" y="1509612"/>
                  </a:cubicBezTo>
                  <a:close/>
                </a:path>
              </a:pathLst>
            </a:custGeom>
            <a:solidFill>
              <a:srgbClr val="FF9C26"/>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81" name="Rounded Rectangle 7">
              <a:extLst>
                <a:ext uri="{FF2B5EF4-FFF2-40B4-BE49-F238E27FC236}">
                  <a16:creationId xmlns:a16="http://schemas.microsoft.com/office/drawing/2014/main" id="{5B2DDB2E-7378-5F06-89C2-58A0389C7233}"/>
                </a:ext>
              </a:extLst>
            </p:cNvPr>
            <p:cNvSpPr/>
            <p:nvPr/>
          </p:nvSpPr>
          <p:spPr>
            <a:xfrm>
              <a:off x="2961175" y="2015603"/>
              <a:ext cx="3173065" cy="2203817"/>
            </a:xfrm>
            <a:custGeom>
              <a:avLst/>
              <a:gdLst/>
              <a:ahLst/>
              <a:cxnLst/>
              <a:rect l="0" t="0" r="0" b="0"/>
              <a:pathLst>
                <a:path w="3173065" h="2203817">
                  <a:moveTo>
                    <a:pt x="1509608" y="42495"/>
                  </a:moveTo>
                  <a:cubicBezTo>
                    <a:pt x="1552104" y="0"/>
                    <a:pt x="1621003" y="0"/>
                    <a:pt x="1663498" y="42496"/>
                  </a:cubicBezTo>
                  <a:lnTo>
                    <a:pt x="3130571" y="1509609"/>
                  </a:lnTo>
                  <a:cubicBezTo>
                    <a:pt x="3173065" y="1552105"/>
                    <a:pt x="3173065" y="1621002"/>
                    <a:pt x="3130570" y="1663497"/>
                  </a:cubicBezTo>
                  <a:lnTo>
                    <a:pt x="2590243" y="2203817"/>
                  </a:lnTo>
                  <a:cubicBezTo>
                    <a:pt x="2632737" y="2161322"/>
                    <a:pt x="2632738" y="2092424"/>
                    <a:pt x="2590244" y="2049929"/>
                  </a:cubicBezTo>
                  <a:lnTo>
                    <a:pt x="1663491" y="1123151"/>
                  </a:lnTo>
                  <a:cubicBezTo>
                    <a:pt x="1620996" y="1080655"/>
                    <a:pt x="1552096" y="1080654"/>
                    <a:pt x="1509600" y="1123149"/>
                  </a:cubicBezTo>
                  <a:lnTo>
                    <a:pt x="582823" y="2049928"/>
                  </a:lnTo>
                  <a:cubicBezTo>
                    <a:pt x="540579" y="2092171"/>
                    <a:pt x="540328" y="2160506"/>
                    <a:pt x="582071" y="2203059"/>
                  </a:cubicBezTo>
                  <a:lnTo>
                    <a:pt x="42496" y="1663498"/>
                  </a:lnTo>
                  <a:cubicBezTo>
                    <a:pt x="0" y="1621003"/>
                    <a:pt x="0" y="1552104"/>
                    <a:pt x="42495" y="1509608"/>
                  </a:cubicBezTo>
                  <a:close/>
                </a:path>
              </a:pathLst>
            </a:custGeom>
            <a:noFill/>
            <a:ln w="5628">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sp>
        <p:nvSpPr>
          <p:cNvPr id="59" name="Rounded Rectangle 9">
            <a:extLst>
              <a:ext uri="{FF2B5EF4-FFF2-40B4-BE49-F238E27FC236}">
                <a16:creationId xmlns:a16="http://schemas.microsoft.com/office/drawing/2014/main" id="{BCD272AD-66D5-E23F-8975-85010BD947ED}"/>
              </a:ext>
            </a:extLst>
          </p:cNvPr>
          <p:cNvSpPr/>
          <p:nvPr/>
        </p:nvSpPr>
        <p:spPr>
          <a:xfrm>
            <a:off x="911697" y="4088333"/>
            <a:ext cx="3193184" cy="900545"/>
          </a:xfrm>
          <a:custGeom>
            <a:avLst/>
            <a:gdLst/>
            <a:ahLst/>
            <a:cxnLst/>
            <a:rect l="0" t="0" r="0" b="0"/>
            <a:pathLst>
              <a:path w="3193184" h="900545">
                <a:moveTo>
                  <a:pt x="3193184" y="900545"/>
                </a:moveTo>
                <a:lnTo>
                  <a:pt x="108815" y="900545"/>
                </a:lnTo>
                <a:cubicBezTo>
                  <a:pt x="48718" y="900545"/>
                  <a:pt x="0" y="851826"/>
                  <a:pt x="0" y="791729"/>
                </a:cubicBezTo>
                <a:lnTo>
                  <a:pt x="0" y="108815"/>
                </a:lnTo>
                <a:cubicBezTo>
                  <a:pt x="0" y="48718"/>
                  <a:pt x="48718" y="0"/>
                  <a:pt x="108815" y="0"/>
                </a:cubicBezTo>
                <a:lnTo>
                  <a:pt x="2292638" y="0"/>
                </a:lnTo>
              </a:path>
            </a:pathLst>
          </a:custGeom>
          <a:noFill/>
          <a:ln w="5628">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nvGrpSpPr>
          <p:cNvPr id="60" name="Group 59">
            <a:extLst>
              <a:ext uri="{FF2B5EF4-FFF2-40B4-BE49-F238E27FC236}">
                <a16:creationId xmlns:a16="http://schemas.microsoft.com/office/drawing/2014/main" id="{1CC81F72-4153-74EB-A9CE-DF8D802F0898}"/>
              </a:ext>
            </a:extLst>
          </p:cNvPr>
          <p:cNvGrpSpPr/>
          <p:nvPr/>
        </p:nvGrpSpPr>
        <p:grpSpPr>
          <a:xfrm>
            <a:off x="4233090" y="4032681"/>
            <a:ext cx="2092415" cy="2486448"/>
            <a:chOff x="3501502" y="3096257"/>
            <a:chExt cx="2092415" cy="2486448"/>
          </a:xfrm>
        </p:grpSpPr>
        <p:sp>
          <p:nvSpPr>
            <p:cNvPr id="78" name="Rounded Rectangle 10">
              <a:extLst>
                <a:ext uri="{FF2B5EF4-FFF2-40B4-BE49-F238E27FC236}">
                  <a16:creationId xmlns:a16="http://schemas.microsoft.com/office/drawing/2014/main" id="{59060676-992E-CBA3-5415-0D6074D71574}"/>
                </a:ext>
              </a:extLst>
            </p:cNvPr>
            <p:cNvSpPr/>
            <p:nvPr/>
          </p:nvSpPr>
          <p:spPr>
            <a:xfrm>
              <a:off x="3501502" y="3096257"/>
              <a:ext cx="2092415" cy="2486448"/>
            </a:xfrm>
            <a:custGeom>
              <a:avLst/>
              <a:gdLst/>
              <a:ahLst/>
              <a:cxnLst/>
              <a:rect l="0" t="0" r="0" b="0"/>
              <a:pathLst>
                <a:path w="2092415" h="2486448">
                  <a:moveTo>
                    <a:pt x="969277" y="42495"/>
                  </a:moveTo>
                  <a:cubicBezTo>
                    <a:pt x="1011768" y="0"/>
                    <a:pt x="1080667" y="0"/>
                    <a:pt x="1123165" y="42496"/>
                  </a:cubicBezTo>
                  <a:lnTo>
                    <a:pt x="2049916" y="969277"/>
                  </a:lnTo>
                  <a:cubicBezTo>
                    <a:pt x="2092415" y="1011768"/>
                    <a:pt x="2092407" y="1080667"/>
                    <a:pt x="2049916" y="1123165"/>
                  </a:cubicBezTo>
                  <a:cubicBezTo>
                    <a:pt x="1718801" y="1454273"/>
                    <a:pt x="686601" y="2486448"/>
                    <a:pt x="1509574" y="1663477"/>
                  </a:cubicBezTo>
                  <a:cubicBezTo>
                    <a:pt x="1552065" y="1620979"/>
                    <a:pt x="1552072" y="1552080"/>
                    <a:pt x="1509574" y="1509589"/>
                  </a:cubicBezTo>
                  <a:lnTo>
                    <a:pt x="1123150" y="1123150"/>
                  </a:lnTo>
                  <a:cubicBezTo>
                    <a:pt x="1080652" y="1080652"/>
                    <a:pt x="1011753" y="1080652"/>
                    <a:pt x="969262" y="1123150"/>
                  </a:cubicBezTo>
                  <a:lnTo>
                    <a:pt x="582823" y="1509589"/>
                  </a:lnTo>
                  <a:cubicBezTo>
                    <a:pt x="540355" y="1552057"/>
                    <a:pt x="540328" y="1620889"/>
                    <a:pt x="582739" y="1663395"/>
                  </a:cubicBezTo>
                  <a:lnTo>
                    <a:pt x="42496" y="1123165"/>
                  </a:lnTo>
                  <a:cubicBezTo>
                    <a:pt x="0" y="1080667"/>
                    <a:pt x="0" y="1011768"/>
                    <a:pt x="42495" y="969277"/>
                  </a:cubicBezTo>
                  <a:close/>
                </a:path>
              </a:pathLst>
            </a:custGeom>
            <a:solidFill>
              <a:srgbClr val="F98700"/>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79" name="Rounded Rectangle 11">
              <a:extLst>
                <a:ext uri="{FF2B5EF4-FFF2-40B4-BE49-F238E27FC236}">
                  <a16:creationId xmlns:a16="http://schemas.microsoft.com/office/drawing/2014/main" id="{000C69DD-6D25-E6BE-A9B2-DC1FE86E8C54}"/>
                </a:ext>
              </a:extLst>
            </p:cNvPr>
            <p:cNvSpPr/>
            <p:nvPr/>
          </p:nvSpPr>
          <p:spPr>
            <a:xfrm>
              <a:off x="3501502" y="3096257"/>
              <a:ext cx="2092411" cy="2486448"/>
            </a:xfrm>
            <a:custGeom>
              <a:avLst/>
              <a:gdLst/>
              <a:ahLst/>
              <a:cxnLst/>
              <a:rect l="0" t="0" r="0" b="0"/>
              <a:pathLst>
                <a:path w="2092411" h="2486448">
                  <a:moveTo>
                    <a:pt x="969273" y="42495"/>
                  </a:moveTo>
                  <a:cubicBezTo>
                    <a:pt x="1011769" y="0"/>
                    <a:pt x="1080668" y="0"/>
                    <a:pt x="1123164" y="42496"/>
                  </a:cubicBezTo>
                  <a:lnTo>
                    <a:pt x="2049916" y="969275"/>
                  </a:lnTo>
                  <a:cubicBezTo>
                    <a:pt x="2092411" y="1011770"/>
                    <a:pt x="2092410" y="1080668"/>
                    <a:pt x="2049916" y="1123162"/>
                  </a:cubicBezTo>
                  <a:cubicBezTo>
                    <a:pt x="1718803" y="1454275"/>
                    <a:pt x="686601" y="2486448"/>
                    <a:pt x="1509573" y="1663475"/>
                  </a:cubicBezTo>
                  <a:cubicBezTo>
                    <a:pt x="1552069" y="1620980"/>
                    <a:pt x="1552069" y="1552083"/>
                    <a:pt x="1509574" y="1509587"/>
                  </a:cubicBezTo>
                  <a:lnTo>
                    <a:pt x="1123149" y="1123151"/>
                  </a:lnTo>
                  <a:cubicBezTo>
                    <a:pt x="1080653" y="1080655"/>
                    <a:pt x="1011754" y="1080654"/>
                    <a:pt x="969259" y="1123149"/>
                  </a:cubicBezTo>
                  <a:lnTo>
                    <a:pt x="582823" y="1509586"/>
                  </a:lnTo>
                  <a:cubicBezTo>
                    <a:pt x="540355" y="1552054"/>
                    <a:pt x="540328" y="1620890"/>
                    <a:pt x="582739" y="1663392"/>
                  </a:cubicBezTo>
                  <a:lnTo>
                    <a:pt x="42496" y="1123164"/>
                  </a:lnTo>
                  <a:cubicBezTo>
                    <a:pt x="0" y="1080668"/>
                    <a:pt x="0" y="1011769"/>
                    <a:pt x="42495" y="969273"/>
                  </a:cubicBezTo>
                  <a:close/>
                </a:path>
              </a:pathLst>
            </a:custGeom>
            <a:noFill/>
            <a:ln w="5628">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sp>
        <p:nvSpPr>
          <p:cNvPr id="61" name="Rounded Rectangle 13">
            <a:extLst>
              <a:ext uri="{FF2B5EF4-FFF2-40B4-BE49-F238E27FC236}">
                <a16:creationId xmlns:a16="http://schemas.microsoft.com/office/drawing/2014/main" id="{C994E3BD-4891-5D96-D0A1-5495BCA9E7E0}"/>
              </a:ext>
            </a:extLst>
          </p:cNvPr>
          <p:cNvSpPr/>
          <p:nvPr/>
        </p:nvSpPr>
        <p:spPr>
          <a:xfrm>
            <a:off x="911697" y="5168987"/>
            <a:ext cx="4277602" cy="900545"/>
          </a:xfrm>
          <a:custGeom>
            <a:avLst/>
            <a:gdLst/>
            <a:ahLst/>
            <a:cxnLst/>
            <a:rect l="0" t="0" r="0" b="0"/>
            <a:pathLst>
              <a:path w="4277602" h="900545">
                <a:moveTo>
                  <a:pt x="4277602" y="900545"/>
                </a:moveTo>
                <a:lnTo>
                  <a:pt x="108815" y="900545"/>
                </a:lnTo>
                <a:cubicBezTo>
                  <a:pt x="48718" y="900545"/>
                  <a:pt x="0" y="851826"/>
                  <a:pt x="0" y="791729"/>
                </a:cubicBezTo>
                <a:lnTo>
                  <a:pt x="0" y="108815"/>
                </a:lnTo>
                <a:cubicBezTo>
                  <a:pt x="0" y="48718"/>
                  <a:pt x="48718" y="0"/>
                  <a:pt x="108815" y="0"/>
                </a:cubicBezTo>
                <a:lnTo>
                  <a:pt x="3377045" y="0"/>
                </a:lnTo>
              </a:path>
            </a:pathLst>
          </a:custGeom>
          <a:noFill/>
          <a:ln w="5628">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nvGrpSpPr>
          <p:cNvPr id="62" name="Group 61">
            <a:extLst>
              <a:ext uri="{FF2B5EF4-FFF2-40B4-BE49-F238E27FC236}">
                <a16:creationId xmlns:a16="http://schemas.microsoft.com/office/drawing/2014/main" id="{9DD6CC01-79C6-0E90-D99E-CB1AAF5DDBF7}"/>
              </a:ext>
            </a:extLst>
          </p:cNvPr>
          <p:cNvGrpSpPr/>
          <p:nvPr/>
        </p:nvGrpSpPr>
        <p:grpSpPr>
          <a:xfrm>
            <a:off x="4773418" y="5113336"/>
            <a:ext cx="1011745" cy="1011745"/>
            <a:chOff x="4041830" y="4176912"/>
            <a:chExt cx="1011745" cy="1011745"/>
          </a:xfrm>
        </p:grpSpPr>
        <p:sp>
          <p:nvSpPr>
            <p:cNvPr id="76" name="Rounded Rectangle 14">
              <a:extLst>
                <a:ext uri="{FF2B5EF4-FFF2-40B4-BE49-F238E27FC236}">
                  <a16:creationId xmlns:a16="http://schemas.microsoft.com/office/drawing/2014/main" id="{FC656E58-87DD-B3F1-7E74-161985A36C3D}"/>
                </a:ext>
              </a:extLst>
            </p:cNvPr>
            <p:cNvSpPr/>
            <p:nvPr/>
          </p:nvSpPr>
          <p:spPr>
            <a:xfrm>
              <a:off x="4041830" y="4176912"/>
              <a:ext cx="1011745" cy="1011745"/>
            </a:xfrm>
            <a:custGeom>
              <a:avLst/>
              <a:gdLst/>
              <a:ahLst/>
              <a:cxnLst/>
              <a:rect l="0" t="0" r="0" b="0"/>
              <a:pathLst>
                <a:path w="1011745" h="1011745">
                  <a:moveTo>
                    <a:pt x="42496" y="582821"/>
                  </a:moveTo>
                  <a:cubicBezTo>
                    <a:pt x="0" y="540326"/>
                    <a:pt x="0" y="471427"/>
                    <a:pt x="42495" y="428932"/>
                  </a:cubicBezTo>
                  <a:lnTo>
                    <a:pt x="428932" y="42495"/>
                  </a:lnTo>
                  <a:cubicBezTo>
                    <a:pt x="471427" y="0"/>
                    <a:pt x="540326" y="0"/>
                    <a:pt x="582821" y="42496"/>
                  </a:cubicBezTo>
                  <a:lnTo>
                    <a:pt x="969247" y="428932"/>
                  </a:lnTo>
                  <a:cubicBezTo>
                    <a:pt x="1011745" y="471428"/>
                    <a:pt x="1011738" y="540325"/>
                    <a:pt x="969247" y="582821"/>
                  </a:cubicBezTo>
                  <a:lnTo>
                    <a:pt x="582821" y="969247"/>
                  </a:lnTo>
                  <a:cubicBezTo>
                    <a:pt x="540325" y="1011738"/>
                    <a:pt x="471428" y="1011745"/>
                    <a:pt x="428932" y="969247"/>
                  </a:cubicBezTo>
                  <a:close/>
                </a:path>
              </a:pathLst>
            </a:custGeom>
            <a:solidFill>
              <a:srgbClr val="986222"/>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77" name="Rounded Rectangle 15">
              <a:extLst>
                <a:ext uri="{FF2B5EF4-FFF2-40B4-BE49-F238E27FC236}">
                  <a16:creationId xmlns:a16="http://schemas.microsoft.com/office/drawing/2014/main" id="{B3CF0C13-360D-6DA6-E08D-92434C5C5948}"/>
                </a:ext>
              </a:extLst>
            </p:cNvPr>
            <p:cNvSpPr/>
            <p:nvPr/>
          </p:nvSpPr>
          <p:spPr>
            <a:xfrm>
              <a:off x="4041830" y="4176912"/>
              <a:ext cx="1011741" cy="1011741"/>
            </a:xfrm>
            <a:custGeom>
              <a:avLst/>
              <a:gdLst/>
              <a:ahLst/>
              <a:cxnLst/>
              <a:rect l="0" t="0" r="0" b="0"/>
              <a:pathLst>
                <a:path w="1011741" h="1011741">
                  <a:moveTo>
                    <a:pt x="42496" y="582821"/>
                  </a:moveTo>
                  <a:cubicBezTo>
                    <a:pt x="0" y="540326"/>
                    <a:pt x="0" y="471427"/>
                    <a:pt x="42495" y="428932"/>
                  </a:cubicBezTo>
                  <a:lnTo>
                    <a:pt x="428932" y="42495"/>
                  </a:lnTo>
                  <a:cubicBezTo>
                    <a:pt x="471427" y="0"/>
                    <a:pt x="540326" y="0"/>
                    <a:pt x="582821" y="42496"/>
                  </a:cubicBezTo>
                  <a:lnTo>
                    <a:pt x="969247" y="428932"/>
                  </a:lnTo>
                  <a:cubicBezTo>
                    <a:pt x="1011741" y="471428"/>
                    <a:pt x="1011741" y="540325"/>
                    <a:pt x="969246" y="582821"/>
                  </a:cubicBezTo>
                  <a:lnTo>
                    <a:pt x="582821" y="969246"/>
                  </a:lnTo>
                  <a:cubicBezTo>
                    <a:pt x="540325" y="1011741"/>
                    <a:pt x="471428" y="1011741"/>
                    <a:pt x="428932" y="969247"/>
                  </a:cubicBezTo>
                  <a:close/>
                </a:path>
              </a:pathLst>
            </a:custGeom>
            <a:noFill/>
            <a:ln w="5628">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sp>
        <p:nvSpPr>
          <p:cNvPr id="63" name="TextBox 17">
            <a:extLst>
              <a:ext uri="{FF2B5EF4-FFF2-40B4-BE49-F238E27FC236}">
                <a16:creationId xmlns:a16="http://schemas.microsoft.com/office/drawing/2014/main" id="{4196178E-C1DE-7389-BAFE-B79561A81F26}"/>
              </a:ext>
            </a:extLst>
          </p:cNvPr>
          <p:cNvSpPr txBox="1"/>
          <p:nvPr/>
        </p:nvSpPr>
        <p:spPr>
          <a:xfrm>
            <a:off x="2496578" y="1334915"/>
            <a:ext cx="3673634" cy="24622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600" b="1" noProof="0">
                <a:solidFill>
                  <a:srgbClr val="464646"/>
                </a:solidFill>
                <a:latin typeface="Avenir LT Pro 45Book"/>
              </a:rPr>
              <a:t>Example: Tesla's Value Proposition Strategy</a:t>
            </a:r>
          </a:p>
        </p:txBody>
      </p:sp>
      <p:sp>
        <p:nvSpPr>
          <p:cNvPr id="64" name="TextBox 18">
            <a:extLst>
              <a:ext uri="{FF2B5EF4-FFF2-40B4-BE49-F238E27FC236}">
                <a16:creationId xmlns:a16="http://schemas.microsoft.com/office/drawing/2014/main" id="{91C62946-817E-6D76-8BAA-EC9244057EC7}"/>
              </a:ext>
            </a:extLst>
          </p:cNvPr>
          <p:cNvSpPr txBox="1"/>
          <p:nvPr/>
        </p:nvSpPr>
        <p:spPr>
          <a:xfrm>
            <a:off x="1106815" y="2122142"/>
            <a:ext cx="1753685" cy="21544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400" b="1" noProof="0">
                <a:solidFill>
                  <a:srgbClr val="464646"/>
                </a:solidFill>
                <a:latin typeface="Avenir LT Pro 45Book"/>
              </a:rPr>
              <a:t>Energy Storage Systems</a:t>
            </a:r>
          </a:p>
        </p:txBody>
      </p:sp>
      <p:sp>
        <p:nvSpPr>
          <p:cNvPr id="65" name="TextBox 19">
            <a:extLst>
              <a:ext uri="{FF2B5EF4-FFF2-40B4-BE49-F238E27FC236}">
                <a16:creationId xmlns:a16="http://schemas.microsoft.com/office/drawing/2014/main" id="{EDC26851-8196-9F46-3926-0BA4A5908976}"/>
              </a:ext>
            </a:extLst>
          </p:cNvPr>
          <p:cNvSpPr txBox="1"/>
          <p:nvPr/>
        </p:nvSpPr>
        <p:spPr>
          <a:xfrm>
            <a:off x="1106815" y="2385551"/>
            <a:ext cx="1785745" cy="30777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000" b="0" noProof="0">
                <a:solidFill>
                  <a:srgbClr val="464646"/>
                </a:solidFill>
                <a:latin typeface="Avenir LT Pro 45Book"/>
              </a:rPr>
              <a:t>Enables energy independence and
storage</a:t>
            </a:r>
          </a:p>
        </p:txBody>
      </p:sp>
      <p:sp>
        <p:nvSpPr>
          <p:cNvPr id="66" name="TextBox 20">
            <a:extLst>
              <a:ext uri="{FF2B5EF4-FFF2-40B4-BE49-F238E27FC236}">
                <a16:creationId xmlns:a16="http://schemas.microsoft.com/office/drawing/2014/main" id="{2CC3322F-9EDB-098C-3C90-E6D1CF896266}"/>
              </a:ext>
            </a:extLst>
          </p:cNvPr>
          <p:cNvSpPr txBox="1"/>
          <p:nvPr/>
        </p:nvSpPr>
        <p:spPr>
          <a:xfrm>
            <a:off x="1106815" y="3202796"/>
            <a:ext cx="902170" cy="21544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400" b="1" noProof="0">
                <a:solidFill>
                  <a:srgbClr val="464646"/>
                </a:solidFill>
                <a:latin typeface="Avenir LT Pro 45Book"/>
              </a:rPr>
              <a:t>Solar Panels</a:t>
            </a:r>
          </a:p>
        </p:txBody>
      </p:sp>
      <p:sp>
        <p:nvSpPr>
          <p:cNvPr id="67" name="TextBox 21">
            <a:extLst>
              <a:ext uri="{FF2B5EF4-FFF2-40B4-BE49-F238E27FC236}">
                <a16:creationId xmlns:a16="http://schemas.microsoft.com/office/drawing/2014/main" id="{91DFF2A3-EFED-8D3C-62C5-CD6656854DA7}"/>
              </a:ext>
            </a:extLst>
          </p:cNvPr>
          <p:cNvSpPr txBox="1"/>
          <p:nvPr/>
        </p:nvSpPr>
        <p:spPr>
          <a:xfrm>
            <a:off x="1106815" y="3466206"/>
            <a:ext cx="1949252" cy="30777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000" b="0" noProof="0">
                <a:solidFill>
                  <a:srgbClr val="464646"/>
                </a:solidFill>
                <a:latin typeface="Avenir LT Pro 45Book"/>
              </a:rPr>
              <a:t>Provides sustainable energy solutions
for charging</a:t>
            </a:r>
          </a:p>
        </p:txBody>
      </p:sp>
      <p:sp>
        <p:nvSpPr>
          <p:cNvPr id="68" name="TextBox 22">
            <a:extLst>
              <a:ext uri="{FF2B5EF4-FFF2-40B4-BE49-F238E27FC236}">
                <a16:creationId xmlns:a16="http://schemas.microsoft.com/office/drawing/2014/main" id="{E693A437-7DA3-A9E4-4DC9-0037CAF8B808}"/>
              </a:ext>
            </a:extLst>
          </p:cNvPr>
          <p:cNvSpPr txBox="1"/>
          <p:nvPr/>
        </p:nvSpPr>
        <p:spPr>
          <a:xfrm>
            <a:off x="1106815" y="4283451"/>
            <a:ext cx="1675459" cy="21544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400" b="1" noProof="0">
                <a:solidFill>
                  <a:srgbClr val="464646"/>
                </a:solidFill>
                <a:latin typeface="Avenir LT Pro 45Book"/>
              </a:rPr>
              <a:t>Supercharger Network</a:t>
            </a:r>
          </a:p>
        </p:txBody>
      </p:sp>
      <p:sp>
        <p:nvSpPr>
          <p:cNvPr id="69" name="TextBox 23">
            <a:extLst>
              <a:ext uri="{FF2B5EF4-FFF2-40B4-BE49-F238E27FC236}">
                <a16:creationId xmlns:a16="http://schemas.microsoft.com/office/drawing/2014/main" id="{62EC15B5-FED3-BE2B-EAA0-A35349683618}"/>
              </a:ext>
            </a:extLst>
          </p:cNvPr>
          <p:cNvSpPr txBox="1"/>
          <p:nvPr/>
        </p:nvSpPr>
        <p:spPr>
          <a:xfrm>
            <a:off x="1106815" y="4546860"/>
            <a:ext cx="1622239" cy="24622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800" b="0" noProof="0">
                <a:solidFill>
                  <a:srgbClr val="464646"/>
                </a:solidFill>
                <a:latin typeface="Avenir LT Pro 45Book"/>
              </a:rPr>
              <a:t>Enhances vehicle usability and reduces
range anxiety</a:t>
            </a:r>
          </a:p>
        </p:txBody>
      </p:sp>
      <p:sp>
        <p:nvSpPr>
          <p:cNvPr id="70" name="TextBox 24">
            <a:extLst>
              <a:ext uri="{FF2B5EF4-FFF2-40B4-BE49-F238E27FC236}">
                <a16:creationId xmlns:a16="http://schemas.microsoft.com/office/drawing/2014/main" id="{459E3620-AAD4-8B32-5350-FD46A2C0D9A0}"/>
              </a:ext>
            </a:extLst>
          </p:cNvPr>
          <p:cNvSpPr txBox="1"/>
          <p:nvPr/>
        </p:nvSpPr>
        <p:spPr>
          <a:xfrm>
            <a:off x="1106815" y="5364105"/>
            <a:ext cx="1602298" cy="21544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400" b="1" noProof="0">
                <a:solidFill>
                  <a:srgbClr val="464646"/>
                </a:solidFill>
                <a:latin typeface="Avenir LT Pro 45Book"/>
              </a:rPr>
              <a:t>Tesla Electric Vehicles</a:t>
            </a:r>
          </a:p>
        </p:txBody>
      </p:sp>
      <p:sp>
        <p:nvSpPr>
          <p:cNvPr id="71" name="TextBox 25">
            <a:extLst>
              <a:ext uri="{FF2B5EF4-FFF2-40B4-BE49-F238E27FC236}">
                <a16:creationId xmlns:a16="http://schemas.microsoft.com/office/drawing/2014/main" id="{1ABE446C-8B18-FD65-7640-3556FE3C988F}"/>
              </a:ext>
            </a:extLst>
          </p:cNvPr>
          <p:cNvSpPr txBox="1"/>
          <p:nvPr/>
        </p:nvSpPr>
        <p:spPr>
          <a:xfrm>
            <a:off x="1106815" y="5627515"/>
            <a:ext cx="1766509" cy="30777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000" b="0" noProof="0">
                <a:solidFill>
                  <a:srgbClr val="464646"/>
                </a:solidFill>
                <a:latin typeface="Avenir LT Pro 45Book"/>
              </a:rPr>
              <a:t>Core product offering of premium
electric vehicles</a:t>
            </a:r>
          </a:p>
        </p:txBody>
      </p:sp>
      <p:sp>
        <p:nvSpPr>
          <p:cNvPr id="72" name="Rounded Rectangle 26">
            <a:extLst>
              <a:ext uri="{FF2B5EF4-FFF2-40B4-BE49-F238E27FC236}">
                <a16:creationId xmlns:a16="http://schemas.microsoft.com/office/drawing/2014/main" id="{3AAE4649-E18C-14CF-0384-83EBDA0F5007}"/>
              </a:ext>
            </a:extLst>
          </p:cNvPr>
          <p:cNvSpPr/>
          <p:nvPr/>
        </p:nvSpPr>
        <p:spPr>
          <a:xfrm>
            <a:off x="5151759" y="2294745"/>
            <a:ext cx="255129" cy="345174"/>
          </a:xfrm>
          <a:custGeom>
            <a:avLst/>
            <a:gdLst/>
            <a:ahLst/>
            <a:cxnLst/>
            <a:rect l="0" t="0" r="0" b="0"/>
            <a:pathLst>
              <a:path w="255129" h="345174">
                <a:moveTo>
                  <a:pt x="45022" y="315159"/>
                </a:moveTo>
                <a:cubicBezTo>
                  <a:pt x="20157" y="315159"/>
                  <a:pt x="0" y="295001"/>
                  <a:pt x="0" y="270136"/>
                </a:cubicBezTo>
                <a:lnTo>
                  <a:pt x="0" y="75037"/>
                </a:lnTo>
                <a:cubicBezTo>
                  <a:pt x="0" y="50172"/>
                  <a:pt x="20157" y="30015"/>
                  <a:pt x="45022" y="30015"/>
                </a:cubicBezTo>
                <a:lnTo>
                  <a:pt x="165083" y="30015"/>
                </a:lnTo>
                <a:moveTo>
                  <a:pt x="210106" y="30015"/>
                </a:moveTo>
                <a:cubicBezTo>
                  <a:pt x="234971" y="30015"/>
                  <a:pt x="255129" y="50172"/>
                  <a:pt x="255129" y="75037"/>
                </a:cubicBezTo>
                <a:lnTo>
                  <a:pt x="255129" y="270136"/>
                </a:lnTo>
                <a:cubicBezTo>
                  <a:pt x="255129" y="295001"/>
                  <a:pt x="234971" y="315159"/>
                  <a:pt x="210106" y="315159"/>
                </a:cubicBezTo>
                <a:lnTo>
                  <a:pt x="90045" y="315159"/>
                </a:lnTo>
                <a:moveTo>
                  <a:pt x="135068" y="60030"/>
                </a:moveTo>
                <a:lnTo>
                  <a:pt x="165083" y="30015"/>
                </a:lnTo>
                <a:lnTo>
                  <a:pt x="135068" y="0"/>
                </a:lnTo>
                <a:moveTo>
                  <a:pt x="120060" y="285144"/>
                </a:moveTo>
                <a:lnTo>
                  <a:pt x="90045" y="315159"/>
                </a:lnTo>
                <a:lnTo>
                  <a:pt x="120060" y="345174"/>
                </a:lnTo>
                <a:moveTo>
                  <a:pt x="75037" y="127564"/>
                </a:moveTo>
                <a:cubicBezTo>
                  <a:pt x="75037" y="123420"/>
                  <a:pt x="78397" y="120060"/>
                  <a:pt x="82541" y="120060"/>
                </a:cubicBezTo>
                <a:lnTo>
                  <a:pt x="105053" y="120060"/>
                </a:lnTo>
                <a:lnTo>
                  <a:pt x="105053" y="97549"/>
                </a:lnTo>
                <a:cubicBezTo>
                  <a:pt x="105053" y="93405"/>
                  <a:pt x="108412" y="90045"/>
                  <a:pt x="112556" y="90045"/>
                </a:cubicBezTo>
                <a:lnTo>
                  <a:pt x="142572" y="90045"/>
                </a:lnTo>
                <a:cubicBezTo>
                  <a:pt x="146716" y="90045"/>
                  <a:pt x="150075" y="93405"/>
                  <a:pt x="150075" y="97549"/>
                </a:cubicBezTo>
                <a:lnTo>
                  <a:pt x="150075" y="120060"/>
                </a:lnTo>
                <a:lnTo>
                  <a:pt x="172587" y="120060"/>
                </a:lnTo>
                <a:cubicBezTo>
                  <a:pt x="176731" y="120060"/>
                  <a:pt x="180091" y="123420"/>
                  <a:pt x="180091" y="127564"/>
                </a:cubicBezTo>
                <a:lnTo>
                  <a:pt x="180091" y="247625"/>
                </a:lnTo>
                <a:cubicBezTo>
                  <a:pt x="180091" y="251769"/>
                  <a:pt x="176731" y="255128"/>
                  <a:pt x="172587" y="255128"/>
                </a:cubicBezTo>
                <a:lnTo>
                  <a:pt x="82541" y="255128"/>
                </a:lnTo>
                <a:cubicBezTo>
                  <a:pt x="78397" y="255128"/>
                  <a:pt x="75038" y="251769"/>
                  <a:pt x="75038" y="247625"/>
                </a:cubicBezTo>
                <a:close/>
                <a:moveTo>
                  <a:pt x="112556" y="218075"/>
                </a:moveTo>
                <a:lnTo>
                  <a:pt x="137409" y="192862"/>
                </a:lnTo>
                <a:cubicBezTo>
                  <a:pt x="139532" y="190708"/>
                  <a:pt x="140155" y="187489"/>
                  <a:pt x="138987" y="184698"/>
                </a:cubicBezTo>
                <a:cubicBezTo>
                  <a:pt x="137820" y="181908"/>
                  <a:pt x="135091" y="180091"/>
                  <a:pt x="132066" y="180091"/>
                </a:cubicBezTo>
                <a:lnTo>
                  <a:pt x="123332" y="180091"/>
                </a:lnTo>
                <a:cubicBezTo>
                  <a:pt x="120288" y="180090"/>
                  <a:pt x="117545" y="178250"/>
                  <a:pt x="116390" y="175434"/>
                </a:cubicBezTo>
                <a:cubicBezTo>
                  <a:pt x="115235" y="172617"/>
                  <a:pt x="115897" y="169382"/>
                  <a:pt x="118064" y="167244"/>
                </a:cubicBezTo>
                <a:lnTo>
                  <a:pt x="142572" y="143037"/>
                </a:lnTo>
              </a:path>
            </a:pathLst>
          </a:custGeom>
          <a:noFill/>
          <a:ln w="5628">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73" name="Rounded Rectangle 27">
            <a:extLst>
              <a:ext uri="{FF2B5EF4-FFF2-40B4-BE49-F238E27FC236}">
                <a16:creationId xmlns:a16="http://schemas.microsoft.com/office/drawing/2014/main" id="{334E2725-3D2B-87CD-6466-F3B0AD4833E9}"/>
              </a:ext>
            </a:extLst>
          </p:cNvPr>
          <p:cNvSpPr/>
          <p:nvPr/>
        </p:nvSpPr>
        <p:spPr>
          <a:xfrm>
            <a:off x="5106166" y="3480510"/>
            <a:ext cx="346401" cy="240138"/>
          </a:xfrm>
          <a:custGeom>
            <a:avLst/>
            <a:gdLst/>
            <a:ahLst/>
            <a:cxnLst/>
            <a:rect l="0" t="0" r="0" b="0"/>
            <a:pathLst>
              <a:path w="346401" h="240138">
                <a:moveTo>
                  <a:pt x="61276" y="240138"/>
                </a:moveTo>
                <a:lnTo>
                  <a:pt x="106299" y="16"/>
                </a:lnTo>
                <a:moveTo>
                  <a:pt x="125059" y="240138"/>
                </a:moveTo>
                <a:lnTo>
                  <a:pt x="170081" y="16"/>
                </a:lnTo>
                <a:moveTo>
                  <a:pt x="233864" y="16"/>
                </a:moveTo>
                <a:lnTo>
                  <a:pt x="188841" y="240138"/>
                </a:lnTo>
                <a:moveTo>
                  <a:pt x="15578" y="240123"/>
                </a:moveTo>
                <a:cubicBezTo>
                  <a:pt x="11111" y="240124"/>
                  <a:pt x="6876" y="238135"/>
                  <a:pt x="4024" y="234697"/>
                </a:cubicBezTo>
                <a:cubicBezTo>
                  <a:pt x="1172" y="231259"/>
                  <a:pt x="0" y="226729"/>
                  <a:pt x="826" y="222339"/>
                </a:cubicBezTo>
                <a:lnTo>
                  <a:pt x="40221" y="12233"/>
                </a:lnTo>
                <a:cubicBezTo>
                  <a:pt x="41556" y="5138"/>
                  <a:pt x="47754" y="0"/>
                  <a:pt x="54973" y="1"/>
                </a:cubicBezTo>
                <a:lnTo>
                  <a:pt x="279562" y="1"/>
                </a:lnTo>
                <a:cubicBezTo>
                  <a:pt x="284026" y="1"/>
                  <a:pt x="288258" y="1988"/>
                  <a:pt x="291110" y="5423"/>
                </a:cubicBezTo>
                <a:cubicBezTo>
                  <a:pt x="293961" y="8857"/>
                  <a:pt x="295136" y="13383"/>
                  <a:pt x="294314" y="17770"/>
                </a:cubicBezTo>
                <a:lnTo>
                  <a:pt x="254919" y="227877"/>
                </a:lnTo>
                <a:cubicBezTo>
                  <a:pt x="253590" y="234977"/>
                  <a:pt x="247391" y="240123"/>
                  <a:pt x="240167" y="240123"/>
                </a:cubicBezTo>
                <a:close/>
                <a:moveTo>
                  <a:pt x="294194" y="11662"/>
                </a:moveTo>
                <a:lnTo>
                  <a:pt x="345325" y="221603"/>
                </a:lnTo>
                <a:cubicBezTo>
                  <a:pt x="346401" y="226073"/>
                  <a:pt x="345368" y="230790"/>
                  <a:pt x="342524" y="234402"/>
                </a:cubicBezTo>
                <a:cubicBezTo>
                  <a:pt x="339679" y="238013"/>
                  <a:pt x="335335" y="240122"/>
                  <a:pt x="330738" y="240123"/>
                </a:cubicBezTo>
                <a:lnTo>
                  <a:pt x="240167" y="240123"/>
                </a:lnTo>
                <a:moveTo>
                  <a:pt x="286390" y="60047"/>
                </a:moveTo>
                <a:lnTo>
                  <a:pt x="31261" y="60047"/>
                </a:lnTo>
                <a:moveTo>
                  <a:pt x="275134" y="120077"/>
                </a:moveTo>
                <a:lnTo>
                  <a:pt x="20006" y="120077"/>
                </a:lnTo>
                <a:moveTo>
                  <a:pt x="263894" y="180107"/>
                </a:moveTo>
                <a:lnTo>
                  <a:pt x="8780" y="180107"/>
                </a:lnTo>
              </a:path>
            </a:pathLst>
          </a:custGeom>
          <a:noFill/>
          <a:ln w="5628">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74" name="Rounded Rectangle 28">
            <a:extLst>
              <a:ext uri="{FF2B5EF4-FFF2-40B4-BE49-F238E27FC236}">
                <a16:creationId xmlns:a16="http://schemas.microsoft.com/office/drawing/2014/main" id="{3293475A-F6B5-4CFA-DF65-F3BC1B155C91}"/>
              </a:ext>
            </a:extLst>
          </p:cNvPr>
          <p:cNvSpPr/>
          <p:nvPr/>
        </p:nvSpPr>
        <p:spPr>
          <a:xfrm>
            <a:off x="5110489" y="4471781"/>
            <a:ext cx="337670" cy="313838"/>
          </a:xfrm>
          <a:custGeom>
            <a:avLst/>
            <a:gdLst/>
            <a:ahLst/>
            <a:cxnLst/>
            <a:rect l="0" t="0" r="0" b="0"/>
            <a:pathLst>
              <a:path w="337670" h="313838">
                <a:moveTo>
                  <a:pt x="95943" y="222382"/>
                </a:moveTo>
                <a:cubicBezTo>
                  <a:pt x="95784" y="212435"/>
                  <a:pt x="103720" y="204244"/>
                  <a:pt x="113667" y="204088"/>
                </a:cubicBezTo>
                <a:lnTo>
                  <a:pt x="224573" y="204088"/>
                </a:lnTo>
                <a:cubicBezTo>
                  <a:pt x="234514" y="204252"/>
                  <a:pt x="242441" y="212441"/>
                  <a:pt x="242282" y="222382"/>
                </a:cubicBezTo>
                <a:lnTo>
                  <a:pt x="242282" y="295544"/>
                </a:lnTo>
                <a:cubicBezTo>
                  <a:pt x="242441" y="305485"/>
                  <a:pt x="234514" y="313674"/>
                  <a:pt x="224573" y="313838"/>
                </a:cubicBezTo>
                <a:lnTo>
                  <a:pt x="113667" y="313838"/>
                </a:lnTo>
                <a:cubicBezTo>
                  <a:pt x="103720" y="313682"/>
                  <a:pt x="95784" y="305490"/>
                  <a:pt x="95943" y="295544"/>
                </a:cubicBezTo>
                <a:lnTo>
                  <a:pt x="95943" y="286404"/>
                </a:lnTo>
                <a:lnTo>
                  <a:pt x="73987" y="286404"/>
                </a:lnTo>
                <a:lnTo>
                  <a:pt x="73987" y="231521"/>
                </a:lnTo>
                <a:lnTo>
                  <a:pt x="95943" y="231521"/>
                </a:lnTo>
                <a:close/>
                <a:moveTo>
                  <a:pt x="148064" y="204088"/>
                </a:moveTo>
                <a:lnTo>
                  <a:pt x="148064" y="313838"/>
                </a:lnTo>
                <a:moveTo>
                  <a:pt x="22781" y="152867"/>
                </a:moveTo>
                <a:lnTo>
                  <a:pt x="308135" y="152867"/>
                </a:lnTo>
                <a:moveTo>
                  <a:pt x="337670" y="48099"/>
                </a:moveTo>
                <a:cubicBezTo>
                  <a:pt x="337670" y="74872"/>
                  <a:pt x="304203" y="101646"/>
                  <a:pt x="304203" y="101646"/>
                </a:cubicBezTo>
                <a:cubicBezTo>
                  <a:pt x="304203" y="101646"/>
                  <a:pt x="270736" y="74872"/>
                  <a:pt x="270736" y="48099"/>
                </a:cubicBezTo>
                <a:cubicBezTo>
                  <a:pt x="270741" y="29619"/>
                  <a:pt x="285723" y="14640"/>
                  <a:pt x="304203" y="14640"/>
                </a:cubicBezTo>
                <a:cubicBezTo>
                  <a:pt x="322683" y="14640"/>
                  <a:pt x="337665" y="29619"/>
                  <a:pt x="337670" y="48099"/>
                </a:cubicBezTo>
                <a:close/>
                <a:moveTo>
                  <a:pt x="66933" y="48099"/>
                </a:moveTo>
                <a:cubicBezTo>
                  <a:pt x="66933" y="74872"/>
                  <a:pt x="33466" y="101646"/>
                  <a:pt x="33466" y="101646"/>
                </a:cubicBezTo>
                <a:cubicBezTo>
                  <a:pt x="33466" y="101646"/>
                  <a:pt x="0" y="74872"/>
                  <a:pt x="0" y="48099"/>
                </a:cubicBezTo>
                <a:cubicBezTo>
                  <a:pt x="4" y="29619"/>
                  <a:pt x="14987" y="14640"/>
                  <a:pt x="33466" y="14640"/>
                </a:cubicBezTo>
                <a:cubicBezTo>
                  <a:pt x="51946" y="14640"/>
                  <a:pt x="66929" y="29619"/>
                  <a:pt x="66933" y="48099"/>
                </a:cubicBezTo>
                <a:close/>
                <a:moveTo>
                  <a:pt x="110245" y="85648"/>
                </a:moveTo>
                <a:lnTo>
                  <a:pt x="110245" y="0"/>
                </a:lnTo>
                <a:moveTo>
                  <a:pt x="110245" y="45743"/>
                </a:moveTo>
                <a:cubicBezTo>
                  <a:pt x="110251" y="29485"/>
                  <a:pt x="123432" y="16308"/>
                  <a:pt x="139690" y="16308"/>
                </a:cubicBezTo>
                <a:cubicBezTo>
                  <a:pt x="155948" y="16308"/>
                  <a:pt x="169129" y="29485"/>
                  <a:pt x="169135" y="45743"/>
                </a:cubicBezTo>
                <a:lnTo>
                  <a:pt x="169135" y="85648"/>
                </a:lnTo>
                <a:moveTo>
                  <a:pt x="169135" y="45743"/>
                </a:moveTo>
                <a:cubicBezTo>
                  <a:pt x="169496" y="29744"/>
                  <a:pt x="182569" y="16963"/>
                  <a:pt x="198572" y="16963"/>
                </a:cubicBezTo>
                <a:cubicBezTo>
                  <a:pt x="214575" y="16963"/>
                  <a:pt x="227648" y="29744"/>
                  <a:pt x="228010" y="45743"/>
                </a:cubicBezTo>
                <a:lnTo>
                  <a:pt x="228010" y="85648"/>
                </a:lnTo>
              </a:path>
            </a:pathLst>
          </a:custGeom>
          <a:noFill/>
          <a:ln w="5628">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75" name="Rounded Rectangle 29">
            <a:extLst>
              <a:ext uri="{FF2B5EF4-FFF2-40B4-BE49-F238E27FC236}">
                <a16:creationId xmlns:a16="http://schemas.microsoft.com/office/drawing/2014/main" id="{36625B66-5F99-FE23-A2C1-2ACA09680F13}"/>
              </a:ext>
            </a:extLst>
          </p:cNvPr>
          <p:cNvSpPr/>
          <p:nvPr/>
        </p:nvSpPr>
        <p:spPr>
          <a:xfrm>
            <a:off x="5110500" y="5456605"/>
            <a:ext cx="337659" cy="326854"/>
          </a:xfrm>
          <a:custGeom>
            <a:avLst/>
            <a:gdLst/>
            <a:ahLst/>
            <a:cxnLst/>
            <a:rect l="0" t="0" r="0" b="0"/>
            <a:pathLst>
              <a:path w="337659" h="326854">
                <a:moveTo>
                  <a:pt x="203431" y="83262"/>
                </a:moveTo>
                <a:lnTo>
                  <a:pt x="203431" y="26848"/>
                </a:lnTo>
                <a:cubicBezTo>
                  <a:pt x="203431" y="12026"/>
                  <a:pt x="215443" y="8"/>
                  <a:pt x="230265" y="0"/>
                </a:cubicBezTo>
                <a:lnTo>
                  <a:pt x="310811" y="0"/>
                </a:lnTo>
                <a:cubicBezTo>
                  <a:pt x="325639" y="0"/>
                  <a:pt x="337659" y="12020"/>
                  <a:pt x="337659" y="26848"/>
                </a:cubicBezTo>
                <a:lnTo>
                  <a:pt x="337659" y="224603"/>
                </a:lnTo>
                <a:moveTo>
                  <a:pt x="274642" y="33557"/>
                </a:moveTo>
                <a:lnTo>
                  <a:pt x="256003" y="67113"/>
                </a:lnTo>
                <a:lnTo>
                  <a:pt x="283962" y="67113"/>
                </a:lnTo>
                <a:lnTo>
                  <a:pt x="265323" y="100670"/>
                </a:lnTo>
                <a:moveTo>
                  <a:pt x="20144" y="285009"/>
                </a:moveTo>
                <a:cubicBezTo>
                  <a:pt x="9021" y="285009"/>
                  <a:pt x="4" y="275991"/>
                  <a:pt x="4" y="264868"/>
                </a:cubicBezTo>
                <a:cubicBezTo>
                  <a:pt x="0" y="251976"/>
                  <a:pt x="5124" y="239611"/>
                  <a:pt x="14246" y="230501"/>
                </a:cubicBezTo>
                <a:lnTo>
                  <a:pt x="40254" y="204463"/>
                </a:lnTo>
                <a:lnTo>
                  <a:pt x="261751" y="204463"/>
                </a:lnTo>
                <a:lnTo>
                  <a:pt x="287774" y="230501"/>
                </a:lnTo>
                <a:cubicBezTo>
                  <a:pt x="296896" y="239611"/>
                  <a:pt x="302020" y="251976"/>
                  <a:pt x="302016" y="264868"/>
                </a:cubicBezTo>
                <a:cubicBezTo>
                  <a:pt x="302016" y="275991"/>
                  <a:pt x="292999" y="285009"/>
                  <a:pt x="281876" y="285009"/>
                </a:cubicBezTo>
                <a:close/>
                <a:moveTo>
                  <a:pt x="4356" y="244743"/>
                </a:moveTo>
                <a:lnTo>
                  <a:pt x="60394" y="244743"/>
                </a:lnTo>
                <a:moveTo>
                  <a:pt x="297649" y="244743"/>
                </a:moveTo>
                <a:lnTo>
                  <a:pt x="241611" y="244743"/>
                </a:lnTo>
                <a:moveTo>
                  <a:pt x="40254" y="204463"/>
                </a:moveTo>
                <a:lnTo>
                  <a:pt x="63110" y="143517"/>
                </a:lnTo>
                <a:cubicBezTo>
                  <a:pt x="67536" y="131737"/>
                  <a:pt x="78801" y="123935"/>
                  <a:pt x="91385" y="123932"/>
                </a:cubicBezTo>
                <a:lnTo>
                  <a:pt x="210605" y="123932"/>
                </a:lnTo>
                <a:cubicBezTo>
                  <a:pt x="223193" y="123933"/>
                  <a:pt x="234463" y="131735"/>
                  <a:pt x="238894" y="143517"/>
                </a:cubicBezTo>
                <a:lnTo>
                  <a:pt x="261751" y="204463"/>
                </a:lnTo>
                <a:moveTo>
                  <a:pt x="73211" y="285009"/>
                </a:moveTo>
                <a:lnTo>
                  <a:pt x="73211" y="305209"/>
                </a:lnTo>
                <a:cubicBezTo>
                  <a:pt x="71182" y="317939"/>
                  <a:pt x="59463" y="326796"/>
                  <a:pt x="46662" y="325274"/>
                </a:cubicBezTo>
                <a:cubicBezTo>
                  <a:pt x="33867" y="326787"/>
                  <a:pt x="22157" y="317933"/>
                  <a:pt x="20129" y="305209"/>
                </a:cubicBezTo>
                <a:lnTo>
                  <a:pt x="20129" y="285009"/>
                </a:lnTo>
                <a:close/>
                <a:moveTo>
                  <a:pt x="282551" y="285009"/>
                </a:moveTo>
                <a:lnTo>
                  <a:pt x="282551" y="305209"/>
                </a:lnTo>
                <a:cubicBezTo>
                  <a:pt x="280551" y="317963"/>
                  <a:pt x="268824" y="326854"/>
                  <a:pt x="256003" y="325334"/>
                </a:cubicBezTo>
                <a:cubicBezTo>
                  <a:pt x="243182" y="326854"/>
                  <a:pt x="231455" y="317963"/>
                  <a:pt x="229455" y="305209"/>
                </a:cubicBezTo>
                <a:lnTo>
                  <a:pt x="229455" y="285009"/>
                </a:lnTo>
                <a:close/>
              </a:path>
            </a:pathLst>
          </a:custGeom>
          <a:noFill/>
          <a:ln w="5628">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pic>
        <p:nvPicPr>
          <p:cNvPr id="3074" name="Picture 2">
            <a:extLst>
              <a:ext uri="{FF2B5EF4-FFF2-40B4-BE49-F238E27FC236}">
                <a16:creationId xmlns:a16="http://schemas.microsoft.com/office/drawing/2014/main" id="{F586AAD1-6519-C213-16F3-D3798F86DAB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17115" y="5059546"/>
            <a:ext cx="1273262" cy="1273262"/>
          </a:xfrm>
          <a:prstGeom prst="rect">
            <a:avLst/>
          </a:prstGeom>
          <a:noFill/>
          <a:extLst>
            <a:ext uri="{909E8E84-426E-40DD-AFC4-6F175D3DCCD1}">
              <a14:hiddenFill xmlns:a14="http://schemas.microsoft.com/office/drawing/2010/main">
                <a:solidFill>
                  <a:srgbClr val="FFFFFF"/>
                </a:solidFill>
              </a14:hiddenFill>
            </a:ext>
          </a:extLst>
        </p:spPr>
      </p:pic>
      <p:sp>
        <p:nvSpPr>
          <p:cNvPr id="12" name="Arrow: Chevron 11">
            <a:extLst>
              <a:ext uri="{FF2B5EF4-FFF2-40B4-BE49-F238E27FC236}">
                <a16:creationId xmlns:a16="http://schemas.microsoft.com/office/drawing/2014/main" id="{0C09A959-D843-9107-04ED-F8CBDB7CEA65}"/>
              </a:ext>
            </a:extLst>
          </p:cNvPr>
          <p:cNvSpPr/>
          <p:nvPr/>
        </p:nvSpPr>
        <p:spPr>
          <a:xfrm>
            <a:off x="8108917"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13" name="Arrow: Chevron 12">
            <a:extLst>
              <a:ext uri="{FF2B5EF4-FFF2-40B4-BE49-F238E27FC236}">
                <a16:creationId xmlns:a16="http://schemas.microsoft.com/office/drawing/2014/main" id="{36F69933-DA18-5F89-D403-E821B1E80F89}"/>
              </a:ext>
            </a:extLst>
          </p:cNvPr>
          <p:cNvSpPr/>
          <p:nvPr/>
        </p:nvSpPr>
        <p:spPr>
          <a:xfrm>
            <a:off x="9071675"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14" name="Arrow: Chevron 13">
            <a:extLst>
              <a:ext uri="{FF2B5EF4-FFF2-40B4-BE49-F238E27FC236}">
                <a16:creationId xmlns:a16="http://schemas.microsoft.com/office/drawing/2014/main" id="{5A617CBC-5FA9-C4F1-9EDF-F126717D846F}"/>
              </a:ext>
            </a:extLst>
          </p:cNvPr>
          <p:cNvSpPr/>
          <p:nvPr/>
        </p:nvSpPr>
        <p:spPr>
          <a:xfrm>
            <a:off x="10034433"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15" name="Arrow: Chevron 14">
            <a:extLst>
              <a:ext uri="{FF2B5EF4-FFF2-40B4-BE49-F238E27FC236}">
                <a16:creationId xmlns:a16="http://schemas.microsoft.com/office/drawing/2014/main" id="{EFCB0B98-848C-0CE0-4E9B-846997CB9BB7}"/>
              </a:ext>
            </a:extLst>
          </p:cNvPr>
          <p:cNvSpPr/>
          <p:nvPr/>
        </p:nvSpPr>
        <p:spPr>
          <a:xfrm>
            <a:off x="1099963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16457281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339EA-F22E-3AB2-F825-B688B5B9FEB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6648F1C-772B-50B9-3CD0-22722438A387}"/>
              </a:ext>
            </a:extLst>
          </p:cNvPr>
          <p:cNvGraphicFramePr>
            <a:graphicFrameLocks noChangeAspect="1"/>
          </p:cNvGraphicFramePr>
          <p:nvPr>
            <p:custDataLst>
              <p:tags r:id="rId1"/>
            </p:custDataLst>
            <p:extLst>
              <p:ext uri="{D42A27DB-BD31-4B8C-83A1-F6EECF244321}">
                <p14:modId xmlns:p14="http://schemas.microsoft.com/office/powerpoint/2010/main" val="3867462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96648F1C-772B-50B9-3CD0-22722438A3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A7A172ED-6647-42F6-8813-B6ADBE9AC610}"/>
              </a:ext>
            </a:extLst>
          </p:cNvPr>
          <p:cNvGrpSpPr/>
          <p:nvPr/>
        </p:nvGrpSpPr>
        <p:grpSpPr>
          <a:xfrm>
            <a:off x="8417834" y="1059803"/>
            <a:ext cx="858274" cy="673623"/>
            <a:chOff x="368907" y="1700531"/>
            <a:chExt cx="4038920" cy="4275927"/>
          </a:xfrm>
          <a:effectLst/>
        </p:grpSpPr>
        <p:sp>
          <p:nvSpPr>
            <p:cNvPr id="10" name="Isosceles Triangle 9">
              <a:extLst>
                <a:ext uri="{FF2B5EF4-FFF2-40B4-BE49-F238E27FC236}">
                  <a16:creationId xmlns:a16="http://schemas.microsoft.com/office/drawing/2014/main" id="{A57962D6-B796-D2BD-E0CA-5D9342E3D108}"/>
                </a:ext>
              </a:extLst>
            </p:cNvPr>
            <p:cNvSpPr/>
            <p:nvPr/>
          </p:nvSpPr>
          <p:spPr>
            <a:xfrm>
              <a:off x="1792514" y="1700531"/>
              <a:ext cx="1191707" cy="1255807"/>
            </a:xfrm>
            <a:prstGeom prst="triangle">
              <a:avLst>
                <a:gd name="adj" fmla="val 49710"/>
              </a:avLst>
            </a:pr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sp>
          <p:nvSpPr>
            <p:cNvPr id="11" name="Isosceles Triangle 62">
              <a:extLst>
                <a:ext uri="{FF2B5EF4-FFF2-40B4-BE49-F238E27FC236}">
                  <a16:creationId xmlns:a16="http://schemas.microsoft.com/office/drawing/2014/main" id="{56D503CA-0A20-A322-AF0F-DD5010CC571F}"/>
                </a:ext>
              </a:extLst>
            </p:cNvPr>
            <p:cNvSpPr/>
            <p:nvPr/>
          </p:nvSpPr>
          <p:spPr>
            <a:xfrm>
              <a:off x="1106945" y="2957333"/>
              <a:ext cx="2556494" cy="1456051"/>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481647" y="2614"/>
                  </a:lnTo>
                  <a:lnTo>
                    <a:pt x="1325344" y="0"/>
                  </a:lnTo>
                  <a:lnTo>
                    <a:pt x="1810264" y="968810"/>
                  </a:lnTo>
                  <a:lnTo>
                    <a:pt x="0" y="968810"/>
                  </a:lnTo>
                  <a:close/>
                </a:path>
              </a:pathLst>
            </a:cu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grpSp>
          <p:nvGrpSpPr>
            <p:cNvPr id="12" name="Group 11">
              <a:extLst>
                <a:ext uri="{FF2B5EF4-FFF2-40B4-BE49-F238E27FC236}">
                  <a16:creationId xmlns:a16="http://schemas.microsoft.com/office/drawing/2014/main" id="{A9A7BB4B-C8EC-59A9-895D-39D87A80E814}"/>
                </a:ext>
              </a:extLst>
            </p:cNvPr>
            <p:cNvGrpSpPr/>
            <p:nvPr/>
          </p:nvGrpSpPr>
          <p:grpSpPr>
            <a:xfrm>
              <a:off x="368907" y="2954958"/>
              <a:ext cx="4038920" cy="3021500"/>
              <a:chOff x="364847" y="3312617"/>
              <a:chExt cx="4038920" cy="3021500"/>
            </a:xfrm>
          </p:grpSpPr>
          <p:cxnSp>
            <p:nvCxnSpPr>
              <p:cNvPr id="13" name="Straight Connector 12">
                <a:extLst>
                  <a:ext uri="{FF2B5EF4-FFF2-40B4-BE49-F238E27FC236}">
                    <a16:creationId xmlns:a16="http://schemas.microsoft.com/office/drawing/2014/main" id="{4D4CA37E-06AB-F5EB-1629-8C0237188B54}"/>
                  </a:ext>
                </a:extLst>
              </p:cNvPr>
              <p:cNvCxnSpPr>
                <a:cxnSpLocks/>
              </p:cNvCxnSpPr>
              <p:nvPr/>
            </p:nvCxnSpPr>
            <p:spPr>
              <a:xfrm>
                <a:off x="1110997" y="4771043"/>
                <a:ext cx="254556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Isosceles Triangle 62">
                <a:extLst>
                  <a:ext uri="{FF2B5EF4-FFF2-40B4-BE49-F238E27FC236}">
                    <a16:creationId xmlns:a16="http://schemas.microsoft.com/office/drawing/2014/main" id="{A098FC7B-0F79-537F-CD4C-0FD9B483728A}"/>
                  </a:ext>
                </a:extLst>
              </p:cNvPr>
              <p:cNvSpPr/>
              <p:nvPr/>
            </p:nvSpPr>
            <p:spPr>
              <a:xfrm>
                <a:off x="364847" y="4771043"/>
                <a:ext cx="4038920" cy="1562778"/>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476069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326400" y="396"/>
                    </a:lnTo>
                    <a:lnTo>
                      <a:pt x="1476069" y="0"/>
                    </a:lnTo>
                    <a:lnTo>
                      <a:pt x="1810264" y="968810"/>
                    </a:lnTo>
                    <a:lnTo>
                      <a:pt x="0" y="968810"/>
                    </a:lnTo>
                    <a:close/>
                  </a:path>
                </a:pathLst>
              </a:custGeom>
              <a:solidFill>
                <a:srgbClr val="FFC493"/>
              </a:solidFill>
              <a:ln w="9525">
                <a:solidFill>
                  <a:srgbClr val="DE6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cxnSp>
            <p:nvCxnSpPr>
              <p:cNvPr id="15" name="Straight Connector 14">
                <a:extLst>
                  <a:ext uri="{FF2B5EF4-FFF2-40B4-BE49-F238E27FC236}">
                    <a16:creationId xmlns:a16="http://schemas.microsoft.com/office/drawing/2014/main" id="{6EBD3741-4B5B-D630-010C-222E0489182C}"/>
                  </a:ext>
                </a:extLst>
              </p:cNvPr>
              <p:cNvCxnSpPr>
                <a:cxnSpLocks/>
              </p:cNvCxnSpPr>
              <p:nvPr/>
            </p:nvCxnSpPr>
            <p:spPr>
              <a:xfrm flipH="1">
                <a:off x="1833796" y="3312617"/>
                <a:ext cx="287660" cy="148830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4606052-7029-1325-DA9F-C93773728759}"/>
                  </a:ext>
                </a:extLst>
              </p:cNvPr>
              <p:cNvCxnSpPr>
                <a:cxnSpLocks/>
              </p:cNvCxnSpPr>
              <p:nvPr/>
            </p:nvCxnSpPr>
            <p:spPr>
              <a:xfrm>
                <a:off x="2562892" y="4771043"/>
                <a:ext cx="106051" cy="1562778"/>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208D671-1E25-D1FB-6C2B-B28B644EA812}"/>
                  </a:ext>
                </a:extLst>
              </p:cNvPr>
              <p:cNvCxnSpPr>
                <a:cxnSpLocks/>
              </p:cNvCxnSpPr>
              <p:nvPr/>
            </p:nvCxnSpPr>
            <p:spPr>
              <a:xfrm flipH="1">
                <a:off x="2089604" y="4771042"/>
                <a:ext cx="76090" cy="1562779"/>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102D556-CD9E-94D8-000C-41538EA475CE}"/>
                  </a:ext>
                </a:extLst>
              </p:cNvPr>
              <p:cNvCxnSpPr>
                <a:cxnSpLocks/>
              </p:cNvCxnSpPr>
              <p:nvPr/>
            </p:nvCxnSpPr>
            <p:spPr>
              <a:xfrm flipH="1">
                <a:off x="957027" y="4771042"/>
                <a:ext cx="526604" cy="1562779"/>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701D559-8B22-BB25-7466-98324C3BB340}"/>
                  </a:ext>
                </a:extLst>
              </p:cNvPr>
              <p:cNvCxnSpPr>
                <a:cxnSpLocks/>
              </p:cNvCxnSpPr>
              <p:nvPr/>
            </p:nvCxnSpPr>
            <p:spPr>
              <a:xfrm>
                <a:off x="2706590" y="3312617"/>
                <a:ext cx="267090" cy="145942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396A62E-D703-50B3-BCED-3111A1636264}"/>
                  </a:ext>
                </a:extLst>
              </p:cNvPr>
              <p:cNvCxnSpPr>
                <a:cxnSpLocks/>
              </p:cNvCxnSpPr>
              <p:nvPr/>
            </p:nvCxnSpPr>
            <p:spPr>
              <a:xfrm>
                <a:off x="3336756" y="4771043"/>
                <a:ext cx="506582" cy="1563074"/>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EF6B6E-6F43-49B5-2DCD-2E2EB0AA7E94}"/>
                  </a:ext>
                </a:extLst>
              </p:cNvPr>
              <p:cNvCxnSpPr>
                <a:cxnSpLocks/>
              </p:cNvCxnSpPr>
              <p:nvPr/>
            </p:nvCxnSpPr>
            <p:spPr>
              <a:xfrm flipH="1">
                <a:off x="1539549" y="4772039"/>
                <a:ext cx="300668" cy="1561783"/>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3D0FE3D-CADF-964B-BF19-FEDFCC555FDD}"/>
                  </a:ext>
                </a:extLst>
              </p:cNvPr>
              <p:cNvCxnSpPr>
                <a:cxnSpLocks/>
              </p:cNvCxnSpPr>
              <p:nvPr/>
            </p:nvCxnSpPr>
            <p:spPr>
              <a:xfrm>
                <a:off x="2973680" y="4778378"/>
                <a:ext cx="284662" cy="1555443"/>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D149CF9-CB68-DB1D-6977-CAF656F706E2}"/>
                  </a:ext>
                </a:extLst>
              </p:cNvPr>
              <p:cNvCxnSpPr>
                <a:cxnSpLocks/>
                <a:stCxn id="14" idx="1"/>
                <a:endCxn id="11" idx="3"/>
              </p:cNvCxnSpPr>
              <p:nvPr/>
            </p:nvCxnSpPr>
            <p:spPr>
              <a:xfrm flipV="1">
                <a:off x="1093085" y="4771043"/>
                <a:ext cx="2566294" cy="640"/>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grpSp>
      </p:grpSp>
      <p:sp>
        <p:nvSpPr>
          <p:cNvPr id="2" name="Title 1">
            <a:extLst>
              <a:ext uri="{FF2B5EF4-FFF2-40B4-BE49-F238E27FC236}">
                <a16:creationId xmlns:a16="http://schemas.microsoft.com/office/drawing/2014/main" id="{A30C2E9F-70D3-59D7-5FCB-D78845EEF419}"/>
              </a:ext>
            </a:extLst>
          </p:cNvPr>
          <p:cNvSpPr>
            <a:spLocks noGrp="1"/>
          </p:cNvSpPr>
          <p:nvPr>
            <p:ph type="title"/>
          </p:nvPr>
        </p:nvSpPr>
        <p:spPr>
          <a:xfrm>
            <a:off x="137786" y="125260"/>
            <a:ext cx="6752298" cy="806754"/>
          </a:xfrm>
        </p:spPr>
        <p:txBody>
          <a:bodyPr vert="horz">
            <a:normAutofit fontScale="90000"/>
          </a:bodyPr>
          <a:lstStyle/>
          <a:p>
            <a:pPr algn="ctr"/>
            <a:r>
              <a:rPr lang="en-GB" b="1" noProof="0"/>
              <a:t>Design Choices for each Value Proposition</a:t>
            </a:r>
          </a:p>
        </p:txBody>
      </p:sp>
      <p:sp>
        <p:nvSpPr>
          <p:cNvPr id="38" name="Rectangle 37">
            <a:extLst>
              <a:ext uri="{FF2B5EF4-FFF2-40B4-BE49-F238E27FC236}">
                <a16:creationId xmlns:a16="http://schemas.microsoft.com/office/drawing/2014/main" id="{4445758E-011E-EABB-CAC1-D7AEB60D9441}"/>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Designing the </a:t>
            </a:r>
            <a:r>
              <a:rPr lang="en-GB" sz="1200" b="1" noProof="0">
                <a:solidFill>
                  <a:schemeClr val="tx1"/>
                </a:solidFill>
                <a:latin typeface="Avenir Next LT Pro" panose="020B0504020202020204" pitchFamily="34" charset="0"/>
              </a:rPr>
              <a:t>specific architecture of each value proposition</a:t>
            </a:r>
            <a:r>
              <a:rPr lang="en-GB" sz="1200" noProof="0">
                <a:solidFill>
                  <a:schemeClr val="tx1"/>
                </a:solidFill>
                <a:latin typeface="Avenir Next LT Pro" panose="020B0504020202020204" pitchFamily="34" charset="0"/>
              </a:rPr>
              <a:t> requires </a:t>
            </a:r>
            <a:r>
              <a:rPr lang="en-GB" sz="1200" b="1" noProof="0">
                <a:solidFill>
                  <a:schemeClr val="tx1"/>
                </a:solidFill>
                <a:latin typeface="Avenir Next LT Pro" panose="020B0504020202020204" pitchFamily="34" charset="0"/>
              </a:rPr>
              <a:t>systematic decisions </a:t>
            </a:r>
            <a:r>
              <a:rPr lang="en-GB" sz="1200" noProof="0">
                <a:solidFill>
                  <a:schemeClr val="tx1"/>
                </a:solidFill>
                <a:latin typeface="Avenir Next LT Pro" panose="020B0504020202020204" pitchFamily="34" charset="0"/>
              </a:rPr>
              <a:t>about how to structure and optimise each distinct value offering to maximise both customer appeal and organisational profitability.</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Effective value proposition design </a:t>
            </a:r>
            <a:r>
              <a:rPr lang="en-GB" sz="1200" b="1" noProof="0">
                <a:solidFill>
                  <a:schemeClr val="tx1"/>
                </a:solidFill>
                <a:latin typeface="Avenir Next LT Pro" panose="020B0504020202020204" pitchFamily="34" charset="0"/>
              </a:rPr>
              <a:t>goes</a:t>
            </a:r>
            <a:r>
              <a:rPr lang="en-GB" sz="1200" noProof="0">
                <a:solidFill>
                  <a:schemeClr val="tx1"/>
                </a:solidFill>
                <a:latin typeface="Avenir Next LT Pro" panose="020B0504020202020204" pitchFamily="34" charset="0"/>
              </a:rPr>
              <a:t> </a:t>
            </a:r>
            <a:r>
              <a:rPr lang="en-GB" sz="1200" b="1" noProof="0">
                <a:solidFill>
                  <a:schemeClr val="tx1"/>
                </a:solidFill>
                <a:latin typeface="Avenir Next LT Pro" panose="020B0504020202020204" pitchFamily="34" charset="0"/>
              </a:rPr>
              <a:t>beyond intuitive product development to create deliberate, integrated systems </a:t>
            </a:r>
            <a:r>
              <a:rPr lang="en-GB" sz="1200" noProof="0">
                <a:solidFill>
                  <a:schemeClr val="tx1"/>
                </a:solidFill>
                <a:latin typeface="Avenir Next LT Pro" panose="020B0504020202020204" pitchFamily="34" charset="0"/>
              </a:rPr>
              <a:t>that competitors find difficult to replicate.</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Each distinct core value proposition must contain </a:t>
            </a:r>
            <a:r>
              <a:rPr lang="en-GB" sz="1200" b="1" noProof="0">
                <a:solidFill>
                  <a:schemeClr val="tx1"/>
                </a:solidFill>
                <a:latin typeface="Avenir Next LT Pro" panose="020B0504020202020204" pitchFamily="34" charset="0"/>
              </a:rPr>
              <a:t>eight essential elements </a:t>
            </a:r>
            <a:r>
              <a:rPr lang="en-GB" sz="1200" noProof="0">
                <a:solidFill>
                  <a:schemeClr val="tx1"/>
                </a:solidFill>
                <a:latin typeface="Avenir Next LT Pro" panose="020B0504020202020204" pitchFamily="34" charset="0"/>
              </a:rPr>
              <a:t>of choice that work together to create coherent value for both customers and the Company's stakeholders.</a:t>
            </a:r>
          </a:p>
        </p:txBody>
      </p:sp>
      <p:grpSp>
        <p:nvGrpSpPr>
          <p:cNvPr id="24" name="Group 23">
            <a:extLst>
              <a:ext uri="{FF2B5EF4-FFF2-40B4-BE49-F238E27FC236}">
                <a16:creationId xmlns:a16="http://schemas.microsoft.com/office/drawing/2014/main" id="{4778DCF8-7377-1941-C864-F8A52994C430}"/>
              </a:ext>
            </a:extLst>
          </p:cNvPr>
          <p:cNvGrpSpPr/>
          <p:nvPr/>
        </p:nvGrpSpPr>
        <p:grpSpPr>
          <a:xfrm>
            <a:off x="2879580" y="2592320"/>
            <a:ext cx="1146978" cy="1146978"/>
            <a:chOff x="1373455" y="1736429"/>
            <a:chExt cx="1146978" cy="1146978"/>
          </a:xfrm>
        </p:grpSpPr>
        <p:sp>
          <p:nvSpPr>
            <p:cNvPr id="73" name="Rounded Rectangle 1">
              <a:extLst>
                <a:ext uri="{FF2B5EF4-FFF2-40B4-BE49-F238E27FC236}">
                  <a16:creationId xmlns:a16="http://schemas.microsoft.com/office/drawing/2014/main" id="{AC2A5D2D-50B5-CAE6-36A8-F0E19D6D45F9}"/>
                </a:ext>
              </a:extLst>
            </p:cNvPr>
            <p:cNvSpPr/>
            <p:nvPr/>
          </p:nvSpPr>
          <p:spPr>
            <a:xfrm>
              <a:off x="1373455" y="1736429"/>
              <a:ext cx="1146978" cy="1146978"/>
            </a:xfrm>
            <a:custGeom>
              <a:avLst/>
              <a:gdLst/>
              <a:ahLst/>
              <a:cxnLst/>
              <a:rect l="0" t="0" r="0" b="0"/>
              <a:pathLst>
                <a:path w="1146978" h="1146978">
                  <a:moveTo>
                    <a:pt x="1146978" y="604946"/>
                  </a:moveTo>
                  <a:lnTo>
                    <a:pt x="604946" y="1146978"/>
                  </a:lnTo>
                  <a:lnTo>
                    <a:pt x="0" y="896455"/>
                  </a:lnTo>
                  <a:lnTo>
                    <a:pt x="896379" y="0"/>
                  </a:ln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74" name="Rounded Rectangle 2">
              <a:extLst>
                <a:ext uri="{FF2B5EF4-FFF2-40B4-BE49-F238E27FC236}">
                  <a16:creationId xmlns:a16="http://schemas.microsoft.com/office/drawing/2014/main" id="{B68BD085-9247-218A-CD38-79386AAFD4EE}"/>
                </a:ext>
              </a:extLst>
            </p:cNvPr>
            <p:cNvSpPr/>
            <p:nvPr/>
          </p:nvSpPr>
          <p:spPr>
            <a:xfrm>
              <a:off x="1373455" y="1736429"/>
              <a:ext cx="1146978" cy="1146978"/>
            </a:xfrm>
            <a:custGeom>
              <a:avLst/>
              <a:gdLst/>
              <a:ahLst/>
              <a:cxnLst/>
              <a:rect l="0" t="0" r="0" b="0"/>
              <a:pathLst>
                <a:path w="1146978" h="1146978">
                  <a:moveTo>
                    <a:pt x="1146978" y="604946"/>
                  </a:moveTo>
                  <a:lnTo>
                    <a:pt x="604946" y="1146978"/>
                  </a:lnTo>
                  <a:lnTo>
                    <a:pt x="0" y="896455"/>
                  </a:lnTo>
                  <a:lnTo>
                    <a:pt x="896379" y="0"/>
                  </a:lnTo>
                  <a:close/>
                </a:path>
              </a:pathLst>
            </a:custGeom>
            <a:noFill/>
            <a:ln w="5670">
              <a:solidFill>
                <a:srgbClr val="FFC47F"/>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grpSp>
      <p:grpSp>
        <p:nvGrpSpPr>
          <p:cNvPr id="25" name="Group 24">
            <a:extLst>
              <a:ext uri="{FF2B5EF4-FFF2-40B4-BE49-F238E27FC236}">
                <a16:creationId xmlns:a16="http://schemas.microsoft.com/office/drawing/2014/main" id="{2D769950-DC14-5052-31B6-9C5FDD8340D5}"/>
              </a:ext>
            </a:extLst>
          </p:cNvPr>
          <p:cNvGrpSpPr/>
          <p:nvPr/>
        </p:nvGrpSpPr>
        <p:grpSpPr>
          <a:xfrm>
            <a:off x="3775960" y="2592320"/>
            <a:ext cx="1267741" cy="604946"/>
            <a:chOff x="2269835" y="1736429"/>
            <a:chExt cx="1267741" cy="604946"/>
          </a:xfrm>
        </p:grpSpPr>
        <p:sp>
          <p:nvSpPr>
            <p:cNvPr id="71" name="Rounded Rectangle 4">
              <a:extLst>
                <a:ext uri="{FF2B5EF4-FFF2-40B4-BE49-F238E27FC236}">
                  <a16:creationId xmlns:a16="http://schemas.microsoft.com/office/drawing/2014/main" id="{756971FB-DF8D-6F74-D645-50969BBCCB9E}"/>
                </a:ext>
              </a:extLst>
            </p:cNvPr>
            <p:cNvSpPr/>
            <p:nvPr/>
          </p:nvSpPr>
          <p:spPr>
            <a:xfrm>
              <a:off x="2269835" y="1736429"/>
              <a:ext cx="1267741" cy="604946"/>
            </a:xfrm>
            <a:custGeom>
              <a:avLst/>
              <a:gdLst/>
              <a:ahLst/>
              <a:cxnLst/>
              <a:rect l="0" t="0" r="0" b="0"/>
              <a:pathLst>
                <a:path w="1267741" h="604946">
                  <a:moveTo>
                    <a:pt x="1267741" y="0"/>
                  </a:moveTo>
                  <a:lnTo>
                    <a:pt x="1017142" y="604946"/>
                  </a:lnTo>
                  <a:lnTo>
                    <a:pt x="250599" y="604946"/>
                  </a:lnTo>
                  <a:lnTo>
                    <a:pt x="0" y="0"/>
                  </a:lnTo>
                  <a:close/>
                </a:path>
              </a:pathLst>
            </a:custGeom>
            <a:solidFill>
              <a:srgbClr val="705029"/>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72" name="Rounded Rectangle 5">
              <a:extLst>
                <a:ext uri="{FF2B5EF4-FFF2-40B4-BE49-F238E27FC236}">
                  <a16:creationId xmlns:a16="http://schemas.microsoft.com/office/drawing/2014/main" id="{CCCEC84C-01B7-8F3A-ADD3-C24F475EF172}"/>
                </a:ext>
              </a:extLst>
            </p:cNvPr>
            <p:cNvSpPr/>
            <p:nvPr/>
          </p:nvSpPr>
          <p:spPr>
            <a:xfrm>
              <a:off x="2269835" y="1736429"/>
              <a:ext cx="1267741" cy="604946"/>
            </a:xfrm>
            <a:custGeom>
              <a:avLst/>
              <a:gdLst/>
              <a:ahLst/>
              <a:cxnLst/>
              <a:rect l="0" t="0" r="0" b="0"/>
              <a:pathLst>
                <a:path w="1267741" h="604946">
                  <a:moveTo>
                    <a:pt x="1267741" y="0"/>
                  </a:moveTo>
                  <a:lnTo>
                    <a:pt x="1017142" y="604946"/>
                  </a:lnTo>
                  <a:lnTo>
                    <a:pt x="250599" y="604946"/>
                  </a:lnTo>
                  <a:lnTo>
                    <a:pt x="0" y="0"/>
                  </a:lnTo>
                  <a:close/>
                </a:path>
              </a:pathLst>
            </a:custGeom>
            <a:noFill/>
            <a:ln w="5670">
              <a:solidFill>
                <a:srgbClr val="705029"/>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grpSp>
      <p:grpSp>
        <p:nvGrpSpPr>
          <p:cNvPr id="26" name="Group 25">
            <a:extLst>
              <a:ext uri="{FF2B5EF4-FFF2-40B4-BE49-F238E27FC236}">
                <a16:creationId xmlns:a16="http://schemas.microsoft.com/office/drawing/2014/main" id="{1B92F252-7F45-6623-2063-4AE57B7BBCC8}"/>
              </a:ext>
            </a:extLst>
          </p:cNvPr>
          <p:cNvGrpSpPr/>
          <p:nvPr/>
        </p:nvGrpSpPr>
        <p:grpSpPr>
          <a:xfrm>
            <a:off x="4793102" y="2592320"/>
            <a:ext cx="1146978" cy="1146978"/>
            <a:chOff x="3286977" y="1736429"/>
            <a:chExt cx="1146978" cy="1146978"/>
          </a:xfrm>
        </p:grpSpPr>
        <p:sp>
          <p:nvSpPr>
            <p:cNvPr id="69" name="Rounded Rectangle 7">
              <a:extLst>
                <a:ext uri="{FF2B5EF4-FFF2-40B4-BE49-F238E27FC236}">
                  <a16:creationId xmlns:a16="http://schemas.microsoft.com/office/drawing/2014/main" id="{21AA058E-2EB9-E8BD-6AE3-D070C66C2217}"/>
                </a:ext>
              </a:extLst>
            </p:cNvPr>
            <p:cNvSpPr/>
            <p:nvPr/>
          </p:nvSpPr>
          <p:spPr>
            <a:xfrm>
              <a:off x="3286977" y="1736429"/>
              <a:ext cx="1146978" cy="1146978"/>
            </a:xfrm>
            <a:custGeom>
              <a:avLst/>
              <a:gdLst/>
              <a:ahLst/>
              <a:cxnLst/>
              <a:rect l="0" t="0" r="0" b="0"/>
              <a:pathLst>
                <a:path w="1146978" h="1146978">
                  <a:moveTo>
                    <a:pt x="1146978" y="896455"/>
                  </a:moveTo>
                  <a:lnTo>
                    <a:pt x="542032" y="1146978"/>
                  </a:lnTo>
                  <a:lnTo>
                    <a:pt x="0" y="604946"/>
                  </a:lnTo>
                  <a:lnTo>
                    <a:pt x="250599" y="0"/>
                  </a:lnTo>
                  <a:close/>
                </a:path>
              </a:pathLst>
            </a:custGeom>
            <a:solidFill>
              <a:srgbClr val="986222"/>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70" name="Rounded Rectangle 8">
              <a:extLst>
                <a:ext uri="{FF2B5EF4-FFF2-40B4-BE49-F238E27FC236}">
                  <a16:creationId xmlns:a16="http://schemas.microsoft.com/office/drawing/2014/main" id="{09F3CC2F-0BFD-B25D-E546-1DABA2C29C40}"/>
                </a:ext>
              </a:extLst>
            </p:cNvPr>
            <p:cNvSpPr/>
            <p:nvPr/>
          </p:nvSpPr>
          <p:spPr>
            <a:xfrm>
              <a:off x="3286977" y="1736429"/>
              <a:ext cx="1146978" cy="1146978"/>
            </a:xfrm>
            <a:custGeom>
              <a:avLst/>
              <a:gdLst/>
              <a:ahLst/>
              <a:cxnLst/>
              <a:rect l="0" t="0" r="0" b="0"/>
              <a:pathLst>
                <a:path w="1146978" h="1146978">
                  <a:moveTo>
                    <a:pt x="1146978" y="896455"/>
                  </a:moveTo>
                  <a:lnTo>
                    <a:pt x="542032" y="1146978"/>
                  </a:lnTo>
                  <a:lnTo>
                    <a:pt x="0" y="604946"/>
                  </a:lnTo>
                  <a:lnTo>
                    <a:pt x="250599" y="0"/>
                  </a:lnTo>
                  <a:close/>
                </a:path>
              </a:pathLst>
            </a:custGeom>
            <a:noFill/>
            <a:ln w="5670">
              <a:solidFill>
                <a:srgbClr val="986222"/>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grpSp>
      <p:grpSp>
        <p:nvGrpSpPr>
          <p:cNvPr id="27" name="Group 26">
            <a:extLst>
              <a:ext uri="{FF2B5EF4-FFF2-40B4-BE49-F238E27FC236}">
                <a16:creationId xmlns:a16="http://schemas.microsoft.com/office/drawing/2014/main" id="{EF0C6B45-E6D8-E6BF-86E8-4DD408B450A7}"/>
              </a:ext>
            </a:extLst>
          </p:cNvPr>
          <p:cNvGrpSpPr/>
          <p:nvPr/>
        </p:nvGrpSpPr>
        <p:grpSpPr>
          <a:xfrm>
            <a:off x="5335134" y="3488771"/>
            <a:ext cx="604946" cy="1267665"/>
            <a:chOff x="3829009" y="2632880"/>
            <a:chExt cx="604946" cy="1267665"/>
          </a:xfrm>
        </p:grpSpPr>
        <p:sp>
          <p:nvSpPr>
            <p:cNvPr id="67" name="Rounded Rectangle 10">
              <a:extLst>
                <a:ext uri="{FF2B5EF4-FFF2-40B4-BE49-F238E27FC236}">
                  <a16:creationId xmlns:a16="http://schemas.microsoft.com/office/drawing/2014/main" id="{09C1DA4B-8962-FA8E-D320-31027F4A51B9}"/>
                </a:ext>
              </a:extLst>
            </p:cNvPr>
            <p:cNvSpPr/>
            <p:nvPr/>
          </p:nvSpPr>
          <p:spPr>
            <a:xfrm>
              <a:off x="3829009" y="2632880"/>
              <a:ext cx="604946" cy="1267665"/>
            </a:xfrm>
            <a:custGeom>
              <a:avLst/>
              <a:gdLst/>
              <a:ahLst/>
              <a:cxnLst/>
              <a:rect l="0" t="0" r="0" b="0"/>
              <a:pathLst>
                <a:path w="604946" h="1267665">
                  <a:moveTo>
                    <a:pt x="604946" y="0"/>
                  </a:moveTo>
                  <a:lnTo>
                    <a:pt x="604946" y="1267665"/>
                  </a:lnTo>
                  <a:lnTo>
                    <a:pt x="0" y="1017066"/>
                  </a:lnTo>
                  <a:lnTo>
                    <a:pt x="0" y="250523"/>
                  </a:lnTo>
                  <a:close/>
                </a:path>
              </a:pathLst>
            </a:custGeom>
            <a:solidFill>
              <a:srgbClr val="CC7813"/>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68" name="Rounded Rectangle 11">
              <a:extLst>
                <a:ext uri="{FF2B5EF4-FFF2-40B4-BE49-F238E27FC236}">
                  <a16:creationId xmlns:a16="http://schemas.microsoft.com/office/drawing/2014/main" id="{FEBD9B96-9E99-B3D6-4FFE-71C292C6F4C5}"/>
                </a:ext>
              </a:extLst>
            </p:cNvPr>
            <p:cNvSpPr/>
            <p:nvPr/>
          </p:nvSpPr>
          <p:spPr>
            <a:xfrm>
              <a:off x="3829009" y="2632880"/>
              <a:ext cx="604946" cy="1267665"/>
            </a:xfrm>
            <a:custGeom>
              <a:avLst/>
              <a:gdLst/>
              <a:ahLst/>
              <a:cxnLst/>
              <a:rect l="0" t="0" r="0" b="0"/>
              <a:pathLst>
                <a:path w="604946" h="1267665">
                  <a:moveTo>
                    <a:pt x="604946" y="0"/>
                  </a:moveTo>
                  <a:lnTo>
                    <a:pt x="604946" y="1267665"/>
                  </a:lnTo>
                  <a:lnTo>
                    <a:pt x="0" y="1017066"/>
                  </a:lnTo>
                  <a:lnTo>
                    <a:pt x="0" y="250523"/>
                  </a:lnTo>
                  <a:close/>
                </a:path>
              </a:pathLst>
            </a:custGeom>
            <a:noFill/>
            <a:ln w="5670">
              <a:solidFill>
                <a:srgbClr val="CC7813"/>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grpSp>
      <p:grpSp>
        <p:nvGrpSpPr>
          <p:cNvPr id="28" name="Group 27">
            <a:extLst>
              <a:ext uri="{FF2B5EF4-FFF2-40B4-BE49-F238E27FC236}">
                <a16:creationId xmlns:a16="http://schemas.microsoft.com/office/drawing/2014/main" id="{739EE940-C6C8-D002-65BA-217A819552B5}"/>
              </a:ext>
            </a:extLst>
          </p:cNvPr>
          <p:cNvGrpSpPr/>
          <p:nvPr/>
        </p:nvGrpSpPr>
        <p:grpSpPr>
          <a:xfrm>
            <a:off x="4793102" y="4505837"/>
            <a:ext cx="1146978" cy="1147054"/>
            <a:chOff x="3286977" y="3649946"/>
            <a:chExt cx="1146978" cy="1147054"/>
          </a:xfrm>
        </p:grpSpPr>
        <p:sp>
          <p:nvSpPr>
            <p:cNvPr id="65" name="Rounded Rectangle 13">
              <a:extLst>
                <a:ext uri="{FF2B5EF4-FFF2-40B4-BE49-F238E27FC236}">
                  <a16:creationId xmlns:a16="http://schemas.microsoft.com/office/drawing/2014/main" id="{F3C775DA-BFE1-01D2-39A2-F38286EF1DAF}"/>
                </a:ext>
              </a:extLst>
            </p:cNvPr>
            <p:cNvSpPr/>
            <p:nvPr/>
          </p:nvSpPr>
          <p:spPr>
            <a:xfrm>
              <a:off x="3286977" y="3649946"/>
              <a:ext cx="1146978" cy="1147054"/>
            </a:xfrm>
            <a:custGeom>
              <a:avLst/>
              <a:gdLst/>
              <a:ahLst/>
              <a:cxnLst/>
              <a:rect l="0" t="0" r="0" b="0"/>
              <a:pathLst>
                <a:path w="1146978" h="1147054">
                  <a:moveTo>
                    <a:pt x="1146978" y="250599"/>
                  </a:moveTo>
                  <a:lnTo>
                    <a:pt x="250599" y="1147054"/>
                  </a:lnTo>
                  <a:lnTo>
                    <a:pt x="0" y="542107"/>
                  </a:lnTo>
                  <a:lnTo>
                    <a:pt x="542032" y="0"/>
                  </a:lnTo>
                  <a:close/>
                </a:path>
              </a:pathLst>
            </a:custGeom>
            <a:solidFill>
              <a:srgbClr val="F98700"/>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66" name="Rounded Rectangle 14">
              <a:extLst>
                <a:ext uri="{FF2B5EF4-FFF2-40B4-BE49-F238E27FC236}">
                  <a16:creationId xmlns:a16="http://schemas.microsoft.com/office/drawing/2014/main" id="{D54635EB-BED2-32FD-4CD0-482E2BAF7BE9}"/>
                </a:ext>
              </a:extLst>
            </p:cNvPr>
            <p:cNvSpPr/>
            <p:nvPr/>
          </p:nvSpPr>
          <p:spPr>
            <a:xfrm>
              <a:off x="3286977" y="3649946"/>
              <a:ext cx="1146978" cy="1147054"/>
            </a:xfrm>
            <a:custGeom>
              <a:avLst/>
              <a:gdLst/>
              <a:ahLst/>
              <a:cxnLst/>
              <a:rect l="0" t="0" r="0" b="0"/>
              <a:pathLst>
                <a:path w="1146978" h="1147054">
                  <a:moveTo>
                    <a:pt x="1146978" y="250599"/>
                  </a:moveTo>
                  <a:lnTo>
                    <a:pt x="250599" y="1147054"/>
                  </a:lnTo>
                  <a:lnTo>
                    <a:pt x="0" y="542107"/>
                  </a:lnTo>
                  <a:lnTo>
                    <a:pt x="542032" y="0"/>
                  </a:lnTo>
                  <a:close/>
                </a:path>
              </a:pathLst>
            </a:custGeom>
            <a:noFill/>
            <a:ln w="5670">
              <a:solidFill>
                <a:srgbClr val="F987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grpSp>
      <p:grpSp>
        <p:nvGrpSpPr>
          <p:cNvPr id="29" name="Group 28">
            <a:extLst>
              <a:ext uri="{FF2B5EF4-FFF2-40B4-BE49-F238E27FC236}">
                <a16:creationId xmlns:a16="http://schemas.microsoft.com/office/drawing/2014/main" id="{73F581AE-2419-E3D4-BF79-C3104BBEBC72}"/>
              </a:ext>
            </a:extLst>
          </p:cNvPr>
          <p:cNvGrpSpPr/>
          <p:nvPr/>
        </p:nvGrpSpPr>
        <p:grpSpPr>
          <a:xfrm>
            <a:off x="3775960" y="5047937"/>
            <a:ext cx="1267741" cy="604946"/>
            <a:chOff x="2269835" y="4192046"/>
            <a:chExt cx="1267741" cy="604946"/>
          </a:xfrm>
        </p:grpSpPr>
        <p:sp>
          <p:nvSpPr>
            <p:cNvPr id="63" name="Rounded Rectangle 16">
              <a:extLst>
                <a:ext uri="{FF2B5EF4-FFF2-40B4-BE49-F238E27FC236}">
                  <a16:creationId xmlns:a16="http://schemas.microsoft.com/office/drawing/2014/main" id="{C2EE0D23-606D-C245-CC83-1EFD55C92859}"/>
                </a:ext>
              </a:extLst>
            </p:cNvPr>
            <p:cNvSpPr/>
            <p:nvPr/>
          </p:nvSpPr>
          <p:spPr>
            <a:xfrm>
              <a:off x="2269835" y="4192046"/>
              <a:ext cx="1267741" cy="604946"/>
            </a:xfrm>
            <a:custGeom>
              <a:avLst/>
              <a:gdLst/>
              <a:ahLst/>
              <a:cxnLst/>
              <a:rect l="0" t="0" r="0" b="0"/>
              <a:pathLst>
                <a:path w="1267741" h="604946">
                  <a:moveTo>
                    <a:pt x="1267741" y="604946"/>
                  </a:moveTo>
                  <a:lnTo>
                    <a:pt x="0" y="604946"/>
                  </a:lnTo>
                  <a:lnTo>
                    <a:pt x="250599" y="0"/>
                  </a:lnTo>
                  <a:lnTo>
                    <a:pt x="1017142" y="0"/>
                  </a:lnTo>
                  <a:close/>
                </a:path>
              </a:pathLst>
            </a:custGeom>
            <a:solidFill>
              <a:srgbClr val="FF9210"/>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64" name="Rounded Rectangle 17">
              <a:extLst>
                <a:ext uri="{FF2B5EF4-FFF2-40B4-BE49-F238E27FC236}">
                  <a16:creationId xmlns:a16="http://schemas.microsoft.com/office/drawing/2014/main" id="{53AE8BFD-C95F-83F1-6305-4DD341C4736D}"/>
                </a:ext>
              </a:extLst>
            </p:cNvPr>
            <p:cNvSpPr/>
            <p:nvPr/>
          </p:nvSpPr>
          <p:spPr>
            <a:xfrm>
              <a:off x="2269835" y="4192046"/>
              <a:ext cx="1267741" cy="604946"/>
            </a:xfrm>
            <a:custGeom>
              <a:avLst/>
              <a:gdLst/>
              <a:ahLst/>
              <a:cxnLst/>
              <a:rect l="0" t="0" r="0" b="0"/>
              <a:pathLst>
                <a:path w="1267741" h="604946">
                  <a:moveTo>
                    <a:pt x="1267741" y="604946"/>
                  </a:moveTo>
                  <a:lnTo>
                    <a:pt x="0" y="604946"/>
                  </a:lnTo>
                  <a:lnTo>
                    <a:pt x="250599" y="0"/>
                  </a:lnTo>
                  <a:lnTo>
                    <a:pt x="1017142" y="0"/>
                  </a:lnTo>
                  <a:close/>
                </a:path>
              </a:pathLst>
            </a:custGeom>
            <a:noFill/>
            <a:ln w="5670">
              <a:solidFill>
                <a:srgbClr val="FF921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grpSp>
      <p:grpSp>
        <p:nvGrpSpPr>
          <p:cNvPr id="30" name="Group 29">
            <a:extLst>
              <a:ext uri="{FF2B5EF4-FFF2-40B4-BE49-F238E27FC236}">
                <a16:creationId xmlns:a16="http://schemas.microsoft.com/office/drawing/2014/main" id="{544DB42C-D8A8-A747-F7A1-8CC7DBB1AAAE}"/>
              </a:ext>
            </a:extLst>
          </p:cNvPr>
          <p:cNvGrpSpPr/>
          <p:nvPr/>
        </p:nvGrpSpPr>
        <p:grpSpPr>
          <a:xfrm>
            <a:off x="2879580" y="4505837"/>
            <a:ext cx="1146978" cy="1147054"/>
            <a:chOff x="1373455" y="3649946"/>
            <a:chExt cx="1146978" cy="1147054"/>
          </a:xfrm>
        </p:grpSpPr>
        <p:sp>
          <p:nvSpPr>
            <p:cNvPr id="61" name="Rounded Rectangle 19">
              <a:extLst>
                <a:ext uri="{FF2B5EF4-FFF2-40B4-BE49-F238E27FC236}">
                  <a16:creationId xmlns:a16="http://schemas.microsoft.com/office/drawing/2014/main" id="{CA0CB0E3-A61D-343F-EF4B-0A9FC76ABB76}"/>
                </a:ext>
              </a:extLst>
            </p:cNvPr>
            <p:cNvSpPr/>
            <p:nvPr/>
          </p:nvSpPr>
          <p:spPr>
            <a:xfrm>
              <a:off x="1373455" y="3649946"/>
              <a:ext cx="1146978" cy="1147054"/>
            </a:xfrm>
            <a:custGeom>
              <a:avLst/>
              <a:gdLst/>
              <a:ahLst/>
              <a:cxnLst/>
              <a:rect l="0" t="0" r="0" b="0"/>
              <a:pathLst>
                <a:path w="1146978" h="1147054">
                  <a:moveTo>
                    <a:pt x="1146978" y="542107"/>
                  </a:moveTo>
                  <a:lnTo>
                    <a:pt x="896379" y="1147054"/>
                  </a:lnTo>
                  <a:lnTo>
                    <a:pt x="0" y="250599"/>
                  </a:lnTo>
                  <a:lnTo>
                    <a:pt x="604946" y="0"/>
                  </a:lnTo>
                  <a:close/>
                </a:path>
              </a:pathLst>
            </a:custGeom>
            <a:solidFill>
              <a:srgbClr val="FF9C26"/>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62" name="Rounded Rectangle 20">
              <a:extLst>
                <a:ext uri="{FF2B5EF4-FFF2-40B4-BE49-F238E27FC236}">
                  <a16:creationId xmlns:a16="http://schemas.microsoft.com/office/drawing/2014/main" id="{D4E25E28-81EE-999F-44D8-08ACB762E011}"/>
                </a:ext>
              </a:extLst>
            </p:cNvPr>
            <p:cNvSpPr/>
            <p:nvPr/>
          </p:nvSpPr>
          <p:spPr>
            <a:xfrm>
              <a:off x="1373455" y="3649946"/>
              <a:ext cx="1146978" cy="1147054"/>
            </a:xfrm>
            <a:custGeom>
              <a:avLst/>
              <a:gdLst/>
              <a:ahLst/>
              <a:cxnLst/>
              <a:rect l="0" t="0" r="0" b="0"/>
              <a:pathLst>
                <a:path w="1146978" h="1147054">
                  <a:moveTo>
                    <a:pt x="1146978" y="542107"/>
                  </a:moveTo>
                  <a:lnTo>
                    <a:pt x="896379" y="1147054"/>
                  </a:lnTo>
                  <a:lnTo>
                    <a:pt x="0" y="250599"/>
                  </a:lnTo>
                  <a:lnTo>
                    <a:pt x="604946" y="0"/>
                  </a:lnTo>
                  <a:close/>
                </a:path>
              </a:pathLst>
            </a:custGeom>
            <a:noFill/>
            <a:ln w="5670">
              <a:solidFill>
                <a:srgbClr val="FF9C2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grpSp>
      <p:grpSp>
        <p:nvGrpSpPr>
          <p:cNvPr id="31" name="Group 30">
            <a:extLst>
              <a:ext uri="{FF2B5EF4-FFF2-40B4-BE49-F238E27FC236}">
                <a16:creationId xmlns:a16="http://schemas.microsoft.com/office/drawing/2014/main" id="{5F6217C3-C015-ADD1-43BD-4A5439D4DC09}"/>
              </a:ext>
            </a:extLst>
          </p:cNvPr>
          <p:cNvGrpSpPr/>
          <p:nvPr/>
        </p:nvGrpSpPr>
        <p:grpSpPr>
          <a:xfrm>
            <a:off x="2879580" y="3488771"/>
            <a:ext cx="604946" cy="1267665"/>
            <a:chOff x="1373455" y="2632880"/>
            <a:chExt cx="604946" cy="1267665"/>
          </a:xfrm>
        </p:grpSpPr>
        <p:sp>
          <p:nvSpPr>
            <p:cNvPr id="59" name="Rounded Rectangle 22">
              <a:extLst>
                <a:ext uri="{FF2B5EF4-FFF2-40B4-BE49-F238E27FC236}">
                  <a16:creationId xmlns:a16="http://schemas.microsoft.com/office/drawing/2014/main" id="{BBDCAD10-74BA-1905-44D0-B346E0B19206}"/>
                </a:ext>
              </a:extLst>
            </p:cNvPr>
            <p:cNvSpPr/>
            <p:nvPr/>
          </p:nvSpPr>
          <p:spPr>
            <a:xfrm>
              <a:off x="1373455" y="2632880"/>
              <a:ext cx="604946" cy="1267665"/>
            </a:xfrm>
            <a:custGeom>
              <a:avLst/>
              <a:gdLst/>
              <a:ahLst/>
              <a:cxnLst/>
              <a:rect l="0" t="0" r="0" b="0"/>
              <a:pathLst>
                <a:path w="604946" h="1267665">
                  <a:moveTo>
                    <a:pt x="604946" y="250523"/>
                  </a:moveTo>
                  <a:lnTo>
                    <a:pt x="604946" y="1017066"/>
                  </a:lnTo>
                  <a:lnTo>
                    <a:pt x="0" y="1267665"/>
                  </a:lnTo>
                  <a:lnTo>
                    <a:pt x="0" y="0"/>
                  </a:lnTo>
                  <a:close/>
                </a:path>
              </a:pathLst>
            </a:custGeom>
            <a:solidFill>
              <a:srgbClr val="FFAE4D"/>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60" name="Rounded Rectangle 23">
              <a:extLst>
                <a:ext uri="{FF2B5EF4-FFF2-40B4-BE49-F238E27FC236}">
                  <a16:creationId xmlns:a16="http://schemas.microsoft.com/office/drawing/2014/main" id="{B33205A5-56FF-04D9-AB8F-6430AF10D7D3}"/>
                </a:ext>
              </a:extLst>
            </p:cNvPr>
            <p:cNvSpPr/>
            <p:nvPr/>
          </p:nvSpPr>
          <p:spPr>
            <a:xfrm>
              <a:off x="1373455" y="2632880"/>
              <a:ext cx="604946" cy="1267665"/>
            </a:xfrm>
            <a:custGeom>
              <a:avLst/>
              <a:gdLst/>
              <a:ahLst/>
              <a:cxnLst/>
              <a:rect l="0" t="0" r="0" b="0"/>
              <a:pathLst>
                <a:path w="604946" h="1267665">
                  <a:moveTo>
                    <a:pt x="604946" y="250523"/>
                  </a:moveTo>
                  <a:lnTo>
                    <a:pt x="604946" y="1017066"/>
                  </a:lnTo>
                  <a:lnTo>
                    <a:pt x="0" y="1267665"/>
                  </a:lnTo>
                  <a:lnTo>
                    <a:pt x="0" y="0"/>
                  </a:lnTo>
                  <a:close/>
                </a:path>
              </a:pathLst>
            </a:custGeom>
            <a:noFill/>
            <a:ln w="5670">
              <a:solidFill>
                <a:srgbClr val="FFAE4D"/>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grpSp>
      <p:sp>
        <p:nvSpPr>
          <p:cNvPr id="32" name="TextBox 25">
            <a:extLst>
              <a:ext uri="{FF2B5EF4-FFF2-40B4-BE49-F238E27FC236}">
                <a16:creationId xmlns:a16="http://schemas.microsoft.com/office/drawing/2014/main" id="{181F7276-AC3A-62AE-3921-3B2AA377AE76}"/>
              </a:ext>
            </a:extLst>
          </p:cNvPr>
          <p:cNvSpPr txBox="1"/>
          <p:nvPr/>
        </p:nvSpPr>
        <p:spPr>
          <a:xfrm>
            <a:off x="5604637" y="2409679"/>
            <a:ext cx="782265" cy="553998"/>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900" b="0" noProof="0">
                <a:solidFill>
                  <a:srgbClr val="464646"/>
                </a:solidFill>
                <a:latin typeface="Avenir LT Pro 45Book"/>
              </a:rPr>
              <a:t>Combination of
offerings serving
specific segment
needs.</a:t>
            </a:r>
          </a:p>
        </p:txBody>
      </p:sp>
      <p:sp>
        <p:nvSpPr>
          <p:cNvPr id="33" name="TextBox 26">
            <a:extLst>
              <a:ext uri="{FF2B5EF4-FFF2-40B4-BE49-F238E27FC236}">
                <a16:creationId xmlns:a16="http://schemas.microsoft.com/office/drawing/2014/main" id="{3E432759-6BE9-C5B6-C02F-1C5A68FD0975}"/>
              </a:ext>
            </a:extLst>
          </p:cNvPr>
          <p:cNvSpPr txBox="1"/>
          <p:nvPr/>
        </p:nvSpPr>
        <p:spPr>
          <a:xfrm>
            <a:off x="2154227" y="2500421"/>
            <a:ext cx="1067601" cy="415498"/>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900" b="0" noProof="0">
                <a:solidFill>
                  <a:srgbClr val="464646"/>
                </a:solidFill>
                <a:latin typeface="Avenir LT Pro 45Book"/>
              </a:rPr>
              <a:t>Competitive
performance decisions
on value attributes.</a:t>
            </a:r>
          </a:p>
        </p:txBody>
      </p:sp>
      <p:sp>
        <p:nvSpPr>
          <p:cNvPr id="34" name="TextBox 27">
            <a:extLst>
              <a:ext uri="{FF2B5EF4-FFF2-40B4-BE49-F238E27FC236}">
                <a16:creationId xmlns:a16="http://schemas.microsoft.com/office/drawing/2014/main" id="{3D76EED9-317F-6B63-E4CB-4C0CFB738CC0}"/>
              </a:ext>
            </a:extLst>
          </p:cNvPr>
          <p:cNvSpPr txBox="1"/>
          <p:nvPr/>
        </p:nvSpPr>
        <p:spPr>
          <a:xfrm>
            <a:off x="5604637" y="2071304"/>
            <a:ext cx="981038" cy="30777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000" b="1" noProof="0">
                <a:solidFill>
                  <a:srgbClr val="464646"/>
                </a:solidFill>
                <a:latin typeface="Avenir LT Pro 45Book"/>
              </a:rPr>
              <a:t>2. Product/Service
Portfolio</a:t>
            </a:r>
          </a:p>
        </p:txBody>
      </p:sp>
      <p:sp>
        <p:nvSpPr>
          <p:cNvPr id="35" name="TextBox 28">
            <a:extLst>
              <a:ext uri="{FF2B5EF4-FFF2-40B4-BE49-F238E27FC236}">
                <a16:creationId xmlns:a16="http://schemas.microsoft.com/office/drawing/2014/main" id="{334274DE-F37B-CD04-C3E7-B210562167C7}"/>
              </a:ext>
            </a:extLst>
          </p:cNvPr>
          <p:cNvSpPr txBox="1"/>
          <p:nvPr/>
        </p:nvSpPr>
        <p:spPr>
          <a:xfrm>
            <a:off x="2210214" y="2162046"/>
            <a:ext cx="1040349" cy="30777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000" b="1" noProof="0">
                <a:solidFill>
                  <a:srgbClr val="464646"/>
                </a:solidFill>
                <a:latin typeface="Avenir LT Pro 45Book"/>
              </a:rPr>
              <a:t>8. Relative
Performance Levels</a:t>
            </a:r>
          </a:p>
        </p:txBody>
      </p:sp>
      <p:sp>
        <p:nvSpPr>
          <p:cNvPr id="36" name="TextBox 29">
            <a:extLst>
              <a:ext uri="{FF2B5EF4-FFF2-40B4-BE49-F238E27FC236}">
                <a16:creationId xmlns:a16="http://schemas.microsoft.com/office/drawing/2014/main" id="{9D12084E-CCF1-CAE7-EF3F-39CB0A296517}"/>
              </a:ext>
            </a:extLst>
          </p:cNvPr>
          <p:cNvSpPr txBox="1"/>
          <p:nvPr/>
        </p:nvSpPr>
        <p:spPr>
          <a:xfrm>
            <a:off x="1721255" y="3795401"/>
            <a:ext cx="888065" cy="30777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000" b="1" noProof="0">
                <a:solidFill>
                  <a:srgbClr val="464646"/>
                </a:solidFill>
                <a:latin typeface="Avenir LT Pro 45Book"/>
              </a:rPr>
              <a:t>7. Cost-Reducing
Attributes</a:t>
            </a:r>
          </a:p>
        </p:txBody>
      </p:sp>
      <p:sp>
        <p:nvSpPr>
          <p:cNvPr id="37" name="TextBox 30">
            <a:extLst>
              <a:ext uri="{FF2B5EF4-FFF2-40B4-BE49-F238E27FC236}">
                <a16:creationId xmlns:a16="http://schemas.microsoft.com/office/drawing/2014/main" id="{BC7251E3-397F-9B48-4327-65F0C7ABBEC7}"/>
              </a:ext>
            </a:extLst>
          </p:cNvPr>
          <p:cNvSpPr txBox="1"/>
          <p:nvPr/>
        </p:nvSpPr>
        <p:spPr>
          <a:xfrm>
            <a:off x="6239831" y="3795401"/>
            <a:ext cx="852798" cy="30777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000" b="1" noProof="0">
                <a:solidFill>
                  <a:srgbClr val="464646"/>
                </a:solidFill>
                <a:latin typeface="Avenir LT Pro 45Book"/>
              </a:rPr>
              <a:t>3. Relative Price
Position</a:t>
            </a:r>
          </a:p>
        </p:txBody>
      </p:sp>
      <p:sp>
        <p:nvSpPr>
          <p:cNvPr id="39" name="TextBox 31">
            <a:extLst>
              <a:ext uri="{FF2B5EF4-FFF2-40B4-BE49-F238E27FC236}">
                <a16:creationId xmlns:a16="http://schemas.microsoft.com/office/drawing/2014/main" id="{EAE077C7-FDB2-822F-920C-468FA9AA9D6E}"/>
              </a:ext>
            </a:extLst>
          </p:cNvPr>
          <p:cNvSpPr txBox="1"/>
          <p:nvPr/>
        </p:nvSpPr>
        <p:spPr>
          <a:xfrm>
            <a:off x="3934577" y="6220842"/>
            <a:ext cx="926536" cy="415498"/>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900" b="0" noProof="0">
                <a:solidFill>
                  <a:srgbClr val="464646"/>
                </a:solidFill>
                <a:latin typeface="Avenir LT Pro 45Book"/>
              </a:rPr>
              <a:t>Clear articulation of
unique value
delivered.</a:t>
            </a:r>
          </a:p>
        </p:txBody>
      </p:sp>
      <p:sp>
        <p:nvSpPr>
          <p:cNvPr id="40" name="TextBox 32">
            <a:extLst>
              <a:ext uri="{FF2B5EF4-FFF2-40B4-BE49-F238E27FC236}">
                <a16:creationId xmlns:a16="http://schemas.microsoft.com/office/drawing/2014/main" id="{5D98B8F7-1664-8F5D-A24A-56B5E042F17D}"/>
              </a:ext>
            </a:extLst>
          </p:cNvPr>
          <p:cNvSpPr txBox="1"/>
          <p:nvPr/>
        </p:nvSpPr>
        <p:spPr>
          <a:xfrm>
            <a:off x="1616785" y="4133777"/>
            <a:ext cx="965009" cy="415498"/>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900" b="0" noProof="0">
                <a:solidFill>
                  <a:srgbClr val="464646"/>
                </a:solidFill>
                <a:latin typeface="Avenir LT Pro 45Book"/>
              </a:rPr>
              <a:t>Attributes impacting
organizational cost
structure.</a:t>
            </a:r>
          </a:p>
        </p:txBody>
      </p:sp>
      <p:sp>
        <p:nvSpPr>
          <p:cNvPr id="41" name="TextBox 33">
            <a:extLst>
              <a:ext uri="{FF2B5EF4-FFF2-40B4-BE49-F238E27FC236}">
                <a16:creationId xmlns:a16="http://schemas.microsoft.com/office/drawing/2014/main" id="{5759F711-A101-D349-71A3-56CC4B36D9B6}"/>
              </a:ext>
            </a:extLst>
          </p:cNvPr>
          <p:cNvSpPr txBox="1"/>
          <p:nvPr/>
        </p:nvSpPr>
        <p:spPr>
          <a:xfrm>
            <a:off x="6239831" y="4133777"/>
            <a:ext cx="1077218" cy="415498"/>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900" b="0" noProof="0">
                <a:solidFill>
                  <a:srgbClr val="464646"/>
                </a:solidFill>
                <a:latin typeface="Avenir LT Pro 45Book"/>
              </a:rPr>
              <a:t>Pricing strategy
relative to competitors
and alternatives.</a:t>
            </a:r>
          </a:p>
        </p:txBody>
      </p:sp>
      <p:sp>
        <p:nvSpPr>
          <p:cNvPr id="42" name="TextBox 34">
            <a:extLst>
              <a:ext uri="{FF2B5EF4-FFF2-40B4-BE49-F238E27FC236}">
                <a16:creationId xmlns:a16="http://schemas.microsoft.com/office/drawing/2014/main" id="{C25A125B-1F7B-932B-2FD9-FFDFA00C3A10}"/>
              </a:ext>
            </a:extLst>
          </p:cNvPr>
          <p:cNvSpPr txBox="1"/>
          <p:nvPr/>
        </p:nvSpPr>
        <p:spPr>
          <a:xfrm>
            <a:off x="3883084" y="2046711"/>
            <a:ext cx="1054777" cy="415498"/>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900" b="0" noProof="0">
                <a:solidFill>
                  <a:srgbClr val="464646"/>
                </a:solidFill>
                <a:latin typeface="Avenir LT Pro 45Book"/>
              </a:rPr>
              <a:t>Clearly defined groups
with similar value
priorities.</a:t>
            </a:r>
          </a:p>
        </p:txBody>
      </p:sp>
      <p:sp>
        <p:nvSpPr>
          <p:cNvPr id="43" name="TextBox 35">
            <a:extLst>
              <a:ext uri="{FF2B5EF4-FFF2-40B4-BE49-F238E27FC236}">
                <a16:creationId xmlns:a16="http://schemas.microsoft.com/office/drawing/2014/main" id="{288D2A6D-DDA9-C6A0-2B6F-9F06875412AB}"/>
              </a:ext>
            </a:extLst>
          </p:cNvPr>
          <p:cNvSpPr txBox="1"/>
          <p:nvPr/>
        </p:nvSpPr>
        <p:spPr>
          <a:xfrm>
            <a:off x="3914284" y="1708336"/>
            <a:ext cx="1013098" cy="30777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000" b="1" noProof="0">
                <a:solidFill>
                  <a:srgbClr val="464646"/>
                </a:solidFill>
                <a:latin typeface="Avenir LT Pro 45Book"/>
              </a:rPr>
              <a:t>1. Target Customer
Segments</a:t>
            </a:r>
          </a:p>
        </p:txBody>
      </p:sp>
      <p:sp>
        <p:nvSpPr>
          <p:cNvPr id="44" name="TextBox 36">
            <a:extLst>
              <a:ext uri="{FF2B5EF4-FFF2-40B4-BE49-F238E27FC236}">
                <a16:creationId xmlns:a16="http://schemas.microsoft.com/office/drawing/2014/main" id="{0087C7A2-8838-3DDC-AA85-D22D85E6DB03}"/>
              </a:ext>
            </a:extLst>
          </p:cNvPr>
          <p:cNvSpPr txBox="1"/>
          <p:nvPr/>
        </p:nvSpPr>
        <p:spPr>
          <a:xfrm>
            <a:off x="2396144" y="1242365"/>
            <a:ext cx="4049378" cy="21544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400" b="1" noProof="0">
                <a:solidFill>
                  <a:srgbClr val="464646"/>
                </a:solidFill>
                <a:latin typeface="Avenir LT Pro 45Book"/>
              </a:rPr>
              <a:t>8 Core Elements to Design Effective Value Propositions</a:t>
            </a:r>
          </a:p>
        </p:txBody>
      </p:sp>
      <p:sp>
        <p:nvSpPr>
          <p:cNvPr id="45" name="TextBox 37">
            <a:extLst>
              <a:ext uri="{FF2B5EF4-FFF2-40B4-BE49-F238E27FC236}">
                <a16:creationId xmlns:a16="http://schemas.microsoft.com/office/drawing/2014/main" id="{5CF39C81-2BA9-76BC-D79D-6ACB17450829}"/>
              </a:ext>
            </a:extLst>
          </p:cNvPr>
          <p:cNvSpPr txBox="1"/>
          <p:nvPr/>
        </p:nvSpPr>
        <p:spPr>
          <a:xfrm>
            <a:off x="2183455" y="5247273"/>
            <a:ext cx="974627" cy="30777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000" b="1" noProof="0">
                <a:solidFill>
                  <a:srgbClr val="464646"/>
                </a:solidFill>
                <a:latin typeface="Avenir LT Pro 45Book"/>
              </a:rPr>
              <a:t>6. Customer Value
Attributes</a:t>
            </a:r>
          </a:p>
        </p:txBody>
      </p:sp>
      <p:sp>
        <p:nvSpPr>
          <p:cNvPr id="46" name="TextBox 38">
            <a:extLst>
              <a:ext uri="{FF2B5EF4-FFF2-40B4-BE49-F238E27FC236}">
                <a16:creationId xmlns:a16="http://schemas.microsoft.com/office/drawing/2014/main" id="{9FA782BF-C669-1A63-1BBA-BC46F147668A}"/>
              </a:ext>
            </a:extLst>
          </p:cNvPr>
          <p:cNvSpPr txBox="1"/>
          <p:nvPr/>
        </p:nvSpPr>
        <p:spPr>
          <a:xfrm>
            <a:off x="5695379" y="5254835"/>
            <a:ext cx="867225" cy="153888"/>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000" b="1" noProof="0">
                <a:solidFill>
                  <a:srgbClr val="464646"/>
                </a:solidFill>
                <a:latin typeface="Avenir LT Pro 45Book"/>
              </a:rPr>
              <a:t>4. Complements</a:t>
            </a:r>
          </a:p>
        </p:txBody>
      </p:sp>
      <p:sp>
        <p:nvSpPr>
          <p:cNvPr id="47" name="TextBox 39">
            <a:extLst>
              <a:ext uri="{FF2B5EF4-FFF2-40B4-BE49-F238E27FC236}">
                <a16:creationId xmlns:a16="http://schemas.microsoft.com/office/drawing/2014/main" id="{8B9DE6CE-5EE0-041E-8D8D-B626B4E15623}"/>
              </a:ext>
            </a:extLst>
          </p:cNvPr>
          <p:cNvSpPr txBox="1"/>
          <p:nvPr/>
        </p:nvSpPr>
        <p:spPr>
          <a:xfrm>
            <a:off x="2142277" y="5585649"/>
            <a:ext cx="1019511" cy="415498"/>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900" b="0" noProof="0">
                <a:solidFill>
                  <a:srgbClr val="464646"/>
                </a:solidFill>
                <a:latin typeface="Avenir LT Pro 45Book"/>
              </a:rPr>
              <a:t>Attributes increasing
customer willingness-
to-pay.</a:t>
            </a:r>
          </a:p>
        </p:txBody>
      </p:sp>
      <p:sp>
        <p:nvSpPr>
          <p:cNvPr id="48" name="TextBox 40">
            <a:extLst>
              <a:ext uri="{FF2B5EF4-FFF2-40B4-BE49-F238E27FC236}">
                <a16:creationId xmlns:a16="http://schemas.microsoft.com/office/drawing/2014/main" id="{59E474BA-00EF-4ED7-BC82-D64FD4293D8D}"/>
              </a:ext>
            </a:extLst>
          </p:cNvPr>
          <p:cNvSpPr txBox="1"/>
          <p:nvPr/>
        </p:nvSpPr>
        <p:spPr>
          <a:xfrm>
            <a:off x="5695379" y="5445923"/>
            <a:ext cx="939360" cy="415498"/>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900" b="0" noProof="0">
                <a:solidFill>
                  <a:srgbClr val="464646"/>
                </a:solidFill>
                <a:latin typeface="Avenir LT Pro 45Book"/>
              </a:rPr>
              <a:t>Products or services
enhancing core
offering value.</a:t>
            </a:r>
          </a:p>
        </p:txBody>
      </p:sp>
      <p:sp>
        <p:nvSpPr>
          <p:cNvPr id="49" name="TextBox 41">
            <a:extLst>
              <a:ext uri="{FF2B5EF4-FFF2-40B4-BE49-F238E27FC236}">
                <a16:creationId xmlns:a16="http://schemas.microsoft.com/office/drawing/2014/main" id="{7218B07A-4C9A-A792-A91D-5933511CECBC}"/>
              </a:ext>
            </a:extLst>
          </p:cNvPr>
          <p:cNvSpPr txBox="1"/>
          <p:nvPr/>
        </p:nvSpPr>
        <p:spPr>
          <a:xfrm>
            <a:off x="3871441" y="5882467"/>
            <a:ext cx="1078821" cy="30777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000" b="1" noProof="0">
                <a:solidFill>
                  <a:srgbClr val="464646"/>
                </a:solidFill>
                <a:latin typeface="Avenir LT Pro 45Book"/>
              </a:rPr>
              <a:t>5. Value Proposition
Statement</a:t>
            </a:r>
          </a:p>
        </p:txBody>
      </p:sp>
      <p:sp>
        <p:nvSpPr>
          <p:cNvPr id="50" name="Rounded Rectangle 42">
            <a:extLst>
              <a:ext uri="{FF2B5EF4-FFF2-40B4-BE49-F238E27FC236}">
                <a16:creationId xmlns:a16="http://schemas.microsoft.com/office/drawing/2014/main" id="{7A1DD6E5-B185-110F-473D-3D1E54427E7D}"/>
              </a:ext>
            </a:extLst>
          </p:cNvPr>
          <p:cNvSpPr/>
          <p:nvPr/>
        </p:nvSpPr>
        <p:spPr>
          <a:xfrm>
            <a:off x="4279426" y="2721308"/>
            <a:ext cx="260883" cy="260871"/>
          </a:xfrm>
          <a:custGeom>
            <a:avLst/>
            <a:gdLst/>
            <a:ahLst/>
            <a:cxnLst/>
            <a:rect l="0" t="0" r="0" b="0"/>
            <a:pathLst>
              <a:path w="260883" h="260871">
                <a:moveTo>
                  <a:pt x="187484" y="0"/>
                </a:moveTo>
                <a:cubicBezTo>
                  <a:pt x="215855" y="0"/>
                  <a:pt x="238855" y="22999"/>
                  <a:pt x="238855" y="51371"/>
                </a:cubicBezTo>
                <a:cubicBezTo>
                  <a:pt x="238855" y="79742"/>
                  <a:pt x="215855" y="102742"/>
                  <a:pt x="187484" y="102742"/>
                </a:cubicBezTo>
                <a:cubicBezTo>
                  <a:pt x="159112" y="102742"/>
                  <a:pt x="136112" y="79742"/>
                  <a:pt x="136112" y="51371"/>
                </a:cubicBezTo>
                <a:cubicBezTo>
                  <a:pt x="136112" y="22999"/>
                  <a:pt x="159112" y="0"/>
                  <a:pt x="187484" y="0"/>
                </a:cubicBezTo>
                <a:close/>
                <a:moveTo>
                  <a:pt x="260883" y="124758"/>
                </a:moveTo>
                <a:lnTo>
                  <a:pt x="224041" y="87928"/>
                </a:lnTo>
                <a:moveTo>
                  <a:pt x="224631" y="129500"/>
                </a:moveTo>
                <a:cubicBezTo>
                  <a:pt x="226514" y="157176"/>
                  <a:pt x="231414" y="161656"/>
                  <a:pt x="238549" y="168780"/>
                </a:cubicBezTo>
                <a:cubicBezTo>
                  <a:pt x="225624" y="178594"/>
                  <a:pt x="209419" y="183061"/>
                  <a:pt x="193291" y="181257"/>
                </a:cubicBezTo>
                <a:moveTo>
                  <a:pt x="204169" y="141773"/>
                </a:moveTo>
                <a:lnTo>
                  <a:pt x="204169" y="147444"/>
                </a:lnTo>
                <a:cubicBezTo>
                  <a:pt x="204729" y="155086"/>
                  <a:pt x="201601" y="162535"/>
                  <a:pt x="195753" y="167487"/>
                </a:cubicBezTo>
                <a:cubicBezTo>
                  <a:pt x="193961" y="169056"/>
                  <a:pt x="192902" y="171299"/>
                  <a:pt x="192826" y="173680"/>
                </a:cubicBezTo>
                <a:lnTo>
                  <a:pt x="192826" y="188981"/>
                </a:lnTo>
                <a:cubicBezTo>
                  <a:pt x="192908" y="192525"/>
                  <a:pt x="195162" y="195653"/>
                  <a:pt x="198498" y="196853"/>
                </a:cubicBezTo>
                <a:cubicBezTo>
                  <a:pt x="229497" y="208332"/>
                  <a:pt x="246591" y="216521"/>
                  <a:pt x="252500" y="228340"/>
                </a:cubicBezTo>
                <a:cubicBezTo>
                  <a:pt x="257546" y="238476"/>
                  <a:pt x="260402" y="249560"/>
                  <a:pt x="260883" y="260871"/>
                </a:cubicBezTo>
                <a:lnTo>
                  <a:pt x="209840" y="260871"/>
                </a:lnTo>
                <a:moveTo>
                  <a:pt x="113427" y="76245"/>
                </a:moveTo>
                <a:cubicBezTo>
                  <a:pt x="107913" y="74562"/>
                  <a:pt x="102178" y="73709"/>
                  <a:pt x="96413" y="73716"/>
                </a:cubicBezTo>
                <a:cubicBezTo>
                  <a:pt x="72525" y="73716"/>
                  <a:pt x="44713" y="88223"/>
                  <a:pt x="41968" y="129454"/>
                </a:cubicBezTo>
                <a:cubicBezTo>
                  <a:pt x="40085" y="157131"/>
                  <a:pt x="35162" y="161611"/>
                  <a:pt x="28050" y="168734"/>
                </a:cubicBezTo>
                <a:cubicBezTo>
                  <a:pt x="41055" y="178598"/>
                  <a:pt x="57363" y="183067"/>
                  <a:pt x="73580" y="181211"/>
                </a:cubicBezTo>
                <a:moveTo>
                  <a:pt x="149588" y="119110"/>
                </a:moveTo>
                <a:cubicBezTo>
                  <a:pt x="150235" y="122543"/>
                  <a:pt x="150674" y="126013"/>
                  <a:pt x="150903" y="129500"/>
                </a:cubicBezTo>
                <a:cubicBezTo>
                  <a:pt x="152786" y="157176"/>
                  <a:pt x="157686" y="161656"/>
                  <a:pt x="164821" y="168780"/>
                </a:cubicBezTo>
                <a:cubicBezTo>
                  <a:pt x="151896" y="178594"/>
                  <a:pt x="135692" y="183061"/>
                  <a:pt x="119563" y="181257"/>
                </a:cubicBezTo>
                <a:moveTo>
                  <a:pt x="184444" y="228340"/>
                </a:moveTo>
                <a:cubicBezTo>
                  <a:pt x="189490" y="238476"/>
                  <a:pt x="192346" y="249560"/>
                  <a:pt x="192826" y="260871"/>
                </a:cubicBezTo>
                <a:lnTo>
                  <a:pt x="0" y="260871"/>
                </a:lnTo>
                <a:cubicBezTo>
                  <a:pt x="480" y="249560"/>
                  <a:pt x="3336" y="238476"/>
                  <a:pt x="8382" y="228340"/>
                </a:cubicBezTo>
                <a:cubicBezTo>
                  <a:pt x="14291" y="216521"/>
                  <a:pt x="37056" y="208332"/>
                  <a:pt x="68056" y="196853"/>
                </a:cubicBezTo>
                <a:cubicBezTo>
                  <a:pt x="71392" y="195653"/>
                  <a:pt x="73646" y="192525"/>
                  <a:pt x="73727" y="188981"/>
                </a:cubicBezTo>
                <a:lnTo>
                  <a:pt x="73727" y="173680"/>
                </a:lnTo>
                <a:cubicBezTo>
                  <a:pt x="73656" y="171300"/>
                  <a:pt x="72600" y="169058"/>
                  <a:pt x="70812" y="167487"/>
                </a:cubicBezTo>
                <a:cubicBezTo>
                  <a:pt x="64960" y="162537"/>
                  <a:pt x="61828" y="155088"/>
                  <a:pt x="62385" y="147444"/>
                </a:cubicBezTo>
                <a:lnTo>
                  <a:pt x="62385" y="124758"/>
                </a:lnTo>
                <a:cubicBezTo>
                  <a:pt x="75719" y="122472"/>
                  <a:pt x="87792" y="115482"/>
                  <a:pt x="96413" y="105056"/>
                </a:cubicBezTo>
                <a:cubicBezTo>
                  <a:pt x="105034" y="115482"/>
                  <a:pt x="117107" y="122472"/>
                  <a:pt x="130441" y="124758"/>
                </a:cubicBezTo>
                <a:lnTo>
                  <a:pt x="130441" y="147444"/>
                </a:lnTo>
                <a:cubicBezTo>
                  <a:pt x="131001" y="155086"/>
                  <a:pt x="127873" y="162535"/>
                  <a:pt x="122025" y="167487"/>
                </a:cubicBezTo>
                <a:cubicBezTo>
                  <a:pt x="120234" y="169056"/>
                  <a:pt x="119174" y="171299"/>
                  <a:pt x="119098" y="173680"/>
                </a:cubicBezTo>
                <a:lnTo>
                  <a:pt x="119098" y="188981"/>
                </a:lnTo>
                <a:cubicBezTo>
                  <a:pt x="119180" y="192525"/>
                  <a:pt x="121434" y="195653"/>
                  <a:pt x="124770" y="196853"/>
                </a:cubicBezTo>
                <a:cubicBezTo>
                  <a:pt x="155769" y="208332"/>
                  <a:pt x="178534" y="216521"/>
                  <a:pt x="184444" y="228340"/>
                </a:cubicBezTo>
                <a:close/>
              </a:path>
            </a:pathLst>
          </a:custGeom>
          <a:noFill/>
          <a:ln w="5670">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51" name="Rounded Rectangle 43">
            <a:extLst>
              <a:ext uri="{FF2B5EF4-FFF2-40B4-BE49-F238E27FC236}">
                <a16:creationId xmlns:a16="http://schemas.microsoft.com/office/drawing/2014/main" id="{64F8A25A-3740-16FC-04D6-5FC9DC2782B5}"/>
              </a:ext>
            </a:extLst>
          </p:cNvPr>
          <p:cNvSpPr/>
          <p:nvPr/>
        </p:nvSpPr>
        <p:spPr>
          <a:xfrm>
            <a:off x="3417378" y="3130111"/>
            <a:ext cx="260883" cy="260883"/>
          </a:xfrm>
          <a:custGeom>
            <a:avLst/>
            <a:gdLst/>
            <a:ahLst/>
            <a:cxnLst/>
            <a:rect l="0" t="0" r="0" b="0"/>
            <a:pathLst>
              <a:path w="260883" h="260883">
                <a:moveTo>
                  <a:pt x="181483" y="0"/>
                </a:moveTo>
                <a:cubicBezTo>
                  <a:pt x="225334" y="0"/>
                  <a:pt x="260883" y="35548"/>
                  <a:pt x="260883" y="79399"/>
                </a:cubicBezTo>
                <a:cubicBezTo>
                  <a:pt x="260883" y="123250"/>
                  <a:pt x="225334" y="158798"/>
                  <a:pt x="181483" y="158798"/>
                </a:cubicBezTo>
                <a:lnTo>
                  <a:pt x="153127" y="158798"/>
                </a:lnTo>
                <a:cubicBezTo>
                  <a:pt x="124937" y="158798"/>
                  <a:pt x="102084" y="181650"/>
                  <a:pt x="102084" y="209840"/>
                </a:cubicBezTo>
                <a:cubicBezTo>
                  <a:pt x="102084" y="238030"/>
                  <a:pt x="79232" y="260883"/>
                  <a:pt x="51042" y="260883"/>
                </a:cubicBezTo>
                <a:cubicBezTo>
                  <a:pt x="22852" y="260883"/>
                  <a:pt x="0" y="238030"/>
                  <a:pt x="0" y="209840"/>
                </a:cubicBezTo>
                <a:lnTo>
                  <a:pt x="0" y="113427"/>
                </a:lnTo>
                <a:cubicBezTo>
                  <a:pt x="0" y="50783"/>
                  <a:pt x="50783" y="0"/>
                  <a:pt x="113427" y="0"/>
                </a:cubicBezTo>
                <a:close/>
                <a:moveTo>
                  <a:pt x="124770" y="34028"/>
                </a:moveTo>
                <a:cubicBezTo>
                  <a:pt x="74654" y="34028"/>
                  <a:pt x="34028" y="74654"/>
                  <a:pt x="34028" y="124770"/>
                </a:cubicBezTo>
                <a:lnTo>
                  <a:pt x="34028" y="141784"/>
                </a:lnTo>
                <a:cubicBezTo>
                  <a:pt x="32779" y="158911"/>
                  <a:pt x="45313" y="173952"/>
                  <a:pt x="62385" y="175812"/>
                </a:cubicBezTo>
                <a:cubicBezTo>
                  <a:pt x="85070" y="175812"/>
                  <a:pt x="63723" y="124770"/>
                  <a:pt x="141784" y="124770"/>
                </a:cubicBezTo>
                <a:lnTo>
                  <a:pt x="181483" y="124770"/>
                </a:lnTo>
                <a:cubicBezTo>
                  <a:pt x="206541" y="124770"/>
                  <a:pt x="226854" y="104456"/>
                  <a:pt x="226854" y="79399"/>
                </a:cubicBezTo>
                <a:cubicBezTo>
                  <a:pt x="226854" y="54341"/>
                  <a:pt x="206541" y="34028"/>
                  <a:pt x="181483" y="34028"/>
                </a:cubicBezTo>
                <a:close/>
                <a:moveTo>
                  <a:pt x="39699" y="209840"/>
                </a:moveTo>
                <a:cubicBezTo>
                  <a:pt x="39699" y="216105"/>
                  <a:pt x="44777" y="221183"/>
                  <a:pt x="51042" y="221183"/>
                </a:cubicBezTo>
                <a:cubicBezTo>
                  <a:pt x="57306" y="221183"/>
                  <a:pt x="62385" y="216105"/>
                  <a:pt x="62385" y="209840"/>
                </a:cubicBezTo>
                <a:cubicBezTo>
                  <a:pt x="62385" y="203576"/>
                  <a:pt x="57306" y="198498"/>
                  <a:pt x="51042" y="198498"/>
                </a:cubicBezTo>
                <a:cubicBezTo>
                  <a:pt x="44777" y="198498"/>
                  <a:pt x="39699" y="203576"/>
                  <a:pt x="39699" y="209840"/>
                </a:cubicBezTo>
                <a:close/>
              </a:path>
            </a:pathLst>
          </a:custGeom>
          <a:noFill/>
          <a:ln w="5670">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52" name="Rounded Rectangle 44">
            <a:extLst>
              <a:ext uri="{FF2B5EF4-FFF2-40B4-BE49-F238E27FC236}">
                <a16:creationId xmlns:a16="http://schemas.microsoft.com/office/drawing/2014/main" id="{1A3D12F3-6048-4F58-5EBE-0B540F56D4BB}"/>
              </a:ext>
            </a:extLst>
          </p:cNvPr>
          <p:cNvSpPr/>
          <p:nvPr/>
        </p:nvSpPr>
        <p:spPr>
          <a:xfrm>
            <a:off x="5141475" y="3131711"/>
            <a:ext cx="260883" cy="259283"/>
          </a:xfrm>
          <a:custGeom>
            <a:avLst/>
            <a:gdLst/>
            <a:ahLst/>
            <a:cxnLst/>
            <a:rect l="0" t="0" r="0" b="0"/>
            <a:pathLst>
              <a:path w="260883" h="259283">
                <a:moveTo>
                  <a:pt x="0" y="55704"/>
                </a:moveTo>
                <a:lnTo>
                  <a:pt x="113427" y="93294"/>
                </a:lnTo>
                <a:lnTo>
                  <a:pt x="113427" y="258739"/>
                </a:lnTo>
                <a:lnTo>
                  <a:pt x="748" y="219584"/>
                </a:lnTo>
                <a:close/>
                <a:moveTo>
                  <a:pt x="147455" y="92749"/>
                </a:moveTo>
                <a:lnTo>
                  <a:pt x="260883" y="56759"/>
                </a:lnTo>
                <a:lnTo>
                  <a:pt x="260883" y="219584"/>
                </a:lnTo>
                <a:lnTo>
                  <a:pt x="147455" y="259283"/>
                </a:lnTo>
                <a:close/>
                <a:moveTo>
                  <a:pt x="12386" y="32236"/>
                </a:moveTo>
                <a:lnTo>
                  <a:pt x="130328" y="0"/>
                </a:lnTo>
                <a:lnTo>
                  <a:pt x="249892" y="34005"/>
                </a:lnTo>
                <a:lnTo>
                  <a:pt x="130328" y="66854"/>
                </a:lnTo>
                <a:close/>
              </a:path>
            </a:pathLst>
          </a:custGeom>
          <a:noFill/>
          <a:ln w="5670">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53" name="Rounded Rectangle 45">
            <a:extLst>
              <a:ext uri="{FF2B5EF4-FFF2-40B4-BE49-F238E27FC236}">
                <a16:creationId xmlns:a16="http://schemas.microsoft.com/office/drawing/2014/main" id="{9ABA6063-7D8E-78A3-BD4D-C0449D63EAB3}"/>
              </a:ext>
            </a:extLst>
          </p:cNvPr>
          <p:cNvSpPr/>
          <p:nvPr/>
        </p:nvSpPr>
        <p:spPr>
          <a:xfrm>
            <a:off x="4091011" y="3803745"/>
            <a:ext cx="637714" cy="637714"/>
          </a:xfrm>
          <a:custGeom>
            <a:avLst/>
            <a:gdLst/>
            <a:ahLst/>
            <a:cxnLst/>
            <a:rect l="0" t="0" r="0" b="0"/>
            <a:pathLst>
              <a:path w="637714" h="637714">
                <a:moveTo>
                  <a:pt x="27726" y="0"/>
                </a:moveTo>
                <a:lnTo>
                  <a:pt x="526807" y="0"/>
                </a:lnTo>
                <a:cubicBezTo>
                  <a:pt x="526807" y="0"/>
                  <a:pt x="554534" y="0"/>
                  <a:pt x="554534" y="27726"/>
                </a:cubicBezTo>
                <a:lnTo>
                  <a:pt x="554534" y="526807"/>
                </a:lnTo>
                <a:cubicBezTo>
                  <a:pt x="554534" y="526807"/>
                  <a:pt x="554534" y="554534"/>
                  <a:pt x="526807" y="554534"/>
                </a:cubicBezTo>
                <a:lnTo>
                  <a:pt x="27726" y="554534"/>
                </a:lnTo>
                <a:cubicBezTo>
                  <a:pt x="27726" y="554534"/>
                  <a:pt x="0" y="554534"/>
                  <a:pt x="0" y="526807"/>
                </a:cubicBezTo>
                <a:lnTo>
                  <a:pt x="0" y="27726"/>
                </a:lnTo>
                <a:cubicBezTo>
                  <a:pt x="0" y="27726"/>
                  <a:pt x="0" y="0"/>
                  <a:pt x="27726" y="0"/>
                </a:cubicBezTo>
                <a:moveTo>
                  <a:pt x="83180" y="609987"/>
                </a:moveTo>
                <a:cubicBezTo>
                  <a:pt x="83180" y="625300"/>
                  <a:pt x="95593" y="637714"/>
                  <a:pt x="110906" y="637714"/>
                </a:cubicBezTo>
                <a:lnTo>
                  <a:pt x="609987" y="637714"/>
                </a:lnTo>
                <a:cubicBezTo>
                  <a:pt x="625300" y="637714"/>
                  <a:pt x="637714" y="625300"/>
                  <a:pt x="637714" y="609987"/>
                </a:cubicBezTo>
                <a:lnTo>
                  <a:pt x="637714" y="110906"/>
                </a:lnTo>
                <a:cubicBezTo>
                  <a:pt x="637714" y="95593"/>
                  <a:pt x="625300" y="83180"/>
                  <a:pt x="609987" y="83180"/>
                </a:cubicBezTo>
                <a:moveTo>
                  <a:pt x="415900" y="188791"/>
                </a:moveTo>
                <a:cubicBezTo>
                  <a:pt x="415900" y="183544"/>
                  <a:pt x="412938" y="178747"/>
                  <a:pt x="408248" y="176397"/>
                </a:cubicBezTo>
                <a:lnTo>
                  <a:pt x="269614" y="107080"/>
                </a:lnTo>
                <a:cubicBezTo>
                  <a:pt x="265317" y="104927"/>
                  <a:pt x="260210" y="105153"/>
                  <a:pt x="256120" y="107678"/>
                </a:cubicBezTo>
                <a:cubicBezTo>
                  <a:pt x="252030" y="110203"/>
                  <a:pt x="249540" y="114667"/>
                  <a:pt x="249540" y="119474"/>
                </a:cubicBezTo>
                <a:lnTo>
                  <a:pt x="249540" y="443627"/>
                </a:lnTo>
                <a:lnTo>
                  <a:pt x="402037" y="443627"/>
                </a:lnTo>
                <a:cubicBezTo>
                  <a:pt x="409693" y="443627"/>
                  <a:pt x="415900" y="437420"/>
                  <a:pt x="415900" y="429764"/>
                </a:cubicBezTo>
                <a:close/>
                <a:moveTo>
                  <a:pt x="388174" y="97043"/>
                </a:moveTo>
                <a:lnTo>
                  <a:pt x="388174" y="166360"/>
                </a:lnTo>
                <a:moveTo>
                  <a:pt x="249540" y="221813"/>
                </a:moveTo>
                <a:lnTo>
                  <a:pt x="304993" y="221813"/>
                </a:lnTo>
                <a:moveTo>
                  <a:pt x="166360" y="277267"/>
                </a:moveTo>
                <a:lnTo>
                  <a:pt x="110906" y="277267"/>
                </a:lnTo>
                <a:moveTo>
                  <a:pt x="166360" y="332720"/>
                </a:moveTo>
                <a:lnTo>
                  <a:pt x="110906" y="332720"/>
                </a:lnTo>
                <a:moveTo>
                  <a:pt x="346584" y="277267"/>
                </a:moveTo>
                <a:lnTo>
                  <a:pt x="249540" y="277267"/>
                </a:lnTo>
                <a:moveTo>
                  <a:pt x="249540" y="221813"/>
                </a:moveTo>
                <a:lnTo>
                  <a:pt x="124770" y="221813"/>
                </a:lnTo>
                <a:cubicBezTo>
                  <a:pt x="117113" y="221813"/>
                  <a:pt x="110906" y="228020"/>
                  <a:pt x="110906" y="235677"/>
                </a:cubicBezTo>
                <a:lnTo>
                  <a:pt x="110906" y="429764"/>
                </a:lnTo>
                <a:cubicBezTo>
                  <a:pt x="110906" y="437420"/>
                  <a:pt x="117113" y="443627"/>
                  <a:pt x="124770" y="443627"/>
                </a:cubicBezTo>
                <a:lnTo>
                  <a:pt x="249540" y="443627"/>
                </a:lnTo>
                <a:moveTo>
                  <a:pt x="304993" y="443627"/>
                </a:moveTo>
                <a:lnTo>
                  <a:pt x="304993" y="402037"/>
                </a:lnTo>
                <a:cubicBezTo>
                  <a:pt x="304993" y="394380"/>
                  <a:pt x="311200" y="388174"/>
                  <a:pt x="318857" y="388174"/>
                </a:cubicBezTo>
                <a:lnTo>
                  <a:pt x="346584" y="388174"/>
                </a:lnTo>
                <a:cubicBezTo>
                  <a:pt x="354240" y="388174"/>
                  <a:pt x="360447" y="394380"/>
                  <a:pt x="360447" y="402037"/>
                </a:cubicBezTo>
                <a:lnTo>
                  <a:pt x="360447" y="443627"/>
                </a:lnTo>
              </a:path>
            </a:pathLst>
          </a:custGeom>
          <a:noFill/>
          <a:ln w="5670">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54" name="Rounded Rectangle 46">
            <a:extLst>
              <a:ext uri="{FF2B5EF4-FFF2-40B4-BE49-F238E27FC236}">
                <a16:creationId xmlns:a16="http://schemas.microsoft.com/office/drawing/2014/main" id="{C61CE1D4-C3B5-E83E-4392-1B6ABEB32AA0}"/>
              </a:ext>
            </a:extLst>
          </p:cNvPr>
          <p:cNvSpPr/>
          <p:nvPr/>
        </p:nvSpPr>
        <p:spPr>
          <a:xfrm>
            <a:off x="5504306" y="3940365"/>
            <a:ext cx="261020" cy="267307"/>
          </a:xfrm>
          <a:custGeom>
            <a:avLst/>
            <a:gdLst/>
            <a:ahLst/>
            <a:cxnLst/>
            <a:rect l="0" t="0" r="0" b="0"/>
            <a:pathLst>
              <a:path w="261020" h="267307">
                <a:moveTo>
                  <a:pt x="113564" y="136865"/>
                </a:moveTo>
                <a:lnTo>
                  <a:pt x="68193" y="91494"/>
                </a:lnTo>
                <a:lnTo>
                  <a:pt x="90879" y="91494"/>
                </a:lnTo>
                <a:cubicBezTo>
                  <a:pt x="103407" y="91494"/>
                  <a:pt x="113564" y="81338"/>
                  <a:pt x="113564" y="68809"/>
                </a:cubicBezTo>
                <a:cubicBezTo>
                  <a:pt x="113564" y="56280"/>
                  <a:pt x="103407" y="46123"/>
                  <a:pt x="90879" y="46123"/>
                </a:cubicBezTo>
                <a:lnTo>
                  <a:pt x="68193" y="46123"/>
                </a:lnTo>
                <a:lnTo>
                  <a:pt x="68193" y="136865"/>
                </a:lnTo>
                <a:moveTo>
                  <a:pt x="209977" y="148174"/>
                </a:moveTo>
                <a:lnTo>
                  <a:pt x="261020" y="148174"/>
                </a:lnTo>
                <a:lnTo>
                  <a:pt x="261020" y="199216"/>
                </a:lnTo>
                <a:moveTo>
                  <a:pt x="22822" y="267307"/>
                </a:moveTo>
                <a:lnTo>
                  <a:pt x="88928" y="201167"/>
                </a:lnTo>
                <a:cubicBezTo>
                  <a:pt x="95371" y="194725"/>
                  <a:pt x="104760" y="192205"/>
                  <a:pt x="113564" y="194555"/>
                </a:cubicBezTo>
                <a:lnTo>
                  <a:pt x="178365" y="211898"/>
                </a:lnTo>
                <a:cubicBezTo>
                  <a:pt x="187356" y="214591"/>
                  <a:pt x="197100" y="212134"/>
                  <a:pt x="203739" y="205500"/>
                </a:cubicBezTo>
                <a:lnTo>
                  <a:pt x="261020" y="148208"/>
                </a:lnTo>
                <a:moveTo>
                  <a:pt x="68522" y="174920"/>
                </a:moveTo>
                <a:cubicBezTo>
                  <a:pt x="28863" y="166989"/>
                  <a:pt x="270" y="132231"/>
                  <a:pt x="135" y="91787"/>
                </a:cubicBezTo>
                <a:cubicBezTo>
                  <a:pt x="0" y="51342"/>
                  <a:pt x="28358" y="16394"/>
                  <a:pt x="67964" y="8197"/>
                </a:cubicBezTo>
                <a:cubicBezTo>
                  <a:pt x="107569" y="0"/>
                  <a:pt x="147470" y="20820"/>
                  <a:pt x="163399" y="57996"/>
                </a:cubicBezTo>
                <a:cubicBezTo>
                  <a:pt x="179329" y="95172"/>
                  <a:pt x="166882" y="138423"/>
                  <a:pt x="133629" y="161445"/>
                </a:cubicBezTo>
              </a:path>
            </a:pathLst>
          </a:custGeom>
          <a:noFill/>
          <a:ln w="5670">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55" name="Rounded Rectangle 47">
            <a:extLst>
              <a:ext uri="{FF2B5EF4-FFF2-40B4-BE49-F238E27FC236}">
                <a16:creationId xmlns:a16="http://schemas.microsoft.com/office/drawing/2014/main" id="{90E07108-A0E9-AF6A-119B-9BB9E95ABDF1}"/>
              </a:ext>
            </a:extLst>
          </p:cNvPr>
          <p:cNvSpPr/>
          <p:nvPr/>
        </p:nvSpPr>
        <p:spPr>
          <a:xfrm>
            <a:off x="3417378" y="4854209"/>
            <a:ext cx="260928" cy="260883"/>
          </a:xfrm>
          <a:custGeom>
            <a:avLst/>
            <a:gdLst/>
            <a:ahLst/>
            <a:cxnLst/>
            <a:rect l="0" t="0" r="0" b="0"/>
            <a:pathLst>
              <a:path w="260928" h="260883">
                <a:moveTo>
                  <a:pt x="260883" y="238197"/>
                </a:moveTo>
                <a:cubicBezTo>
                  <a:pt x="260883" y="250726"/>
                  <a:pt x="250726" y="260883"/>
                  <a:pt x="238197" y="260883"/>
                </a:cubicBezTo>
                <a:lnTo>
                  <a:pt x="22685" y="260883"/>
                </a:lnTo>
                <a:cubicBezTo>
                  <a:pt x="10156" y="260883"/>
                  <a:pt x="0" y="250726"/>
                  <a:pt x="0" y="238197"/>
                </a:cubicBezTo>
                <a:lnTo>
                  <a:pt x="0" y="141784"/>
                </a:lnTo>
                <a:cubicBezTo>
                  <a:pt x="0" y="138652"/>
                  <a:pt x="2539" y="136112"/>
                  <a:pt x="5671" y="136112"/>
                </a:cubicBezTo>
                <a:lnTo>
                  <a:pt x="255211" y="136112"/>
                </a:lnTo>
                <a:cubicBezTo>
                  <a:pt x="258344" y="136112"/>
                  <a:pt x="260883" y="138652"/>
                  <a:pt x="260883" y="141784"/>
                </a:cubicBezTo>
                <a:close/>
                <a:moveTo>
                  <a:pt x="0" y="158798"/>
                </a:moveTo>
                <a:lnTo>
                  <a:pt x="102084" y="158798"/>
                </a:lnTo>
                <a:cubicBezTo>
                  <a:pt x="105216" y="158798"/>
                  <a:pt x="107756" y="161337"/>
                  <a:pt x="107756" y="164469"/>
                </a:cubicBezTo>
                <a:lnTo>
                  <a:pt x="107756" y="170141"/>
                </a:lnTo>
                <a:cubicBezTo>
                  <a:pt x="107756" y="182670"/>
                  <a:pt x="117912" y="192826"/>
                  <a:pt x="130441" y="192826"/>
                </a:cubicBezTo>
                <a:lnTo>
                  <a:pt x="130441" y="192826"/>
                </a:lnTo>
                <a:cubicBezTo>
                  <a:pt x="142970" y="192826"/>
                  <a:pt x="153127" y="182670"/>
                  <a:pt x="153127" y="170141"/>
                </a:cubicBezTo>
                <a:lnTo>
                  <a:pt x="153127" y="164469"/>
                </a:lnTo>
                <a:cubicBezTo>
                  <a:pt x="153127" y="161337"/>
                  <a:pt x="155666" y="158798"/>
                  <a:pt x="158798" y="158798"/>
                </a:cubicBezTo>
                <a:lnTo>
                  <a:pt x="260883" y="158798"/>
                </a:lnTo>
                <a:moveTo>
                  <a:pt x="130486" y="170141"/>
                </a:moveTo>
                <a:lnTo>
                  <a:pt x="130486" y="158798"/>
                </a:lnTo>
                <a:moveTo>
                  <a:pt x="22685" y="136112"/>
                </a:moveTo>
                <a:cubicBezTo>
                  <a:pt x="22685" y="107982"/>
                  <a:pt x="44611" y="101268"/>
                  <a:pt x="73727" y="102084"/>
                </a:cubicBezTo>
                <a:cubicBezTo>
                  <a:pt x="79467" y="76642"/>
                  <a:pt x="103275" y="68056"/>
                  <a:pt x="130441" y="68056"/>
                </a:cubicBezTo>
                <a:cubicBezTo>
                  <a:pt x="157607" y="68056"/>
                  <a:pt x="181415" y="76642"/>
                  <a:pt x="187155" y="102084"/>
                </a:cubicBezTo>
                <a:cubicBezTo>
                  <a:pt x="216249" y="101268"/>
                  <a:pt x="238197" y="107982"/>
                  <a:pt x="238197" y="136112"/>
                </a:cubicBezTo>
                <a:moveTo>
                  <a:pt x="45" y="79399"/>
                </a:moveTo>
                <a:lnTo>
                  <a:pt x="11388" y="79399"/>
                </a:lnTo>
                <a:moveTo>
                  <a:pt x="45416" y="17014"/>
                </a:moveTo>
                <a:lnTo>
                  <a:pt x="56759" y="28356"/>
                </a:lnTo>
                <a:moveTo>
                  <a:pt x="260928" y="79399"/>
                </a:moveTo>
                <a:lnTo>
                  <a:pt x="249585" y="79399"/>
                </a:lnTo>
                <a:moveTo>
                  <a:pt x="215557" y="17014"/>
                </a:moveTo>
                <a:lnTo>
                  <a:pt x="204214" y="28356"/>
                </a:lnTo>
                <a:moveTo>
                  <a:pt x="130486" y="0"/>
                </a:moveTo>
                <a:lnTo>
                  <a:pt x="130486" y="17014"/>
                </a:lnTo>
                <a:moveTo>
                  <a:pt x="68101" y="158798"/>
                </a:moveTo>
                <a:lnTo>
                  <a:pt x="68101" y="260883"/>
                </a:lnTo>
                <a:moveTo>
                  <a:pt x="192872" y="158798"/>
                </a:moveTo>
                <a:lnTo>
                  <a:pt x="192872" y="260883"/>
                </a:lnTo>
              </a:path>
            </a:pathLst>
          </a:custGeom>
          <a:noFill/>
          <a:ln w="5670">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56" name="Rounded Rectangle 48">
            <a:extLst>
              <a:ext uri="{FF2B5EF4-FFF2-40B4-BE49-F238E27FC236}">
                <a16:creationId xmlns:a16="http://schemas.microsoft.com/office/drawing/2014/main" id="{734932D2-6FE9-9C5A-7233-B371D8818EAA}"/>
              </a:ext>
            </a:extLst>
          </p:cNvPr>
          <p:cNvSpPr/>
          <p:nvPr/>
        </p:nvSpPr>
        <p:spPr>
          <a:xfrm>
            <a:off x="5141475" y="4854209"/>
            <a:ext cx="260883" cy="260883"/>
          </a:xfrm>
          <a:custGeom>
            <a:avLst/>
            <a:gdLst/>
            <a:ahLst/>
            <a:cxnLst/>
            <a:rect l="0" t="0" r="0" b="0"/>
            <a:pathLst>
              <a:path w="260883" h="260883">
                <a:moveTo>
                  <a:pt x="62385" y="113427"/>
                </a:moveTo>
                <a:lnTo>
                  <a:pt x="39699" y="113427"/>
                </a:lnTo>
                <a:lnTo>
                  <a:pt x="39699" y="5671"/>
                </a:lnTo>
                <a:cubicBezTo>
                  <a:pt x="39699" y="2539"/>
                  <a:pt x="42238" y="0"/>
                  <a:pt x="45370" y="0"/>
                </a:cubicBezTo>
                <a:lnTo>
                  <a:pt x="158798" y="0"/>
                </a:lnTo>
                <a:cubicBezTo>
                  <a:pt x="161930" y="0"/>
                  <a:pt x="164469" y="2539"/>
                  <a:pt x="164469" y="5671"/>
                </a:cubicBezTo>
                <a:lnTo>
                  <a:pt x="164469" y="113427"/>
                </a:lnTo>
                <a:lnTo>
                  <a:pt x="102084" y="113427"/>
                </a:lnTo>
                <a:moveTo>
                  <a:pt x="130441" y="113427"/>
                </a:moveTo>
                <a:lnTo>
                  <a:pt x="130441" y="147455"/>
                </a:lnTo>
                <a:lnTo>
                  <a:pt x="130441" y="147455"/>
                </a:lnTo>
                <a:cubicBezTo>
                  <a:pt x="149234" y="147455"/>
                  <a:pt x="164469" y="162690"/>
                  <a:pt x="164469" y="181483"/>
                </a:cubicBezTo>
                <a:lnTo>
                  <a:pt x="164469" y="187155"/>
                </a:lnTo>
                <a:lnTo>
                  <a:pt x="130441" y="187155"/>
                </a:lnTo>
                <a:lnTo>
                  <a:pt x="130441" y="255211"/>
                </a:lnTo>
                <a:cubicBezTo>
                  <a:pt x="130441" y="258344"/>
                  <a:pt x="127902" y="260883"/>
                  <a:pt x="124770" y="260883"/>
                </a:cubicBezTo>
                <a:lnTo>
                  <a:pt x="5671" y="260883"/>
                </a:lnTo>
                <a:cubicBezTo>
                  <a:pt x="2539" y="260883"/>
                  <a:pt x="0" y="258344"/>
                  <a:pt x="0" y="255211"/>
                </a:cubicBezTo>
                <a:lnTo>
                  <a:pt x="0" y="119098"/>
                </a:lnTo>
                <a:cubicBezTo>
                  <a:pt x="0" y="115966"/>
                  <a:pt x="2539" y="113427"/>
                  <a:pt x="5671" y="113427"/>
                </a:cubicBezTo>
                <a:lnTo>
                  <a:pt x="39699" y="113427"/>
                </a:lnTo>
                <a:moveTo>
                  <a:pt x="164469" y="45370"/>
                </a:moveTo>
                <a:lnTo>
                  <a:pt x="255211" y="45370"/>
                </a:lnTo>
                <a:cubicBezTo>
                  <a:pt x="258344" y="45370"/>
                  <a:pt x="260883" y="47910"/>
                  <a:pt x="260883" y="51042"/>
                </a:cubicBezTo>
                <a:lnTo>
                  <a:pt x="260883" y="85070"/>
                </a:lnTo>
                <a:cubicBezTo>
                  <a:pt x="260883" y="88202"/>
                  <a:pt x="258344" y="90741"/>
                  <a:pt x="255211" y="90741"/>
                </a:cubicBezTo>
                <a:lnTo>
                  <a:pt x="221183" y="90741"/>
                </a:lnTo>
                <a:cubicBezTo>
                  <a:pt x="221183" y="112667"/>
                  <a:pt x="238957" y="130441"/>
                  <a:pt x="260883" y="130441"/>
                </a:cubicBezTo>
                <a:lnTo>
                  <a:pt x="260883" y="130441"/>
                </a:lnTo>
                <a:lnTo>
                  <a:pt x="260883" y="204169"/>
                </a:lnTo>
                <a:cubicBezTo>
                  <a:pt x="260883" y="207301"/>
                  <a:pt x="258344" y="209840"/>
                  <a:pt x="255211" y="209840"/>
                </a:cubicBezTo>
                <a:lnTo>
                  <a:pt x="130441" y="209840"/>
                </a:lnTo>
                <a:moveTo>
                  <a:pt x="0" y="192826"/>
                </a:moveTo>
                <a:lnTo>
                  <a:pt x="0" y="255211"/>
                </a:lnTo>
                <a:cubicBezTo>
                  <a:pt x="0" y="258344"/>
                  <a:pt x="2539" y="260883"/>
                  <a:pt x="5671" y="260883"/>
                </a:cubicBezTo>
                <a:lnTo>
                  <a:pt x="56713" y="260883"/>
                </a:lnTo>
                <a:lnTo>
                  <a:pt x="56713" y="260883"/>
                </a:lnTo>
                <a:lnTo>
                  <a:pt x="56713" y="192826"/>
                </a:lnTo>
                <a:lnTo>
                  <a:pt x="0" y="192826"/>
                </a:lnTo>
                <a:close/>
                <a:moveTo>
                  <a:pt x="56713" y="215512"/>
                </a:moveTo>
                <a:lnTo>
                  <a:pt x="0" y="215512"/>
                </a:lnTo>
                <a:moveTo>
                  <a:pt x="56713" y="238197"/>
                </a:moveTo>
                <a:lnTo>
                  <a:pt x="0" y="238197"/>
                </a:lnTo>
              </a:path>
            </a:pathLst>
          </a:custGeom>
          <a:noFill/>
          <a:ln w="5670">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57" name="Rounded Rectangle 49">
            <a:extLst>
              <a:ext uri="{FF2B5EF4-FFF2-40B4-BE49-F238E27FC236}">
                <a16:creationId xmlns:a16="http://schemas.microsoft.com/office/drawing/2014/main" id="{82E7BC04-5D63-B566-DB12-C85C3561DAAE}"/>
              </a:ext>
            </a:extLst>
          </p:cNvPr>
          <p:cNvSpPr/>
          <p:nvPr/>
        </p:nvSpPr>
        <p:spPr>
          <a:xfrm>
            <a:off x="4279426" y="5217177"/>
            <a:ext cx="262095" cy="260881"/>
          </a:xfrm>
          <a:custGeom>
            <a:avLst/>
            <a:gdLst/>
            <a:ahLst/>
            <a:cxnLst/>
            <a:rect l="0" t="0" r="0" b="0"/>
            <a:pathLst>
              <a:path w="262095" h="260881">
                <a:moveTo>
                  <a:pt x="179362" y="187518"/>
                </a:moveTo>
                <a:cubicBezTo>
                  <a:pt x="179362" y="196520"/>
                  <a:pt x="186660" y="203817"/>
                  <a:pt x="195662" y="203817"/>
                </a:cubicBezTo>
                <a:cubicBezTo>
                  <a:pt x="204664" y="203817"/>
                  <a:pt x="211961" y="196520"/>
                  <a:pt x="211961" y="187518"/>
                </a:cubicBezTo>
                <a:cubicBezTo>
                  <a:pt x="211961" y="178516"/>
                  <a:pt x="204664" y="171218"/>
                  <a:pt x="195662" y="171218"/>
                </a:cubicBezTo>
                <a:cubicBezTo>
                  <a:pt x="186660" y="171218"/>
                  <a:pt x="179362" y="178516"/>
                  <a:pt x="179362" y="187518"/>
                </a:cubicBezTo>
                <a:close/>
                <a:moveTo>
                  <a:pt x="209511" y="124441"/>
                </a:moveTo>
                <a:lnTo>
                  <a:pt x="214321" y="140230"/>
                </a:lnTo>
                <a:cubicBezTo>
                  <a:pt x="215957" y="145671"/>
                  <a:pt x="221533" y="148911"/>
                  <a:pt x="227070" y="147637"/>
                </a:cubicBezTo>
                <a:lnTo>
                  <a:pt x="243086" y="143928"/>
                </a:lnTo>
                <a:cubicBezTo>
                  <a:pt x="249313" y="142514"/>
                  <a:pt x="255733" y="145327"/>
                  <a:pt x="258914" y="150863"/>
                </a:cubicBezTo>
                <a:cubicBezTo>
                  <a:pt x="262095" y="156400"/>
                  <a:pt x="261293" y="163364"/>
                  <a:pt x="256935" y="168031"/>
                </a:cubicBezTo>
                <a:lnTo>
                  <a:pt x="245729" y="180111"/>
                </a:lnTo>
                <a:cubicBezTo>
                  <a:pt x="241864" y="184292"/>
                  <a:pt x="241864" y="190743"/>
                  <a:pt x="245729" y="194925"/>
                </a:cubicBezTo>
                <a:lnTo>
                  <a:pt x="256935" y="206993"/>
                </a:lnTo>
                <a:cubicBezTo>
                  <a:pt x="261285" y="211664"/>
                  <a:pt x="262084" y="218624"/>
                  <a:pt x="258905" y="224159"/>
                </a:cubicBezTo>
                <a:cubicBezTo>
                  <a:pt x="255727" y="229694"/>
                  <a:pt x="249312" y="232511"/>
                  <a:pt x="243086" y="231108"/>
                </a:cubicBezTo>
                <a:lnTo>
                  <a:pt x="227070" y="227399"/>
                </a:lnTo>
                <a:cubicBezTo>
                  <a:pt x="221555" y="226157"/>
                  <a:pt x="216017" y="229384"/>
                  <a:pt x="214377" y="234794"/>
                </a:cubicBezTo>
                <a:lnTo>
                  <a:pt x="209568" y="250583"/>
                </a:lnTo>
                <a:cubicBezTo>
                  <a:pt x="207730" y="256696"/>
                  <a:pt x="202102" y="260881"/>
                  <a:pt x="195719" y="260881"/>
                </a:cubicBezTo>
                <a:cubicBezTo>
                  <a:pt x="189335" y="260881"/>
                  <a:pt x="183707" y="256696"/>
                  <a:pt x="181869" y="250583"/>
                </a:cubicBezTo>
                <a:lnTo>
                  <a:pt x="177003" y="234794"/>
                </a:lnTo>
                <a:cubicBezTo>
                  <a:pt x="175367" y="229353"/>
                  <a:pt x="169791" y="226113"/>
                  <a:pt x="164254" y="227388"/>
                </a:cubicBezTo>
                <a:lnTo>
                  <a:pt x="148238" y="231097"/>
                </a:lnTo>
                <a:cubicBezTo>
                  <a:pt x="142011" y="232500"/>
                  <a:pt x="135597" y="229683"/>
                  <a:pt x="132418" y="224148"/>
                </a:cubicBezTo>
                <a:cubicBezTo>
                  <a:pt x="129240" y="218613"/>
                  <a:pt x="130038" y="211653"/>
                  <a:pt x="134388" y="206982"/>
                </a:cubicBezTo>
                <a:lnTo>
                  <a:pt x="145595" y="194913"/>
                </a:lnTo>
                <a:cubicBezTo>
                  <a:pt x="149460" y="190732"/>
                  <a:pt x="149460" y="184281"/>
                  <a:pt x="145595" y="180100"/>
                </a:cubicBezTo>
                <a:lnTo>
                  <a:pt x="134388" y="168020"/>
                </a:lnTo>
                <a:cubicBezTo>
                  <a:pt x="130031" y="163352"/>
                  <a:pt x="129229" y="156388"/>
                  <a:pt x="132410" y="150852"/>
                </a:cubicBezTo>
                <a:cubicBezTo>
                  <a:pt x="135591" y="145316"/>
                  <a:pt x="142011" y="142502"/>
                  <a:pt x="148238" y="143916"/>
                </a:cubicBezTo>
                <a:lnTo>
                  <a:pt x="164254" y="147625"/>
                </a:lnTo>
                <a:cubicBezTo>
                  <a:pt x="169791" y="148900"/>
                  <a:pt x="175367" y="145660"/>
                  <a:pt x="177003" y="140219"/>
                </a:cubicBezTo>
                <a:lnTo>
                  <a:pt x="181812" y="124429"/>
                </a:lnTo>
                <a:cubicBezTo>
                  <a:pt x="183653" y="118317"/>
                  <a:pt x="189283" y="114135"/>
                  <a:pt x="195666" y="114137"/>
                </a:cubicBezTo>
                <a:cubicBezTo>
                  <a:pt x="202049" y="114140"/>
                  <a:pt x="207676" y="118327"/>
                  <a:pt x="209511" y="124441"/>
                </a:cubicBezTo>
                <a:close/>
                <a:moveTo>
                  <a:pt x="102141" y="191692"/>
                </a:moveTo>
                <a:cubicBezTo>
                  <a:pt x="93026" y="190671"/>
                  <a:pt x="84031" y="188772"/>
                  <a:pt x="75281" y="186021"/>
                </a:cubicBezTo>
                <a:lnTo>
                  <a:pt x="11342" y="215512"/>
                </a:lnTo>
                <a:lnTo>
                  <a:pt x="34232" y="164016"/>
                </a:lnTo>
                <a:cubicBezTo>
                  <a:pt x="13183" y="147819"/>
                  <a:pt x="597" y="122965"/>
                  <a:pt x="0" y="96413"/>
                </a:cubicBezTo>
                <a:cubicBezTo>
                  <a:pt x="0" y="43170"/>
                  <a:pt x="53310" y="0"/>
                  <a:pt x="119098" y="0"/>
                </a:cubicBezTo>
                <a:cubicBezTo>
                  <a:pt x="184886" y="0"/>
                  <a:pt x="238197" y="43170"/>
                  <a:pt x="238197" y="96413"/>
                </a:cubicBezTo>
                <a:cubicBezTo>
                  <a:pt x="238158" y="102050"/>
                  <a:pt x="237516" y="107666"/>
                  <a:pt x="236280" y="113166"/>
                </a:cubicBezTo>
              </a:path>
            </a:pathLst>
          </a:custGeom>
          <a:noFill/>
          <a:ln w="5670">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58" name="Rounded Rectangle 50">
            <a:extLst>
              <a:ext uri="{FF2B5EF4-FFF2-40B4-BE49-F238E27FC236}">
                <a16:creationId xmlns:a16="http://schemas.microsoft.com/office/drawing/2014/main" id="{8E16E7C6-7B59-E4F3-096E-FBD1FFAECEA3}"/>
              </a:ext>
            </a:extLst>
          </p:cNvPr>
          <p:cNvSpPr/>
          <p:nvPr/>
        </p:nvSpPr>
        <p:spPr>
          <a:xfrm>
            <a:off x="3048738" y="3941118"/>
            <a:ext cx="263718" cy="261450"/>
          </a:xfrm>
          <a:custGeom>
            <a:avLst/>
            <a:gdLst/>
            <a:ahLst/>
            <a:cxnLst/>
            <a:rect l="0" t="0" r="0" b="0"/>
            <a:pathLst>
              <a:path w="263718" h="261450">
                <a:moveTo>
                  <a:pt x="161634" y="210407"/>
                </a:moveTo>
                <a:cubicBezTo>
                  <a:pt x="161634" y="222884"/>
                  <a:pt x="151425" y="233093"/>
                  <a:pt x="138948" y="233093"/>
                </a:cubicBezTo>
                <a:lnTo>
                  <a:pt x="31192" y="233093"/>
                </a:lnTo>
                <a:cubicBezTo>
                  <a:pt x="18715" y="233093"/>
                  <a:pt x="8507" y="222884"/>
                  <a:pt x="8507" y="210407"/>
                </a:cubicBezTo>
                <a:lnTo>
                  <a:pt x="8507" y="76563"/>
                </a:lnTo>
                <a:cubicBezTo>
                  <a:pt x="8507" y="64086"/>
                  <a:pt x="18715" y="53878"/>
                  <a:pt x="31192" y="53878"/>
                </a:cubicBezTo>
                <a:lnTo>
                  <a:pt x="138948" y="53878"/>
                </a:lnTo>
                <a:cubicBezTo>
                  <a:pt x="151425" y="53878"/>
                  <a:pt x="161634" y="64086"/>
                  <a:pt x="161634" y="76563"/>
                </a:cubicBezTo>
                <a:close/>
                <a:moveTo>
                  <a:pt x="161634" y="121934"/>
                </a:moveTo>
                <a:lnTo>
                  <a:pt x="8507" y="121934"/>
                </a:lnTo>
                <a:moveTo>
                  <a:pt x="121934" y="87906"/>
                </a:moveTo>
                <a:lnTo>
                  <a:pt x="48206" y="87906"/>
                </a:lnTo>
                <a:moveTo>
                  <a:pt x="235362" y="193393"/>
                </a:moveTo>
                <a:lnTo>
                  <a:pt x="235362" y="210407"/>
                </a:lnTo>
                <a:cubicBezTo>
                  <a:pt x="235362" y="238764"/>
                  <a:pt x="212676" y="261450"/>
                  <a:pt x="184319" y="261450"/>
                </a:cubicBezTo>
                <a:cubicBezTo>
                  <a:pt x="163902" y="261450"/>
                  <a:pt x="146888" y="250107"/>
                  <a:pt x="138948" y="233093"/>
                </a:cubicBezTo>
                <a:moveTo>
                  <a:pt x="134411" y="53877"/>
                </a:moveTo>
                <a:cubicBezTo>
                  <a:pt x="138948" y="30057"/>
                  <a:pt x="159365" y="10775"/>
                  <a:pt x="184319" y="10775"/>
                </a:cubicBezTo>
                <a:cubicBezTo>
                  <a:pt x="212676" y="10775"/>
                  <a:pt x="235362" y="33460"/>
                  <a:pt x="235362" y="61817"/>
                </a:cubicBezTo>
                <a:lnTo>
                  <a:pt x="235362" y="107756"/>
                </a:lnTo>
                <a:moveTo>
                  <a:pt x="0" y="0"/>
                </a:moveTo>
                <a:moveTo>
                  <a:pt x="207005" y="79966"/>
                </a:moveTo>
                <a:lnTo>
                  <a:pt x="235362" y="108323"/>
                </a:lnTo>
                <a:lnTo>
                  <a:pt x="263718" y="79966"/>
                </a:lnTo>
                <a:moveTo>
                  <a:pt x="85070" y="164393"/>
                </a:moveTo>
                <a:cubicBezTo>
                  <a:pt x="90494" y="164393"/>
                  <a:pt x="94891" y="159997"/>
                  <a:pt x="94891" y="154573"/>
                </a:cubicBezTo>
                <a:cubicBezTo>
                  <a:pt x="94891" y="149150"/>
                  <a:pt x="90494" y="144752"/>
                  <a:pt x="85070" y="144752"/>
                </a:cubicBezTo>
                <a:cubicBezTo>
                  <a:pt x="79646" y="144752"/>
                  <a:pt x="75249" y="149150"/>
                  <a:pt x="75249" y="154573"/>
                </a:cubicBezTo>
                <a:cubicBezTo>
                  <a:pt x="75249" y="159997"/>
                  <a:pt x="79646" y="164393"/>
                  <a:pt x="85070" y="164393"/>
                </a:cubicBezTo>
                <a:close/>
                <a:moveTo>
                  <a:pt x="42887" y="164393"/>
                </a:moveTo>
                <a:cubicBezTo>
                  <a:pt x="48311" y="164393"/>
                  <a:pt x="52708" y="159997"/>
                  <a:pt x="52708" y="154573"/>
                </a:cubicBezTo>
                <a:cubicBezTo>
                  <a:pt x="52708" y="149150"/>
                  <a:pt x="48311" y="144752"/>
                  <a:pt x="42887" y="144752"/>
                </a:cubicBezTo>
                <a:cubicBezTo>
                  <a:pt x="37463" y="144752"/>
                  <a:pt x="33066" y="149150"/>
                  <a:pt x="33066" y="154573"/>
                </a:cubicBezTo>
                <a:cubicBezTo>
                  <a:pt x="33066" y="159997"/>
                  <a:pt x="37463" y="164393"/>
                  <a:pt x="42887" y="164393"/>
                </a:cubicBezTo>
                <a:close/>
                <a:moveTo>
                  <a:pt x="127253" y="164393"/>
                </a:moveTo>
                <a:cubicBezTo>
                  <a:pt x="132677" y="164393"/>
                  <a:pt x="137074" y="159997"/>
                  <a:pt x="137074" y="154573"/>
                </a:cubicBezTo>
                <a:cubicBezTo>
                  <a:pt x="137074" y="149150"/>
                  <a:pt x="132677" y="144752"/>
                  <a:pt x="127253" y="144752"/>
                </a:cubicBezTo>
                <a:cubicBezTo>
                  <a:pt x="121830" y="144752"/>
                  <a:pt x="117432" y="149150"/>
                  <a:pt x="117432" y="154573"/>
                </a:cubicBezTo>
                <a:cubicBezTo>
                  <a:pt x="117432" y="159997"/>
                  <a:pt x="121830" y="164393"/>
                  <a:pt x="127253" y="164393"/>
                </a:cubicBezTo>
                <a:close/>
                <a:moveTo>
                  <a:pt x="85070" y="206857"/>
                </a:moveTo>
                <a:cubicBezTo>
                  <a:pt x="90494" y="206857"/>
                  <a:pt x="94891" y="202461"/>
                  <a:pt x="94891" y="197037"/>
                </a:cubicBezTo>
                <a:cubicBezTo>
                  <a:pt x="94891" y="191613"/>
                  <a:pt x="90494" y="187216"/>
                  <a:pt x="85070" y="187216"/>
                </a:cubicBezTo>
                <a:cubicBezTo>
                  <a:pt x="79646" y="187216"/>
                  <a:pt x="75249" y="191613"/>
                  <a:pt x="75249" y="197037"/>
                </a:cubicBezTo>
                <a:cubicBezTo>
                  <a:pt x="75249" y="202461"/>
                  <a:pt x="79646" y="206857"/>
                  <a:pt x="85070" y="206857"/>
                </a:cubicBezTo>
                <a:close/>
                <a:moveTo>
                  <a:pt x="42887" y="206857"/>
                </a:moveTo>
                <a:cubicBezTo>
                  <a:pt x="48311" y="206857"/>
                  <a:pt x="52708" y="202461"/>
                  <a:pt x="52708" y="197037"/>
                </a:cubicBezTo>
                <a:cubicBezTo>
                  <a:pt x="52708" y="191613"/>
                  <a:pt x="48311" y="187216"/>
                  <a:pt x="42887" y="187216"/>
                </a:cubicBezTo>
                <a:cubicBezTo>
                  <a:pt x="37463" y="187216"/>
                  <a:pt x="33066" y="191613"/>
                  <a:pt x="33066" y="197037"/>
                </a:cubicBezTo>
                <a:cubicBezTo>
                  <a:pt x="33066" y="202461"/>
                  <a:pt x="37463" y="206857"/>
                  <a:pt x="42887" y="206857"/>
                </a:cubicBezTo>
                <a:close/>
                <a:moveTo>
                  <a:pt x="127253" y="206857"/>
                </a:moveTo>
                <a:cubicBezTo>
                  <a:pt x="132677" y="206857"/>
                  <a:pt x="137074" y="202461"/>
                  <a:pt x="137074" y="197037"/>
                </a:cubicBezTo>
                <a:cubicBezTo>
                  <a:pt x="137074" y="191613"/>
                  <a:pt x="132677" y="187216"/>
                  <a:pt x="127253" y="187216"/>
                </a:cubicBezTo>
                <a:cubicBezTo>
                  <a:pt x="121830" y="187216"/>
                  <a:pt x="117432" y="191613"/>
                  <a:pt x="117432" y="197037"/>
                </a:cubicBezTo>
                <a:cubicBezTo>
                  <a:pt x="117432" y="202461"/>
                  <a:pt x="121830" y="206857"/>
                  <a:pt x="127253" y="206857"/>
                </a:cubicBezTo>
                <a:close/>
              </a:path>
            </a:pathLst>
          </a:custGeom>
          <a:noFill/>
          <a:ln w="5670">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78" name="Arrow: Chevron 77">
            <a:extLst>
              <a:ext uri="{FF2B5EF4-FFF2-40B4-BE49-F238E27FC236}">
                <a16:creationId xmlns:a16="http://schemas.microsoft.com/office/drawing/2014/main" id="{CB801F4B-DADA-97B4-9160-D64BB9E3ACC2}"/>
              </a:ext>
            </a:extLst>
          </p:cNvPr>
          <p:cNvSpPr/>
          <p:nvPr/>
        </p:nvSpPr>
        <p:spPr>
          <a:xfrm>
            <a:off x="8108917"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79" name="Arrow: Chevron 78">
            <a:extLst>
              <a:ext uri="{FF2B5EF4-FFF2-40B4-BE49-F238E27FC236}">
                <a16:creationId xmlns:a16="http://schemas.microsoft.com/office/drawing/2014/main" id="{7DDEB81C-32B2-B06A-4AE3-0DDAE60A7463}"/>
              </a:ext>
            </a:extLst>
          </p:cNvPr>
          <p:cNvSpPr/>
          <p:nvPr/>
        </p:nvSpPr>
        <p:spPr>
          <a:xfrm>
            <a:off x="9071675"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80" name="Arrow: Chevron 79">
            <a:extLst>
              <a:ext uri="{FF2B5EF4-FFF2-40B4-BE49-F238E27FC236}">
                <a16:creationId xmlns:a16="http://schemas.microsoft.com/office/drawing/2014/main" id="{2B6A68D3-E248-12E7-EFC1-1E77790736FF}"/>
              </a:ext>
            </a:extLst>
          </p:cNvPr>
          <p:cNvSpPr/>
          <p:nvPr/>
        </p:nvSpPr>
        <p:spPr>
          <a:xfrm>
            <a:off x="10034433"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81" name="Arrow: Chevron 80">
            <a:extLst>
              <a:ext uri="{FF2B5EF4-FFF2-40B4-BE49-F238E27FC236}">
                <a16:creationId xmlns:a16="http://schemas.microsoft.com/office/drawing/2014/main" id="{EFF4A974-EC2E-EC98-BF14-19D71E70B20F}"/>
              </a:ext>
            </a:extLst>
          </p:cNvPr>
          <p:cNvSpPr/>
          <p:nvPr/>
        </p:nvSpPr>
        <p:spPr>
          <a:xfrm>
            <a:off x="1099963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28487358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6ECBD5-C893-E648-D675-261E090EFE2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4889E06-13CE-60F4-BC2E-2ADA96D2D12F}"/>
              </a:ext>
            </a:extLst>
          </p:cNvPr>
          <p:cNvGraphicFramePr>
            <a:graphicFrameLocks noChangeAspect="1"/>
          </p:cNvGraphicFramePr>
          <p:nvPr>
            <p:custDataLst>
              <p:tags r:id="rId1"/>
            </p:custDataLst>
            <p:extLst>
              <p:ext uri="{D42A27DB-BD31-4B8C-83A1-F6EECF244321}">
                <p14:modId xmlns:p14="http://schemas.microsoft.com/office/powerpoint/2010/main" val="3593185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26" imgH="426" progId="TCLayout.ActiveDocument.1">
                  <p:embed/>
                </p:oleObj>
              </mc:Choice>
              <mc:Fallback>
                <p:oleObj name="think-cell Slide" r:id="rId20" imgW="426" imgH="426" progId="TCLayout.ActiveDocument.1">
                  <p:embed/>
                  <p:pic>
                    <p:nvPicPr>
                      <p:cNvPr id="7" name="think-cell data - do not delete" hidden="1">
                        <a:extLst>
                          <a:ext uri="{FF2B5EF4-FFF2-40B4-BE49-F238E27FC236}">
                            <a16:creationId xmlns:a16="http://schemas.microsoft.com/office/drawing/2014/main" id="{74889E06-13CE-60F4-BC2E-2ADA96D2D12F}"/>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757BE003-9E4D-FAEB-B73B-D9B8D276B3E0}"/>
              </a:ext>
            </a:extLst>
          </p:cNvPr>
          <p:cNvGrpSpPr/>
          <p:nvPr/>
        </p:nvGrpSpPr>
        <p:grpSpPr>
          <a:xfrm>
            <a:off x="8417834" y="1059803"/>
            <a:ext cx="858274" cy="673623"/>
            <a:chOff x="368907" y="1700531"/>
            <a:chExt cx="4038920" cy="4275927"/>
          </a:xfrm>
          <a:effectLst/>
        </p:grpSpPr>
        <p:sp>
          <p:nvSpPr>
            <p:cNvPr id="10" name="Isosceles Triangle 9">
              <a:extLst>
                <a:ext uri="{FF2B5EF4-FFF2-40B4-BE49-F238E27FC236}">
                  <a16:creationId xmlns:a16="http://schemas.microsoft.com/office/drawing/2014/main" id="{5AFFA575-4B07-BEC1-E47E-6ACF4971B4CB}"/>
                </a:ext>
              </a:extLst>
            </p:cNvPr>
            <p:cNvSpPr/>
            <p:nvPr/>
          </p:nvSpPr>
          <p:spPr>
            <a:xfrm>
              <a:off x="1792514" y="1700531"/>
              <a:ext cx="1191707" cy="1255807"/>
            </a:xfrm>
            <a:prstGeom prst="triangle">
              <a:avLst>
                <a:gd name="adj" fmla="val 49710"/>
              </a:avLst>
            </a:pr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sp>
          <p:nvSpPr>
            <p:cNvPr id="11" name="Isosceles Triangle 62">
              <a:extLst>
                <a:ext uri="{FF2B5EF4-FFF2-40B4-BE49-F238E27FC236}">
                  <a16:creationId xmlns:a16="http://schemas.microsoft.com/office/drawing/2014/main" id="{52BB1AD8-279E-8E47-8DBC-329FB0EC6283}"/>
                </a:ext>
              </a:extLst>
            </p:cNvPr>
            <p:cNvSpPr/>
            <p:nvPr/>
          </p:nvSpPr>
          <p:spPr>
            <a:xfrm>
              <a:off x="1106945" y="2957333"/>
              <a:ext cx="2556494" cy="1456051"/>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481647" y="2614"/>
                  </a:lnTo>
                  <a:lnTo>
                    <a:pt x="1325344" y="0"/>
                  </a:lnTo>
                  <a:lnTo>
                    <a:pt x="1810264" y="968810"/>
                  </a:lnTo>
                  <a:lnTo>
                    <a:pt x="0" y="968810"/>
                  </a:lnTo>
                  <a:close/>
                </a:path>
              </a:pathLst>
            </a:cu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grpSp>
          <p:nvGrpSpPr>
            <p:cNvPr id="12" name="Group 11">
              <a:extLst>
                <a:ext uri="{FF2B5EF4-FFF2-40B4-BE49-F238E27FC236}">
                  <a16:creationId xmlns:a16="http://schemas.microsoft.com/office/drawing/2014/main" id="{14D90B5A-7EA2-653B-5A9E-EBDCEF0961B2}"/>
                </a:ext>
              </a:extLst>
            </p:cNvPr>
            <p:cNvGrpSpPr/>
            <p:nvPr/>
          </p:nvGrpSpPr>
          <p:grpSpPr>
            <a:xfrm>
              <a:off x="368907" y="2954958"/>
              <a:ext cx="4038920" cy="3021500"/>
              <a:chOff x="364847" y="3312617"/>
              <a:chExt cx="4038920" cy="3021500"/>
            </a:xfrm>
          </p:grpSpPr>
          <p:cxnSp>
            <p:nvCxnSpPr>
              <p:cNvPr id="13" name="Straight Connector 12">
                <a:extLst>
                  <a:ext uri="{FF2B5EF4-FFF2-40B4-BE49-F238E27FC236}">
                    <a16:creationId xmlns:a16="http://schemas.microsoft.com/office/drawing/2014/main" id="{C698B6A2-33E4-239D-2F1A-26DCD820A248}"/>
                  </a:ext>
                </a:extLst>
              </p:cNvPr>
              <p:cNvCxnSpPr>
                <a:cxnSpLocks/>
              </p:cNvCxnSpPr>
              <p:nvPr/>
            </p:nvCxnSpPr>
            <p:spPr>
              <a:xfrm>
                <a:off x="1110997" y="4771043"/>
                <a:ext cx="254556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Isosceles Triangle 62">
                <a:extLst>
                  <a:ext uri="{FF2B5EF4-FFF2-40B4-BE49-F238E27FC236}">
                    <a16:creationId xmlns:a16="http://schemas.microsoft.com/office/drawing/2014/main" id="{BA8D352F-AE09-EF06-DB59-EEC6FF7BED7A}"/>
                  </a:ext>
                </a:extLst>
              </p:cNvPr>
              <p:cNvSpPr/>
              <p:nvPr/>
            </p:nvSpPr>
            <p:spPr>
              <a:xfrm>
                <a:off x="364847" y="4771043"/>
                <a:ext cx="4038920" cy="1562778"/>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476069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326400" y="396"/>
                    </a:lnTo>
                    <a:lnTo>
                      <a:pt x="1476069" y="0"/>
                    </a:lnTo>
                    <a:lnTo>
                      <a:pt x="1810264" y="968810"/>
                    </a:lnTo>
                    <a:lnTo>
                      <a:pt x="0" y="968810"/>
                    </a:lnTo>
                    <a:close/>
                  </a:path>
                </a:pathLst>
              </a:custGeom>
              <a:solidFill>
                <a:srgbClr val="FFC493"/>
              </a:solidFill>
              <a:ln w="9525">
                <a:solidFill>
                  <a:srgbClr val="DE6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cxnSp>
            <p:nvCxnSpPr>
              <p:cNvPr id="15" name="Straight Connector 14">
                <a:extLst>
                  <a:ext uri="{FF2B5EF4-FFF2-40B4-BE49-F238E27FC236}">
                    <a16:creationId xmlns:a16="http://schemas.microsoft.com/office/drawing/2014/main" id="{90CAE2D1-4030-5301-E0A8-BD085D240CD6}"/>
                  </a:ext>
                </a:extLst>
              </p:cNvPr>
              <p:cNvCxnSpPr>
                <a:cxnSpLocks/>
              </p:cNvCxnSpPr>
              <p:nvPr/>
            </p:nvCxnSpPr>
            <p:spPr>
              <a:xfrm flipH="1">
                <a:off x="1833796" y="3312617"/>
                <a:ext cx="287660" cy="148830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34CB456-E1B1-D8C6-82B8-348A2358CF3E}"/>
                  </a:ext>
                </a:extLst>
              </p:cNvPr>
              <p:cNvCxnSpPr>
                <a:cxnSpLocks/>
              </p:cNvCxnSpPr>
              <p:nvPr/>
            </p:nvCxnSpPr>
            <p:spPr>
              <a:xfrm>
                <a:off x="2562892" y="4771043"/>
                <a:ext cx="106051" cy="1562778"/>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4C530D2-F832-D068-D918-D394CCE34B56}"/>
                  </a:ext>
                </a:extLst>
              </p:cNvPr>
              <p:cNvCxnSpPr>
                <a:cxnSpLocks/>
              </p:cNvCxnSpPr>
              <p:nvPr/>
            </p:nvCxnSpPr>
            <p:spPr>
              <a:xfrm flipH="1">
                <a:off x="2089604" y="4771042"/>
                <a:ext cx="76090" cy="1562779"/>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9A29434-759C-56AF-AC52-842661CD6882}"/>
                  </a:ext>
                </a:extLst>
              </p:cNvPr>
              <p:cNvCxnSpPr>
                <a:cxnSpLocks/>
              </p:cNvCxnSpPr>
              <p:nvPr/>
            </p:nvCxnSpPr>
            <p:spPr>
              <a:xfrm flipH="1">
                <a:off x="957027" y="4771042"/>
                <a:ext cx="526604" cy="1562779"/>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0E703A1-A9BA-2077-3FBB-A187775F17BD}"/>
                  </a:ext>
                </a:extLst>
              </p:cNvPr>
              <p:cNvCxnSpPr>
                <a:cxnSpLocks/>
              </p:cNvCxnSpPr>
              <p:nvPr/>
            </p:nvCxnSpPr>
            <p:spPr>
              <a:xfrm>
                <a:off x="2706590" y="3312617"/>
                <a:ext cx="267090" cy="145942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80C3AB0-EE58-AD4C-38DE-2279A76A05D2}"/>
                  </a:ext>
                </a:extLst>
              </p:cNvPr>
              <p:cNvCxnSpPr>
                <a:cxnSpLocks/>
              </p:cNvCxnSpPr>
              <p:nvPr/>
            </p:nvCxnSpPr>
            <p:spPr>
              <a:xfrm>
                <a:off x="3336756" y="4771043"/>
                <a:ext cx="506582" cy="1563074"/>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1873B8E-388C-85AA-26F7-78F77C8E7E54}"/>
                  </a:ext>
                </a:extLst>
              </p:cNvPr>
              <p:cNvCxnSpPr>
                <a:cxnSpLocks/>
              </p:cNvCxnSpPr>
              <p:nvPr/>
            </p:nvCxnSpPr>
            <p:spPr>
              <a:xfrm flipH="1">
                <a:off x="1539549" y="4772039"/>
                <a:ext cx="300668" cy="1561783"/>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CF8BE91-6878-9A40-DA84-9546CCAB587E}"/>
                  </a:ext>
                </a:extLst>
              </p:cNvPr>
              <p:cNvCxnSpPr>
                <a:cxnSpLocks/>
              </p:cNvCxnSpPr>
              <p:nvPr/>
            </p:nvCxnSpPr>
            <p:spPr>
              <a:xfrm>
                <a:off x="2973680" y="4778378"/>
                <a:ext cx="284662" cy="1555443"/>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ED2070B-5DE5-C2D2-49E1-8314E7BC0E02}"/>
                  </a:ext>
                </a:extLst>
              </p:cNvPr>
              <p:cNvCxnSpPr>
                <a:cxnSpLocks/>
                <a:stCxn id="14" idx="1"/>
                <a:endCxn id="11" idx="3"/>
              </p:cNvCxnSpPr>
              <p:nvPr/>
            </p:nvCxnSpPr>
            <p:spPr>
              <a:xfrm flipV="1">
                <a:off x="1093085" y="4771043"/>
                <a:ext cx="2566294" cy="640"/>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grpSp>
      </p:grpSp>
      <p:sp>
        <p:nvSpPr>
          <p:cNvPr id="2" name="Title 1">
            <a:extLst>
              <a:ext uri="{FF2B5EF4-FFF2-40B4-BE49-F238E27FC236}">
                <a16:creationId xmlns:a16="http://schemas.microsoft.com/office/drawing/2014/main" id="{54E1A047-E585-35B6-DF27-0F163E326B4A}"/>
              </a:ext>
            </a:extLst>
          </p:cNvPr>
          <p:cNvSpPr>
            <a:spLocks noGrp="1"/>
          </p:cNvSpPr>
          <p:nvPr>
            <p:ph type="title"/>
          </p:nvPr>
        </p:nvSpPr>
        <p:spPr>
          <a:xfrm>
            <a:off x="137786" y="125260"/>
            <a:ext cx="6752298" cy="806754"/>
          </a:xfrm>
        </p:spPr>
        <p:txBody>
          <a:bodyPr vert="horz">
            <a:normAutofit fontScale="90000"/>
          </a:bodyPr>
          <a:lstStyle/>
          <a:p>
            <a:pPr algn="ctr"/>
            <a:r>
              <a:rPr lang="en-GB" b="1" noProof="0"/>
              <a:t>Design Choices for each Value Proposition</a:t>
            </a:r>
          </a:p>
        </p:txBody>
      </p:sp>
      <p:sp>
        <p:nvSpPr>
          <p:cNvPr id="38" name="Rectangle 37">
            <a:extLst>
              <a:ext uri="{FF2B5EF4-FFF2-40B4-BE49-F238E27FC236}">
                <a16:creationId xmlns:a16="http://schemas.microsoft.com/office/drawing/2014/main" id="{8F0BA91F-2738-15DD-7319-0E1AD3F9661F}"/>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400" noProof="0">
                <a:solidFill>
                  <a:schemeClr val="tx1"/>
                </a:solidFill>
                <a:latin typeface="Avenir Next LT Pro" panose="020B0504020202020204" pitchFamily="34" charset="0"/>
              </a:rPr>
              <a:t>IKEA made trade-offs (reflected in their value curve) that enable their cost structure and while serving their target customers’ priorities.</a:t>
            </a:r>
          </a:p>
          <a:p>
            <a:pPr marL="285750" indent="-285750">
              <a:spcAft>
                <a:spcPts val="600"/>
              </a:spcAft>
              <a:buFont typeface="Arial" panose="020B0604020202020204" pitchFamily="34" charset="0"/>
              <a:buChar char="•"/>
            </a:pPr>
            <a:r>
              <a:rPr lang="en-GB" sz="1400" noProof="0">
                <a:solidFill>
                  <a:schemeClr val="tx1"/>
                </a:solidFill>
                <a:latin typeface="Avenir Next LT Pro" panose="020B0504020202020204" pitchFamily="34" charset="0"/>
              </a:rPr>
              <a:t>It chose a number of attributes that increased customer WTP, across functional, emotional and experiential dimensions.</a:t>
            </a:r>
          </a:p>
          <a:p>
            <a:pPr marL="285750" indent="-285750">
              <a:spcAft>
                <a:spcPts val="600"/>
              </a:spcAft>
              <a:buFont typeface="Arial" panose="020B0604020202020204" pitchFamily="34" charset="0"/>
              <a:buChar char="•"/>
            </a:pPr>
            <a:r>
              <a:rPr lang="en-GB" sz="1400" noProof="0">
                <a:solidFill>
                  <a:schemeClr val="tx1"/>
                </a:solidFill>
                <a:latin typeface="Avenir Next LT Pro" panose="020B0504020202020204" pitchFamily="34" charset="0"/>
              </a:rPr>
              <a:t>It reduced elements that were less relevant to its target customer segments.</a:t>
            </a:r>
          </a:p>
        </p:txBody>
      </p:sp>
      <p:graphicFrame>
        <p:nvGraphicFramePr>
          <p:cNvPr id="24" name="Chart 23">
            <a:extLst>
              <a:ext uri="{FF2B5EF4-FFF2-40B4-BE49-F238E27FC236}">
                <a16:creationId xmlns:a16="http://schemas.microsoft.com/office/drawing/2014/main" id="{A776ABCF-56EF-6EB6-FCA8-0533B8945F83}"/>
              </a:ext>
            </a:extLst>
          </p:cNvPr>
          <p:cNvGraphicFramePr/>
          <p:nvPr>
            <p:extLst>
              <p:ext uri="{D42A27DB-BD31-4B8C-83A1-F6EECF244321}">
                <p14:modId xmlns:p14="http://schemas.microsoft.com/office/powerpoint/2010/main" val="3016524414"/>
              </p:ext>
            </p:extLst>
          </p:nvPr>
        </p:nvGraphicFramePr>
        <p:xfrm>
          <a:off x="1697038" y="3429000"/>
          <a:ext cx="7538716" cy="3176588"/>
        </p:xfrm>
        <a:graphic>
          <a:graphicData uri="http://schemas.openxmlformats.org/drawingml/2006/chart">
            <c:chart xmlns:c="http://schemas.openxmlformats.org/drawingml/2006/chart" xmlns:r="http://schemas.openxmlformats.org/officeDocument/2006/relationships" r:id="rId22"/>
          </a:graphicData>
        </a:graphic>
      </p:graphicFrame>
      <p:sp>
        <p:nvSpPr>
          <p:cNvPr id="25" name="TextBox 24">
            <a:extLst>
              <a:ext uri="{FF2B5EF4-FFF2-40B4-BE49-F238E27FC236}">
                <a16:creationId xmlns:a16="http://schemas.microsoft.com/office/drawing/2014/main" id="{78B45E6B-AFCB-DDBF-B966-EA2FE57F7B9C}"/>
              </a:ext>
            </a:extLst>
          </p:cNvPr>
          <p:cNvSpPr txBox="1"/>
          <p:nvPr>
            <p:custDataLst>
              <p:tags r:id="rId2"/>
            </p:custDataLst>
          </p:nvPr>
        </p:nvSpPr>
        <p:spPr>
          <a:xfrm>
            <a:off x="1900454" y="5247645"/>
            <a:ext cx="779463"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Sub-par</a:t>
            </a:r>
          </a:p>
        </p:txBody>
      </p:sp>
      <p:sp>
        <p:nvSpPr>
          <p:cNvPr id="26" name="TextBox 25">
            <a:extLst>
              <a:ext uri="{FF2B5EF4-FFF2-40B4-BE49-F238E27FC236}">
                <a16:creationId xmlns:a16="http://schemas.microsoft.com/office/drawing/2014/main" id="{83435B65-0078-4DE8-C962-25F1097F4B5C}"/>
              </a:ext>
            </a:extLst>
          </p:cNvPr>
          <p:cNvSpPr txBox="1"/>
          <p:nvPr>
            <p:custDataLst>
              <p:tags r:id="rId3"/>
            </p:custDataLst>
          </p:nvPr>
        </p:nvSpPr>
        <p:spPr>
          <a:xfrm>
            <a:off x="1871492" y="4589117"/>
            <a:ext cx="736147"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At-par</a:t>
            </a:r>
          </a:p>
        </p:txBody>
      </p:sp>
      <p:sp>
        <p:nvSpPr>
          <p:cNvPr id="27" name="TextBox 26">
            <a:extLst>
              <a:ext uri="{FF2B5EF4-FFF2-40B4-BE49-F238E27FC236}">
                <a16:creationId xmlns:a16="http://schemas.microsoft.com/office/drawing/2014/main" id="{628FCECA-EC1B-59AC-2A55-E699CCCD6FAE}"/>
              </a:ext>
            </a:extLst>
          </p:cNvPr>
          <p:cNvSpPr txBox="1"/>
          <p:nvPr/>
        </p:nvSpPr>
        <p:spPr>
          <a:xfrm rot="16200000">
            <a:off x="860329" y="4569619"/>
            <a:ext cx="1836738" cy="26035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sng"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Offering level</a:t>
            </a:r>
          </a:p>
        </p:txBody>
      </p:sp>
      <p:sp>
        <p:nvSpPr>
          <p:cNvPr id="28" name="Rectangle: Rounded Corners 27">
            <a:extLst>
              <a:ext uri="{FF2B5EF4-FFF2-40B4-BE49-F238E27FC236}">
                <a16:creationId xmlns:a16="http://schemas.microsoft.com/office/drawing/2014/main" id="{DFFDC6CB-24D2-036D-989C-B9EC7981DE6B}"/>
              </a:ext>
            </a:extLst>
          </p:cNvPr>
          <p:cNvSpPr/>
          <p:nvPr/>
        </p:nvSpPr>
        <p:spPr>
          <a:xfrm>
            <a:off x="4282622" y="3386138"/>
            <a:ext cx="2181224" cy="390525"/>
          </a:xfrm>
          <a:prstGeom prst="roundRect">
            <a:avLst/>
          </a:prstGeom>
          <a:noFill/>
          <a:ln w="6350"/>
        </p:spPr>
        <p:style>
          <a:lnRef idx="2">
            <a:schemeClr val="accent1"/>
          </a:lnRef>
          <a:fillRef idx="1">
            <a:schemeClr val="lt1"/>
          </a:fillRef>
          <a:effectRef idx="0">
            <a:schemeClr val="accent1"/>
          </a:effectRef>
          <a:fontRef idx="minor">
            <a:schemeClr val="dk1"/>
          </a:fontRef>
        </p:style>
        <p:txBody>
          <a:bodyPr rtlCol="0" anchor="t"/>
          <a:lstStyle/>
          <a:p>
            <a:pPr algn="ctr"/>
            <a:endParaRPr lang="en-GB" sz="1200" noProof="0">
              <a:solidFill>
                <a:srgbClr val="776E6A"/>
              </a:solidFill>
            </a:endParaRPr>
          </a:p>
        </p:txBody>
      </p:sp>
      <p:sp>
        <p:nvSpPr>
          <p:cNvPr id="29" name="Rectangle 28">
            <a:extLst>
              <a:ext uri="{FF2B5EF4-FFF2-40B4-BE49-F238E27FC236}">
                <a16:creationId xmlns:a16="http://schemas.microsoft.com/office/drawing/2014/main" id="{7D49E2F1-2534-87C9-3EED-C7F99D85C458}"/>
              </a:ext>
            </a:extLst>
          </p:cNvPr>
          <p:cNvSpPr/>
          <p:nvPr/>
        </p:nvSpPr>
        <p:spPr>
          <a:xfrm>
            <a:off x="4500431" y="3295650"/>
            <a:ext cx="1804988" cy="18573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noProof="0">
                <a:solidFill>
                  <a:srgbClr val="776E6A"/>
                </a:solidFill>
              </a:rPr>
              <a:t>Relative Performance</a:t>
            </a:r>
          </a:p>
        </p:txBody>
      </p:sp>
      <p:sp>
        <p:nvSpPr>
          <p:cNvPr id="31" name="TextBox 30">
            <a:extLst>
              <a:ext uri="{FF2B5EF4-FFF2-40B4-BE49-F238E27FC236}">
                <a16:creationId xmlns:a16="http://schemas.microsoft.com/office/drawing/2014/main" id="{22C64ACE-9770-E0CA-A8F3-7C30F628BB75}"/>
              </a:ext>
            </a:extLst>
          </p:cNvPr>
          <p:cNvSpPr txBox="1"/>
          <p:nvPr>
            <p:custDataLst>
              <p:tags r:id="rId4"/>
            </p:custDataLst>
          </p:nvPr>
        </p:nvSpPr>
        <p:spPr>
          <a:xfrm>
            <a:off x="4105277" y="6082670"/>
            <a:ext cx="2222500"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sng"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Competing Factors</a:t>
            </a:r>
          </a:p>
        </p:txBody>
      </p:sp>
      <p:sp>
        <p:nvSpPr>
          <p:cNvPr id="32" name="Rectangle 31">
            <a:extLst>
              <a:ext uri="{FF2B5EF4-FFF2-40B4-BE49-F238E27FC236}">
                <a16:creationId xmlns:a16="http://schemas.microsoft.com/office/drawing/2014/main" id="{F8A1D358-13B3-8C8A-1479-0DD9E1751B42}"/>
              </a:ext>
            </a:extLst>
          </p:cNvPr>
          <p:cNvSpPr/>
          <p:nvPr/>
        </p:nvSpPr>
        <p:spPr>
          <a:xfrm>
            <a:off x="439568" y="3199835"/>
            <a:ext cx="933223" cy="3698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noProof="0">
                <a:solidFill>
                  <a:schemeClr val="bg1"/>
                </a:solidFill>
              </a:rPr>
              <a:t>Relative Price</a:t>
            </a:r>
          </a:p>
        </p:txBody>
      </p:sp>
      <p:graphicFrame>
        <p:nvGraphicFramePr>
          <p:cNvPr id="46" name="Chart 45">
            <a:extLst>
              <a:ext uri="{FF2B5EF4-FFF2-40B4-BE49-F238E27FC236}">
                <a16:creationId xmlns:a16="http://schemas.microsoft.com/office/drawing/2014/main" id="{2C98AEEF-8F85-2F04-E625-1EACAE15A9E5}"/>
              </a:ext>
            </a:extLst>
          </p:cNvPr>
          <p:cNvGraphicFramePr/>
          <p:nvPr>
            <p:custDataLst>
              <p:tags r:id="rId5"/>
            </p:custDataLst>
            <p:extLst>
              <p:ext uri="{D42A27DB-BD31-4B8C-83A1-F6EECF244321}">
                <p14:modId xmlns:p14="http://schemas.microsoft.com/office/powerpoint/2010/main" val="3026307632"/>
              </p:ext>
            </p:extLst>
          </p:nvPr>
        </p:nvGraphicFramePr>
        <p:xfrm>
          <a:off x="209550" y="3663950"/>
          <a:ext cx="1173163" cy="2549525"/>
        </p:xfrm>
        <a:graphic>
          <a:graphicData uri="http://schemas.openxmlformats.org/drawingml/2006/chart">
            <c:chart xmlns:c="http://schemas.openxmlformats.org/drawingml/2006/chart" xmlns:r="http://schemas.openxmlformats.org/officeDocument/2006/relationships" r:id="rId23"/>
          </a:graphicData>
        </a:graphic>
      </p:graphicFrame>
      <p:cxnSp>
        <p:nvCxnSpPr>
          <p:cNvPr id="34" name="Straight Connector 33">
            <a:extLst>
              <a:ext uri="{FF2B5EF4-FFF2-40B4-BE49-F238E27FC236}">
                <a16:creationId xmlns:a16="http://schemas.microsoft.com/office/drawing/2014/main" id="{5E1B6221-7D6A-64D5-F62B-4C885C965BA8}"/>
              </a:ext>
            </a:extLst>
          </p:cNvPr>
          <p:cNvCxnSpPr>
            <a:cxnSpLocks/>
          </p:cNvCxnSpPr>
          <p:nvPr>
            <p:custDataLst>
              <p:tags r:id="rId6"/>
            </p:custDataLst>
          </p:nvPr>
        </p:nvCxnSpPr>
        <p:spPr bwMode="auto">
          <a:xfrm>
            <a:off x="955675" y="4821238"/>
            <a:ext cx="11113" cy="746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82" name="Straight Connector 2181">
            <a:extLst>
              <a:ext uri="{FF2B5EF4-FFF2-40B4-BE49-F238E27FC236}">
                <a16:creationId xmlns:a16="http://schemas.microsoft.com/office/drawing/2014/main" id="{DE819689-024E-3CD5-2236-508AB935B226}"/>
              </a:ext>
            </a:extLst>
          </p:cNvPr>
          <p:cNvCxnSpPr/>
          <p:nvPr>
            <p:custDataLst>
              <p:tags r:id="rId7"/>
            </p:custDataLst>
          </p:nvPr>
        </p:nvCxnSpPr>
        <p:spPr bwMode="auto">
          <a:xfrm flipH="1">
            <a:off x="993775" y="4130675"/>
            <a:ext cx="50800" cy="984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91" name="Straight Connector 2190">
            <a:extLst>
              <a:ext uri="{FF2B5EF4-FFF2-40B4-BE49-F238E27FC236}">
                <a16:creationId xmlns:a16="http://schemas.microsoft.com/office/drawing/2014/main" id="{ACF3F8FE-061E-22C1-9F86-93FD98B5782E}"/>
              </a:ext>
            </a:extLst>
          </p:cNvPr>
          <p:cNvCxnSpPr/>
          <p:nvPr>
            <p:custDataLst>
              <p:tags r:id="rId8"/>
            </p:custDataLst>
          </p:nvPr>
        </p:nvCxnSpPr>
        <p:spPr bwMode="auto">
          <a:xfrm flipH="1">
            <a:off x="989013" y="5273675"/>
            <a:ext cx="30162" cy="730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7" name="Rectangle 36">
            <a:extLst>
              <a:ext uri="{FF2B5EF4-FFF2-40B4-BE49-F238E27FC236}">
                <a16:creationId xmlns:a16="http://schemas.microsoft.com/office/drawing/2014/main" id="{DCFF78B7-4C52-CC82-F2BB-EB7D4F599538}"/>
              </a:ext>
            </a:extLst>
          </p:cNvPr>
          <p:cNvSpPr/>
          <p:nvPr>
            <p:custDataLst>
              <p:tags r:id="rId9"/>
            </p:custDataLst>
          </p:nvPr>
        </p:nvSpPr>
        <p:spPr bwMode="gray">
          <a:xfrm>
            <a:off x="803276" y="4684713"/>
            <a:ext cx="284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t"/>
          <a:lstStyle/>
          <a:p>
            <a:pPr>
              <a:lnSpc>
                <a:spcPct val="90000"/>
              </a:lnSpc>
              <a:spcBef>
                <a:spcPct val="0"/>
              </a:spcBef>
              <a:spcAft>
                <a:spcPct val="0"/>
              </a:spcAft>
            </a:pPr>
            <a:fld id="{6796F703-7B39-4913-8E41-F4585C3441B2}" type="datetime'''''''''''''''I''''K''''''''''''EA'''''''''''''">
              <a:rPr lang="en-GB" sz="1000" noProof="0" smtClean="0">
                <a:solidFill>
                  <a:schemeClr val="tx1"/>
                </a:solidFill>
                <a:effectLst/>
              </a:rPr>
              <a:pPr>
                <a:lnSpc>
                  <a:spcPct val="90000"/>
                </a:lnSpc>
                <a:spcBef>
                  <a:spcPct val="0"/>
                </a:spcBef>
                <a:spcAft>
                  <a:spcPct val="0"/>
                </a:spcAft>
              </a:pPr>
              <a:t>IKEA</a:t>
            </a:fld>
            <a:endParaRPr lang="en-GB" sz="1000" noProof="0">
              <a:solidFill>
                <a:schemeClr val="tx1"/>
              </a:solidFill>
            </a:endParaRPr>
          </a:p>
        </p:txBody>
      </p:sp>
      <p:sp>
        <p:nvSpPr>
          <p:cNvPr id="39" name="Rectangle 38">
            <a:extLst>
              <a:ext uri="{FF2B5EF4-FFF2-40B4-BE49-F238E27FC236}">
                <a16:creationId xmlns:a16="http://schemas.microsoft.com/office/drawing/2014/main" id="{3B557A58-F24F-3FDB-1E49-F5947681B6AC}"/>
              </a:ext>
            </a:extLst>
          </p:cNvPr>
          <p:cNvSpPr/>
          <p:nvPr>
            <p:custDataLst>
              <p:tags r:id="rId10"/>
            </p:custDataLst>
          </p:nvPr>
        </p:nvSpPr>
        <p:spPr bwMode="gray">
          <a:xfrm>
            <a:off x="998538" y="4878388"/>
            <a:ext cx="1905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t"/>
          <a:lstStyle/>
          <a:p>
            <a:pPr>
              <a:lnSpc>
                <a:spcPct val="90000"/>
              </a:lnSpc>
              <a:spcBef>
                <a:spcPct val="0"/>
              </a:spcBef>
              <a:spcAft>
                <a:spcPct val="0"/>
              </a:spcAft>
            </a:pPr>
            <a:fld id="{F9AA3508-FEE4-44B6-B339-09F9C6470FA1}" type="datetime'''''''''''''''''''''''''''''''''''''''''''''50'''''''''''''''">
              <a:rPr lang="en-GB" sz="1100" noProof="0" smtClean="0">
                <a:solidFill>
                  <a:srgbClr val="000000"/>
                </a:solidFill>
              </a:rPr>
              <a:pPr>
                <a:lnSpc>
                  <a:spcPct val="90000"/>
                </a:lnSpc>
                <a:spcBef>
                  <a:spcPct val="0"/>
                </a:spcBef>
                <a:spcAft>
                  <a:spcPct val="0"/>
                </a:spcAft>
              </a:pPr>
              <a:t>50</a:t>
            </a:fld>
            <a:endParaRPr lang="en-GB" sz="1100" noProof="0">
              <a:solidFill>
                <a:srgbClr val="000000"/>
              </a:solidFill>
            </a:endParaRPr>
          </a:p>
        </p:txBody>
      </p:sp>
      <p:sp>
        <p:nvSpPr>
          <p:cNvPr id="40" name="Rectangle 39">
            <a:extLst>
              <a:ext uri="{FF2B5EF4-FFF2-40B4-BE49-F238E27FC236}">
                <a16:creationId xmlns:a16="http://schemas.microsoft.com/office/drawing/2014/main" id="{57BF84B0-3578-A8E3-00F3-FF5022EEF858}"/>
              </a:ext>
            </a:extLst>
          </p:cNvPr>
          <p:cNvSpPr/>
          <p:nvPr>
            <p:custDataLst>
              <p:tags r:id="rId11"/>
            </p:custDataLst>
          </p:nvPr>
        </p:nvSpPr>
        <p:spPr bwMode="gray">
          <a:xfrm>
            <a:off x="665163" y="3857625"/>
            <a:ext cx="9017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t"/>
          <a:lstStyle/>
          <a:p>
            <a:pPr>
              <a:lnSpc>
                <a:spcPct val="90000"/>
              </a:lnSpc>
              <a:spcBef>
                <a:spcPct val="0"/>
              </a:spcBef>
              <a:spcAft>
                <a:spcPct val="0"/>
              </a:spcAft>
            </a:pPr>
            <a:fld id="{11F63A3E-24AE-4559-9E5E-74C1030EF0A5}" type="datetime'D''esign''-foc''us''ed&#10;c''''''''o''''mpeti''to''r''''''''s'">
              <a:rPr lang="en-GB" sz="1000" noProof="0" smtClean="0">
                <a:solidFill>
                  <a:schemeClr val="tx1"/>
                </a:solidFill>
              </a:rPr>
              <a:pPr>
                <a:lnSpc>
                  <a:spcPct val="90000"/>
                </a:lnSpc>
                <a:spcBef>
                  <a:spcPct val="0"/>
                </a:spcBef>
                <a:spcAft>
                  <a:spcPct val="0"/>
                </a:spcAft>
              </a:pPr>
              <a:t>Design-focused
competitors</a:t>
            </a:fld>
            <a:endParaRPr lang="en-GB" sz="1000" noProof="0">
              <a:solidFill>
                <a:schemeClr val="tx1"/>
              </a:solidFill>
            </a:endParaRPr>
          </a:p>
        </p:txBody>
      </p:sp>
      <p:sp>
        <p:nvSpPr>
          <p:cNvPr id="41" name="Rectangle 40">
            <a:extLst>
              <a:ext uri="{FF2B5EF4-FFF2-40B4-BE49-F238E27FC236}">
                <a16:creationId xmlns:a16="http://schemas.microsoft.com/office/drawing/2014/main" id="{DFA1C4BA-4EEE-5C2B-E386-CED3687B2486}"/>
              </a:ext>
            </a:extLst>
          </p:cNvPr>
          <p:cNvSpPr/>
          <p:nvPr>
            <p:custDataLst>
              <p:tags r:id="rId12"/>
            </p:custDataLst>
          </p:nvPr>
        </p:nvSpPr>
        <p:spPr bwMode="gray">
          <a:xfrm>
            <a:off x="1041400" y="4183063"/>
            <a:ext cx="1905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t"/>
          <a:lstStyle/>
          <a:p>
            <a:pPr>
              <a:lnSpc>
                <a:spcPct val="90000"/>
              </a:lnSpc>
              <a:spcBef>
                <a:spcPct val="0"/>
              </a:spcBef>
              <a:spcAft>
                <a:spcPct val="0"/>
              </a:spcAft>
            </a:pPr>
            <a:fld id="{99224CD9-C0FF-4F29-ADB8-F89414418A1C}" type="datetime'''''''''''8''''''''''''''''''''''0'''''''''''''''''''''''">
              <a:rPr lang="en-GB" sz="1100" noProof="0" smtClean="0">
                <a:solidFill>
                  <a:schemeClr val="tx1"/>
                </a:solidFill>
              </a:rPr>
              <a:pPr>
                <a:lnSpc>
                  <a:spcPct val="90000"/>
                </a:lnSpc>
                <a:spcBef>
                  <a:spcPct val="0"/>
                </a:spcBef>
                <a:spcAft>
                  <a:spcPct val="0"/>
                </a:spcAft>
              </a:pPr>
              <a:t>80</a:t>
            </a:fld>
            <a:endParaRPr lang="en-GB" sz="1100" noProof="0">
              <a:solidFill>
                <a:schemeClr val="tx1"/>
              </a:solidFill>
            </a:endParaRPr>
          </a:p>
        </p:txBody>
      </p:sp>
      <p:sp>
        <p:nvSpPr>
          <p:cNvPr id="2153" name="Text Placeholder 2">
            <a:extLst>
              <a:ext uri="{FF2B5EF4-FFF2-40B4-BE49-F238E27FC236}">
                <a16:creationId xmlns:a16="http://schemas.microsoft.com/office/drawing/2014/main" id="{3AB59637-5012-26B7-7485-6DA85E8D3405}"/>
              </a:ext>
            </a:extLst>
          </p:cNvPr>
          <p:cNvSpPr>
            <a:spLocks noGrp="1"/>
          </p:cNvSpPr>
          <p:nvPr>
            <p:custDataLst>
              <p:tags r:id="rId13"/>
            </p:custDataLst>
          </p:nvPr>
        </p:nvSpPr>
        <p:spPr bwMode="gray">
          <a:xfrm>
            <a:off x="638175" y="5137150"/>
            <a:ext cx="817563"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B9AF075-F109-4BDE-9155-3249AC65A559}" type="datetime'B''''''as''''i''c'''''''''''' ''ret''''''''''''aile''''rs'''''">
              <a:rPr lang="en-GB" sz="1000" noProof="0" smtClean="0">
                <a:effectLst/>
              </a:rPr>
              <a:pPr marL="0" lvl="0" indent="0">
                <a:spcBef>
                  <a:spcPct val="0"/>
                </a:spcBef>
                <a:spcAft>
                  <a:spcPct val="0"/>
                </a:spcAft>
                <a:buNone/>
              </a:pPr>
              <a:t>Basic retailers</a:t>
            </a:fld>
            <a:endParaRPr lang="en-GB" sz="1000" noProof="0"/>
          </a:p>
        </p:txBody>
      </p:sp>
      <p:sp>
        <p:nvSpPr>
          <p:cNvPr id="2151" name="Rectangle 2150">
            <a:extLst>
              <a:ext uri="{FF2B5EF4-FFF2-40B4-BE49-F238E27FC236}">
                <a16:creationId xmlns:a16="http://schemas.microsoft.com/office/drawing/2014/main" id="{BFF91C30-9B2D-DF01-6669-223DD036B91C}"/>
              </a:ext>
            </a:extLst>
          </p:cNvPr>
          <p:cNvSpPr/>
          <p:nvPr>
            <p:custDataLst>
              <p:tags r:id="rId14"/>
            </p:custDataLst>
          </p:nvPr>
        </p:nvSpPr>
        <p:spPr bwMode="gray">
          <a:xfrm>
            <a:off x="1031875" y="5311775"/>
            <a:ext cx="1905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ctr"/>
          <a:lstStyle/>
          <a:p>
            <a:pPr>
              <a:lnSpc>
                <a:spcPct val="90000"/>
              </a:lnSpc>
              <a:spcBef>
                <a:spcPct val="0"/>
              </a:spcBef>
              <a:spcAft>
                <a:spcPct val="0"/>
              </a:spcAft>
            </a:pPr>
            <a:fld id="{C41367B4-1872-48D9-B637-034928C56797}" type="datetime'''''''''''''''''''''3''''''''0'''''''">
              <a:rPr lang="en-GB" sz="1100" noProof="0" smtClean="0">
                <a:solidFill>
                  <a:schemeClr val="tx1"/>
                </a:solidFill>
              </a:rPr>
              <a:pPr>
                <a:lnSpc>
                  <a:spcPct val="90000"/>
                </a:lnSpc>
                <a:spcBef>
                  <a:spcPct val="0"/>
                </a:spcBef>
                <a:spcAft>
                  <a:spcPct val="0"/>
                </a:spcAft>
              </a:pPr>
              <a:t>30</a:t>
            </a:fld>
            <a:endParaRPr lang="en-GB" sz="1100" noProof="0">
              <a:solidFill>
                <a:schemeClr val="tx1"/>
              </a:solidFill>
            </a:endParaRPr>
          </a:p>
        </p:txBody>
      </p:sp>
      <p:cxnSp>
        <p:nvCxnSpPr>
          <p:cNvPr id="44" name="Straight Connector 43">
            <a:extLst>
              <a:ext uri="{FF2B5EF4-FFF2-40B4-BE49-F238E27FC236}">
                <a16:creationId xmlns:a16="http://schemas.microsoft.com/office/drawing/2014/main" id="{6EAB6F0C-B0D5-70BC-A39D-7DF761A912D0}"/>
              </a:ext>
            </a:extLst>
          </p:cNvPr>
          <p:cNvCxnSpPr>
            <a:cxnSpLocks/>
          </p:cNvCxnSpPr>
          <p:nvPr>
            <p:custDataLst>
              <p:tags r:id="rId15"/>
            </p:custDataLst>
          </p:nvPr>
        </p:nvCxnSpPr>
        <p:spPr>
          <a:xfrm flipH="1">
            <a:off x="1592522" y="3265489"/>
            <a:ext cx="8000" cy="3078791"/>
          </a:xfrm>
          <a:prstGeom prst="line">
            <a:avLst/>
          </a:prstGeom>
          <a:ln w="635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1" name="TextBox 50">
            <a:extLst>
              <a:ext uri="{FF2B5EF4-FFF2-40B4-BE49-F238E27FC236}">
                <a16:creationId xmlns:a16="http://schemas.microsoft.com/office/drawing/2014/main" id="{E477CA0A-45B3-F491-B2EC-EEA556D9C67C}"/>
              </a:ext>
            </a:extLst>
          </p:cNvPr>
          <p:cNvSpPr txBox="1"/>
          <p:nvPr>
            <p:custDataLst>
              <p:tags r:id="rId16"/>
            </p:custDataLst>
          </p:nvPr>
        </p:nvSpPr>
        <p:spPr>
          <a:xfrm>
            <a:off x="270183" y="1267977"/>
            <a:ext cx="4055207" cy="33855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Example: Strategy Value Curve of IKEA</a:t>
            </a:r>
          </a:p>
        </p:txBody>
      </p:sp>
      <p:pic>
        <p:nvPicPr>
          <p:cNvPr id="2050" name="Picture 2" descr="IKEA logo made &quot;future proof&quot; in subtle redesign by Seventy Agency">
            <a:extLst>
              <a:ext uri="{FF2B5EF4-FFF2-40B4-BE49-F238E27FC236}">
                <a16:creationId xmlns:a16="http://schemas.microsoft.com/office/drawing/2014/main" id="{3232C5F9-A61C-050F-6417-F045056646E6}"/>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446721" y="1274472"/>
            <a:ext cx="584626" cy="328700"/>
          </a:xfrm>
          <a:prstGeom prst="rect">
            <a:avLst/>
          </a:prstGeom>
          <a:noFill/>
          <a:extLst>
            <a:ext uri="{909E8E84-426E-40DD-AFC4-6F175D3DCCD1}">
              <a14:hiddenFill xmlns:a14="http://schemas.microsoft.com/office/drawing/2010/main">
                <a:solidFill>
                  <a:srgbClr val="FFFFFF"/>
                </a:solidFill>
              </a14:hiddenFill>
            </a:ext>
          </a:extLst>
        </p:spPr>
      </p:pic>
      <p:sp>
        <p:nvSpPr>
          <p:cNvPr id="2049" name="Rectangle 2048">
            <a:extLst>
              <a:ext uri="{FF2B5EF4-FFF2-40B4-BE49-F238E27FC236}">
                <a16:creationId xmlns:a16="http://schemas.microsoft.com/office/drawing/2014/main" id="{4A9CA102-3FF2-B1EF-D426-D6C74FBDD3F7}"/>
              </a:ext>
            </a:extLst>
          </p:cNvPr>
          <p:cNvSpPr/>
          <p:nvPr/>
        </p:nvSpPr>
        <p:spPr>
          <a:xfrm>
            <a:off x="209550" y="1973949"/>
            <a:ext cx="2008624" cy="961794"/>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eaLnBrk="1" fontAlgn="auto" latinLnBrk="0" hangingPunct="1">
              <a:lnSpc>
                <a:spcPct val="100000"/>
              </a:lnSpc>
              <a:spcBef>
                <a:spcPts val="0"/>
              </a:spcBef>
              <a:spcAft>
                <a:spcPts val="600"/>
              </a:spcAft>
              <a:buClrTx/>
              <a:buSzTx/>
              <a:buFontTx/>
              <a:buNone/>
              <a:tabLst/>
              <a:defRPr/>
            </a:pPr>
            <a:r>
              <a:rPr kumimoji="0" lang="en-GB" sz="900" b="1" i="0" u="none" strike="noStrike" kern="1200" cap="none" spc="0" normalizeH="0" baseline="0" noProof="0">
                <a:ln>
                  <a:noFill/>
                </a:ln>
                <a:solidFill>
                  <a:sysClr val="windowText" lastClr="000000"/>
                </a:solidFill>
                <a:effectLst/>
                <a:uLnTx/>
                <a:uFillTx/>
                <a:latin typeface="Avenir Next LT Pro"/>
                <a:cs typeface="Arial"/>
              </a:rPr>
              <a:t>Target Customer Segments: </a:t>
            </a:r>
            <a:r>
              <a:rPr kumimoji="0" lang="en-GB" sz="900" i="0" u="none" strike="noStrike" kern="1200" cap="none" spc="0" normalizeH="0" baseline="0" noProof="0">
                <a:ln>
                  <a:noFill/>
                </a:ln>
                <a:solidFill>
                  <a:sysClr val="windowText" lastClr="000000"/>
                </a:solidFill>
                <a:effectLst/>
                <a:uLnTx/>
                <a:uFillTx/>
                <a:latin typeface="Avenir Next LT Pro"/>
                <a:cs typeface="Arial"/>
              </a:rPr>
              <a:t>Young furniture buyers who want style at low cost, are willing to trade off service for cost, likely to have children, work for a living, and need to shop at odd hours.</a:t>
            </a:r>
          </a:p>
        </p:txBody>
      </p:sp>
      <p:sp>
        <p:nvSpPr>
          <p:cNvPr id="2051" name="Rectangle 2050">
            <a:extLst>
              <a:ext uri="{FF2B5EF4-FFF2-40B4-BE49-F238E27FC236}">
                <a16:creationId xmlns:a16="http://schemas.microsoft.com/office/drawing/2014/main" id="{87716BF6-3920-3E64-BCBB-078B913F7945}"/>
              </a:ext>
            </a:extLst>
          </p:cNvPr>
          <p:cNvSpPr/>
          <p:nvPr/>
        </p:nvSpPr>
        <p:spPr>
          <a:xfrm>
            <a:off x="2301419" y="1973949"/>
            <a:ext cx="2186052" cy="961794"/>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eaLnBrk="1" fontAlgn="auto" latinLnBrk="0" hangingPunct="1">
              <a:lnSpc>
                <a:spcPct val="100000"/>
              </a:lnSpc>
              <a:spcBef>
                <a:spcPts val="0"/>
              </a:spcBef>
              <a:spcAft>
                <a:spcPts val="600"/>
              </a:spcAft>
              <a:buClrTx/>
              <a:buSzTx/>
              <a:buFontTx/>
              <a:buNone/>
              <a:tabLst/>
              <a:defRPr/>
            </a:pPr>
            <a:r>
              <a:rPr kumimoji="0" lang="en-GB" sz="900" b="1" i="0" u="none" strike="noStrike" kern="1200" cap="none" spc="0" normalizeH="0" baseline="0" noProof="0">
                <a:ln>
                  <a:noFill/>
                </a:ln>
                <a:solidFill>
                  <a:sysClr val="windowText" lastClr="000000"/>
                </a:solidFill>
                <a:effectLst/>
                <a:uLnTx/>
                <a:uFillTx/>
                <a:latin typeface="Avenir Next LT Pro"/>
                <a:cs typeface="Arial"/>
              </a:rPr>
              <a:t>Product/Service Portfolio: </a:t>
            </a:r>
            <a:r>
              <a:rPr kumimoji="0" lang="en-GB" sz="900" i="0" u="none" strike="noStrike" kern="1200" cap="none" spc="0" normalizeH="0" baseline="0" noProof="0">
                <a:ln>
                  <a:noFill/>
                </a:ln>
                <a:solidFill>
                  <a:sysClr val="windowText" lastClr="000000"/>
                </a:solidFill>
                <a:effectLst/>
                <a:uLnTx/>
                <a:uFillTx/>
                <a:latin typeface="Avenir Next LT Pro"/>
                <a:cs typeface="Arial"/>
              </a:rPr>
              <a:t>M</a:t>
            </a:r>
            <a:r>
              <a:rPr kumimoji="0" lang="en-GB" sz="900" b="0" i="0" u="none" strike="noStrike" kern="1200" cap="none" spc="0" normalizeH="0" baseline="0" noProof="0">
                <a:ln>
                  <a:noFill/>
                </a:ln>
                <a:solidFill>
                  <a:sysClr val="windowText" lastClr="000000"/>
                </a:solidFill>
                <a:effectLst/>
                <a:uLnTx/>
                <a:uFillTx/>
                <a:latin typeface="Avenir Next LT Pro"/>
                <a:cs typeface="Arial"/>
              </a:rPr>
              <a:t>odular, ready-to-assemble furniture designed in-house, displayed in room-like settings with clear in-store displays, plus complementary services like in-store childcare and extended hours.</a:t>
            </a:r>
          </a:p>
        </p:txBody>
      </p:sp>
      <p:sp>
        <p:nvSpPr>
          <p:cNvPr id="2052" name="Rectangle 2051">
            <a:extLst>
              <a:ext uri="{FF2B5EF4-FFF2-40B4-BE49-F238E27FC236}">
                <a16:creationId xmlns:a16="http://schemas.microsoft.com/office/drawing/2014/main" id="{1D41F83F-9388-6621-F809-E4ECC036073D}"/>
              </a:ext>
            </a:extLst>
          </p:cNvPr>
          <p:cNvSpPr/>
          <p:nvPr/>
        </p:nvSpPr>
        <p:spPr>
          <a:xfrm>
            <a:off x="4571876" y="1973949"/>
            <a:ext cx="2277128" cy="961794"/>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eaLnBrk="1" fontAlgn="auto" latinLnBrk="0" hangingPunct="1">
              <a:lnSpc>
                <a:spcPct val="100000"/>
              </a:lnSpc>
              <a:spcBef>
                <a:spcPts val="0"/>
              </a:spcBef>
              <a:spcAft>
                <a:spcPts val="600"/>
              </a:spcAft>
              <a:buClrTx/>
              <a:buSzTx/>
              <a:buFontTx/>
              <a:buNone/>
              <a:tabLst/>
              <a:defRPr/>
            </a:pPr>
            <a:r>
              <a:rPr kumimoji="0" lang="en-GB" sz="900" b="1" i="0" u="none" strike="noStrike" kern="1200" cap="none" spc="0" normalizeH="0" baseline="0" noProof="0">
                <a:ln>
                  <a:noFill/>
                </a:ln>
                <a:solidFill>
                  <a:sysClr val="windowText" lastClr="000000"/>
                </a:solidFill>
                <a:effectLst/>
                <a:uLnTx/>
                <a:uFillTx/>
                <a:latin typeface="Avenir Next LT Pro"/>
                <a:cs typeface="Arial"/>
              </a:rPr>
              <a:t>Value Proposition Statement: </a:t>
            </a:r>
            <a:r>
              <a:rPr kumimoji="0" lang="en-GB" sz="900" b="0" i="0" u="none" strike="noStrike" kern="1200" cap="none" spc="0" normalizeH="0" baseline="0" noProof="0">
                <a:ln>
                  <a:noFill/>
                </a:ln>
                <a:solidFill>
                  <a:sysClr val="windowText" lastClr="000000"/>
                </a:solidFill>
                <a:effectLst/>
                <a:uLnTx/>
                <a:uFillTx/>
                <a:latin typeface="Avenir Next LT Pro"/>
                <a:cs typeface="Arial"/>
              </a:rPr>
              <a:t>"Democratic design accessibility" - stylish, affordable furniture that customers can take home immediately and assemble themselves, making good design accessible to everyone.</a:t>
            </a:r>
            <a:endParaRPr kumimoji="0" lang="en-GB" sz="900" b="0" i="1" u="none" strike="noStrike" kern="1200" cap="none" spc="0" normalizeH="0" baseline="0" noProof="0">
              <a:ln>
                <a:noFill/>
              </a:ln>
              <a:solidFill>
                <a:sysClr val="windowText" lastClr="000000"/>
              </a:solidFill>
              <a:effectLst/>
              <a:highlight>
                <a:srgbClr val="FFFF00"/>
              </a:highlight>
              <a:uLnTx/>
              <a:uFillTx/>
              <a:latin typeface="Avenir Next LT Pro"/>
              <a:cs typeface="Arial"/>
            </a:endParaRPr>
          </a:p>
        </p:txBody>
      </p:sp>
      <p:sp>
        <p:nvSpPr>
          <p:cNvPr id="2090" name="TextBox 2089">
            <a:extLst>
              <a:ext uri="{FF2B5EF4-FFF2-40B4-BE49-F238E27FC236}">
                <a16:creationId xmlns:a16="http://schemas.microsoft.com/office/drawing/2014/main" id="{E6BDB9CB-48F9-5DBB-5045-A2AB0ABBFA84}"/>
              </a:ext>
            </a:extLst>
          </p:cNvPr>
          <p:cNvSpPr txBox="1"/>
          <p:nvPr>
            <p:custDataLst>
              <p:tags r:id="rId17"/>
            </p:custDataLst>
          </p:nvPr>
        </p:nvSpPr>
        <p:spPr>
          <a:xfrm>
            <a:off x="1871492" y="3818824"/>
            <a:ext cx="736147" cy="430887"/>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Best-in-class</a:t>
            </a:r>
          </a:p>
        </p:txBody>
      </p:sp>
      <p:sp>
        <p:nvSpPr>
          <p:cNvPr id="2200" name="Rectangle 2199">
            <a:extLst>
              <a:ext uri="{FF2B5EF4-FFF2-40B4-BE49-F238E27FC236}">
                <a16:creationId xmlns:a16="http://schemas.microsoft.com/office/drawing/2014/main" id="{42B3FFE6-59E2-B678-EFF7-115E417D7106}"/>
              </a:ext>
            </a:extLst>
          </p:cNvPr>
          <p:cNvSpPr/>
          <p:nvPr/>
        </p:nvSpPr>
        <p:spPr>
          <a:xfrm>
            <a:off x="6929981" y="2999248"/>
            <a:ext cx="2277128" cy="777415"/>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eaLnBrk="1" fontAlgn="auto" latinLnBrk="0" hangingPunct="1">
              <a:lnSpc>
                <a:spcPct val="100000"/>
              </a:lnSpc>
              <a:spcBef>
                <a:spcPts val="0"/>
              </a:spcBef>
              <a:spcAft>
                <a:spcPts val="600"/>
              </a:spcAft>
              <a:buClrTx/>
              <a:buSzTx/>
              <a:buFontTx/>
              <a:buNone/>
              <a:tabLst/>
              <a:defRPr/>
            </a:pPr>
            <a:r>
              <a:rPr kumimoji="0" lang="en-GB" sz="900" b="1" i="0" u="none" strike="noStrike" kern="1200" cap="none" spc="0" normalizeH="0" baseline="0" noProof="0">
                <a:ln>
                  <a:noFill/>
                </a:ln>
                <a:solidFill>
                  <a:sysClr val="windowText" lastClr="000000"/>
                </a:solidFill>
                <a:effectLst/>
                <a:uLnTx/>
                <a:uFillTx/>
                <a:latin typeface="Avenir Next LT Pro"/>
                <a:cs typeface="Arial"/>
              </a:rPr>
              <a:t>Complements: </a:t>
            </a:r>
            <a:r>
              <a:rPr lang="en-GB" sz="900" noProof="0">
                <a:solidFill>
                  <a:sysClr val="windowText" lastClr="000000"/>
                </a:solidFill>
                <a:latin typeface="Avenir Next LT Pro"/>
                <a:cs typeface="Arial"/>
              </a:rPr>
              <a:t>R</a:t>
            </a:r>
            <a:r>
              <a:rPr kumimoji="0" lang="en-GB" sz="900" b="0" i="0" u="none" strike="noStrike" kern="1200" cap="none" spc="0" normalizeH="0" baseline="0" noProof="0">
                <a:ln>
                  <a:noFill/>
                </a:ln>
                <a:solidFill>
                  <a:sysClr val="windowText" lastClr="000000"/>
                </a:solidFill>
                <a:effectLst/>
                <a:uLnTx/>
                <a:uFillTx/>
                <a:latin typeface="Avenir Next LT Pro"/>
                <a:cs typeface="Arial"/>
              </a:rPr>
              <a:t>estaurants and food markets that make shopping trips more convenient; assembly services and car roof racks that support the self-service model.</a:t>
            </a:r>
            <a:endParaRPr kumimoji="0" lang="en-GB" sz="900" b="0" i="1" u="none" strike="noStrike" kern="1200" cap="none" spc="0" normalizeH="0" baseline="0" noProof="0">
              <a:ln>
                <a:noFill/>
              </a:ln>
              <a:solidFill>
                <a:sysClr val="windowText" lastClr="000000"/>
              </a:solidFill>
              <a:effectLst/>
              <a:highlight>
                <a:srgbClr val="FFFF00"/>
              </a:highlight>
              <a:uLnTx/>
              <a:uFillTx/>
              <a:latin typeface="Avenir Next LT Pro"/>
              <a:cs typeface="Arial"/>
            </a:endParaRPr>
          </a:p>
        </p:txBody>
      </p:sp>
      <p:sp>
        <p:nvSpPr>
          <p:cNvPr id="2207" name="Rectangle 2206">
            <a:extLst>
              <a:ext uri="{FF2B5EF4-FFF2-40B4-BE49-F238E27FC236}">
                <a16:creationId xmlns:a16="http://schemas.microsoft.com/office/drawing/2014/main" id="{BAA3CBA7-F1FC-E367-742C-7F9A916CD0C9}"/>
              </a:ext>
            </a:extLst>
          </p:cNvPr>
          <p:cNvSpPr/>
          <p:nvPr/>
        </p:nvSpPr>
        <p:spPr>
          <a:xfrm>
            <a:off x="6929981" y="1972275"/>
            <a:ext cx="2277128" cy="961794"/>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eaLnBrk="1" fontAlgn="auto" latinLnBrk="0" hangingPunct="1">
              <a:lnSpc>
                <a:spcPct val="100000"/>
              </a:lnSpc>
              <a:spcBef>
                <a:spcPts val="0"/>
              </a:spcBef>
              <a:spcAft>
                <a:spcPts val="600"/>
              </a:spcAft>
              <a:buClrTx/>
              <a:buSzTx/>
              <a:buFontTx/>
              <a:buNone/>
              <a:tabLst/>
              <a:defRPr/>
            </a:pPr>
            <a:r>
              <a:rPr kumimoji="0" lang="en-GB" sz="900" b="1" i="0" u="none" strike="noStrike" kern="1200" cap="none" spc="0" normalizeH="0" baseline="0" noProof="0">
                <a:ln>
                  <a:noFill/>
                </a:ln>
                <a:solidFill>
                  <a:sysClr val="windowText" lastClr="000000"/>
                </a:solidFill>
                <a:effectLst/>
                <a:uLnTx/>
                <a:uFillTx/>
                <a:latin typeface="Avenir Next LT Pro"/>
                <a:cs typeface="Arial"/>
              </a:rPr>
              <a:t>Cost-Reducing Attributes: </a:t>
            </a:r>
            <a:r>
              <a:rPr lang="en-GB" sz="900" noProof="0">
                <a:solidFill>
                  <a:sysClr val="windowText" lastClr="000000"/>
                </a:solidFill>
                <a:latin typeface="Avenir Next LT Pro"/>
                <a:cs typeface="Arial"/>
              </a:rPr>
              <a:t>Customer self-service model eliminates sales staff costs, customers handle their own pickup and delivery, flat-pack design reduces transportation and storage costs, and in-house design capabilities reduce supplier dependency.</a:t>
            </a:r>
            <a:endParaRPr kumimoji="0" lang="en-GB" sz="900" b="0" i="1" u="none" strike="noStrike" kern="1200" cap="none" spc="0" normalizeH="0" baseline="0" noProof="0">
              <a:ln>
                <a:noFill/>
              </a:ln>
              <a:solidFill>
                <a:sysClr val="windowText" lastClr="000000"/>
              </a:solidFill>
              <a:effectLst/>
              <a:highlight>
                <a:srgbClr val="FFFF00"/>
              </a:highlight>
              <a:uLnTx/>
              <a:uFillTx/>
              <a:latin typeface="Avenir Next LT Pro"/>
              <a:cs typeface="Arial"/>
            </a:endParaRPr>
          </a:p>
        </p:txBody>
      </p:sp>
      <p:sp>
        <p:nvSpPr>
          <p:cNvPr id="36" name="Arrow: Chevron 35">
            <a:extLst>
              <a:ext uri="{FF2B5EF4-FFF2-40B4-BE49-F238E27FC236}">
                <a16:creationId xmlns:a16="http://schemas.microsoft.com/office/drawing/2014/main" id="{80FC7613-7843-D266-11EA-64087134BE97}"/>
              </a:ext>
            </a:extLst>
          </p:cNvPr>
          <p:cNvSpPr/>
          <p:nvPr/>
        </p:nvSpPr>
        <p:spPr>
          <a:xfrm>
            <a:off x="8108917"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42" name="Arrow: Chevron 41">
            <a:extLst>
              <a:ext uri="{FF2B5EF4-FFF2-40B4-BE49-F238E27FC236}">
                <a16:creationId xmlns:a16="http://schemas.microsoft.com/office/drawing/2014/main" id="{2310C9E2-1D90-C3E3-8BBF-BE70142FFBFE}"/>
              </a:ext>
            </a:extLst>
          </p:cNvPr>
          <p:cNvSpPr/>
          <p:nvPr/>
        </p:nvSpPr>
        <p:spPr>
          <a:xfrm>
            <a:off x="9071675"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43" name="Arrow: Chevron 42">
            <a:extLst>
              <a:ext uri="{FF2B5EF4-FFF2-40B4-BE49-F238E27FC236}">
                <a16:creationId xmlns:a16="http://schemas.microsoft.com/office/drawing/2014/main" id="{400CE80F-BCD2-FB26-11E7-D4A83BBCA62D}"/>
              </a:ext>
            </a:extLst>
          </p:cNvPr>
          <p:cNvSpPr/>
          <p:nvPr/>
        </p:nvSpPr>
        <p:spPr>
          <a:xfrm>
            <a:off x="10034433"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45" name="Arrow: Chevron 44">
            <a:extLst>
              <a:ext uri="{FF2B5EF4-FFF2-40B4-BE49-F238E27FC236}">
                <a16:creationId xmlns:a16="http://schemas.microsoft.com/office/drawing/2014/main" id="{2C42040D-77DB-DF9E-E7F1-ABE48E0EB24D}"/>
              </a:ext>
            </a:extLst>
          </p:cNvPr>
          <p:cNvSpPr/>
          <p:nvPr/>
        </p:nvSpPr>
        <p:spPr>
          <a:xfrm>
            <a:off x="1099963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13855261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814053-9B71-9C98-3CDC-1FBBBDA8CA2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94C7944-A72F-0465-A26F-21761336B5F3}"/>
              </a:ext>
            </a:extLst>
          </p:cNvPr>
          <p:cNvGraphicFramePr>
            <a:graphicFrameLocks noChangeAspect="1"/>
          </p:cNvGraphicFramePr>
          <p:nvPr>
            <p:custDataLst>
              <p:tags r:id="rId1"/>
            </p:custDataLst>
            <p:extLst>
              <p:ext uri="{D42A27DB-BD31-4B8C-83A1-F6EECF244321}">
                <p14:modId xmlns:p14="http://schemas.microsoft.com/office/powerpoint/2010/main" val="268140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A94C7944-A72F-0465-A26F-21761336B5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CF36F99C-12B9-C103-7033-BB9FF4C67FEA}"/>
              </a:ext>
            </a:extLst>
          </p:cNvPr>
          <p:cNvGrpSpPr/>
          <p:nvPr/>
        </p:nvGrpSpPr>
        <p:grpSpPr>
          <a:xfrm>
            <a:off x="8417834" y="1059803"/>
            <a:ext cx="858274" cy="673623"/>
            <a:chOff x="368907" y="1700531"/>
            <a:chExt cx="4038920" cy="4275927"/>
          </a:xfrm>
          <a:effectLst/>
        </p:grpSpPr>
        <p:sp>
          <p:nvSpPr>
            <p:cNvPr id="10" name="Isosceles Triangle 9">
              <a:extLst>
                <a:ext uri="{FF2B5EF4-FFF2-40B4-BE49-F238E27FC236}">
                  <a16:creationId xmlns:a16="http://schemas.microsoft.com/office/drawing/2014/main" id="{4A0AE7E9-8A87-25BC-2C3A-E05767BD356F}"/>
                </a:ext>
              </a:extLst>
            </p:cNvPr>
            <p:cNvSpPr/>
            <p:nvPr/>
          </p:nvSpPr>
          <p:spPr>
            <a:xfrm>
              <a:off x="1792514" y="1700531"/>
              <a:ext cx="1191707" cy="1255807"/>
            </a:xfrm>
            <a:prstGeom prst="triangle">
              <a:avLst>
                <a:gd name="adj" fmla="val 49710"/>
              </a:avLst>
            </a:pr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sp>
          <p:nvSpPr>
            <p:cNvPr id="11" name="Isosceles Triangle 62">
              <a:extLst>
                <a:ext uri="{FF2B5EF4-FFF2-40B4-BE49-F238E27FC236}">
                  <a16:creationId xmlns:a16="http://schemas.microsoft.com/office/drawing/2014/main" id="{566A0390-CEB8-D92E-C491-B0E0EAD7E794}"/>
                </a:ext>
              </a:extLst>
            </p:cNvPr>
            <p:cNvSpPr/>
            <p:nvPr/>
          </p:nvSpPr>
          <p:spPr>
            <a:xfrm>
              <a:off x="1106945" y="2957333"/>
              <a:ext cx="2556494" cy="1456051"/>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481647" y="2614"/>
                  </a:lnTo>
                  <a:lnTo>
                    <a:pt x="1325344" y="0"/>
                  </a:lnTo>
                  <a:lnTo>
                    <a:pt x="1810264" y="968810"/>
                  </a:lnTo>
                  <a:lnTo>
                    <a:pt x="0" y="968810"/>
                  </a:lnTo>
                  <a:close/>
                </a:path>
              </a:pathLst>
            </a:cu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grpSp>
          <p:nvGrpSpPr>
            <p:cNvPr id="12" name="Group 11">
              <a:extLst>
                <a:ext uri="{FF2B5EF4-FFF2-40B4-BE49-F238E27FC236}">
                  <a16:creationId xmlns:a16="http://schemas.microsoft.com/office/drawing/2014/main" id="{E58390A1-E002-E73E-46C2-55D9F0FC2BB4}"/>
                </a:ext>
              </a:extLst>
            </p:cNvPr>
            <p:cNvGrpSpPr/>
            <p:nvPr/>
          </p:nvGrpSpPr>
          <p:grpSpPr>
            <a:xfrm>
              <a:off x="368907" y="2954958"/>
              <a:ext cx="4038920" cy="3021500"/>
              <a:chOff x="364847" y="3312617"/>
              <a:chExt cx="4038920" cy="3021500"/>
            </a:xfrm>
          </p:grpSpPr>
          <p:cxnSp>
            <p:nvCxnSpPr>
              <p:cNvPr id="13" name="Straight Connector 12">
                <a:extLst>
                  <a:ext uri="{FF2B5EF4-FFF2-40B4-BE49-F238E27FC236}">
                    <a16:creationId xmlns:a16="http://schemas.microsoft.com/office/drawing/2014/main" id="{D03828C5-D317-5770-9836-AE6A6F621EEE}"/>
                  </a:ext>
                </a:extLst>
              </p:cNvPr>
              <p:cNvCxnSpPr>
                <a:cxnSpLocks/>
              </p:cNvCxnSpPr>
              <p:nvPr/>
            </p:nvCxnSpPr>
            <p:spPr>
              <a:xfrm>
                <a:off x="1110997" y="4771043"/>
                <a:ext cx="254556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Isosceles Triangle 62">
                <a:extLst>
                  <a:ext uri="{FF2B5EF4-FFF2-40B4-BE49-F238E27FC236}">
                    <a16:creationId xmlns:a16="http://schemas.microsoft.com/office/drawing/2014/main" id="{C51BDB31-1539-9B90-8DE6-27BA862B6323}"/>
                  </a:ext>
                </a:extLst>
              </p:cNvPr>
              <p:cNvSpPr/>
              <p:nvPr/>
            </p:nvSpPr>
            <p:spPr>
              <a:xfrm>
                <a:off x="364847" y="4771043"/>
                <a:ext cx="4038920" cy="1562778"/>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476069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326400" y="396"/>
                    </a:lnTo>
                    <a:lnTo>
                      <a:pt x="1476069" y="0"/>
                    </a:lnTo>
                    <a:lnTo>
                      <a:pt x="1810264" y="968810"/>
                    </a:lnTo>
                    <a:lnTo>
                      <a:pt x="0" y="968810"/>
                    </a:lnTo>
                    <a:close/>
                  </a:path>
                </a:pathLst>
              </a:custGeom>
              <a:solidFill>
                <a:srgbClr val="FFC493"/>
              </a:solidFill>
              <a:ln w="9525">
                <a:solidFill>
                  <a:srgbClr val="DE6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cxnSp>
            <p:nvCxnSpPr>
              <p:cNvPr id="15" name="Straight Connector 14">
                <a:extLst>
                  <a:ext uri="{FF2B5EF4-FFF2-40B4-BE49-F238E27FC236}">
                    <a16:creationId xmlns:a16="http://schemas.microsoft.com/office/drawing/2014/main" id="{C8603606-301F-9D09-9B44-050C9AE2FC1C}"/>
                  </a:ext>
                </a:extLst>
              </p:cNvPr>
              <p:cNvCxnSpPr>
                <a:cxnSpLocks/>
              </p:cNvCxnSpPr>
              <p:nvPr/>
            </p:nvCxnSpPr>
            <p:spPr>
              <a:xfrm flipH="1">
                <a:off x="1833796" y="3312617"/>
                <a:ext cx="287660" cy="148830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7895188-EC2C-B37F-506D-9EDD40393A92}"/>
                  </a:ext>
                </a:extLst>
              </p:cNvPr>
              <p:cNvCxnSpPr>
                <a:cxnSpLocks/>
              </p:cNvCxnSpPr>
              <p:nvPr/>
            </p:nvCxnSpPr>
            <p:spPr>
              <a:xfrm>
                <a:off x="2562892" y="4771043"/>
                <a:ext cx="106051" cy="1562778"/>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FF58D18-8A3F-BAC9-3D48-601E6E1682EA}"/>
                  </a:ext>
                </a:extLst>
              </p:cNvPr>
              <p:cNvCxnSpPr>
                <a:cxnSpLocks/>
              </p:cNvCxnSpPr>
              <p:nvPr/>
            </p:nvCxnSpPr>
            <p:spPr>
              <a:xfrm flipH="1">
                <a:off x="2089604" y="4771042"/>
                <a:ext cx="76090" cy="1562779"/>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1793B4E-EBD2-120F-52A6-BF380B81300D}"/>
                  </a:ext>
                </a:extLst>
              </p:cNvPr>
              <p:cNvCxnSpPr>
                <a:cxnSpLocks/>
              </p:cNvCxnSpPr>
              <p:nvPr/>
            </p:nvCxnSpPr>
            <p:spPr>
              <a:xfrm flipH="1">
                <a:off x="957027" y="4771042"/>
                <a:ext cx="526604" cy="1562779"/>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D833A5B-B2B7-458F-4887-469BC514033A}"/>
                  </a:ext>
                </a:extLst>
              </p:cNvPr>
              <p:cNvCxnSpPr>
                <a:cxnSpLocks/>
              </p:cNvCxnSpPr>
              <p:nvPr/>
            </p:nvCxnSpPr>
            <p:spPr>
              <a:xfrm>
                <a:off x="2706590" y="3312617"/>
                <a:ext cx="267090" cy="145942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3F1F9EB-47D2-B3F3-C2FA-0E6F8017012E}"/>
                  </a:ext>
                </a:extLst>
              </p:cNvPr>
              <p:cNvCxnSpPr>
                <a:cxnSpLocks/>
              </p:cNvCxnSpPr>
              <p:nvPr/>
            </p:nvCxnSpPr>
            <p:spPr>
              <a:xfrm>
                <a:off x="3336756" y="4771043"/>
                <a:ext cx="506582" cy="1563074"/>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5C0EF2A-B94B-49FB-5CD3-DB002BF47983}"/>
                  </a:ext>
                </a:extLst>
              </p:cNvPr>
              <p:cNvCxnSpPr>
                <a:cxnSpLocks/>
              </p:cNvCxnSpPr>
              <p:nvPr/>
            </p:nvCxnSpPr>
            <p:spPr>
              <a:xfrm flipH="1">
                <a:off x="1539549" y="4772039"/>
                <a:ext cx="300668" cy="1561783"/>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F0074C1-A2C3-C8E7-E251-422E69C63533}"/>
                  </a:ext>
                </a:extLst>
              </p:cNvPr>
              <p:cNvCxnSpPr>
                <a:cxnSpLocks/>
              </p:cNvCxnSpPr>
              <p:nvPr/>
            </p:nvCxnSpPr>
            <p:spPr>
              <a:xfrm>
                <a:off x="2973680" y="4778378"/>
                <a:ext cx="284662" cy="1555443"/>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4A06C64-F59F-C699-C91A-231E1EAD4160}"/>
                  </a:ext>
                </a:extLst>
              </p:cNvPr>
              <p:cNvCxnSpPr>
                <a:cxnSpLocks/>
                <a:stCxn id="14" idx="1"/>
                <a:endCxn id="11" idx="3"/>
              </p:cNvCxnSpPr>
              <p:nvPr/>
            </p:nvCxnSpPr>
            <p:spPr>
              <a:xfrm flipV="1">
                <a:off x="1093085" y="4771043"/>
                <a:ext cx="2566294" cy="640"/>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grpSp>
      </p:grpSp>
      <p:sp>
        <p:nvSpPr>
          <p:cNvPr id="2" name="Title 1">
            <a:extLst>
              <a:ext uri="{FF2B5EF4-FFF2-40B4-BE49-F238E27FC236}">
                <a16:creationId xmlns:a16="http://schemas.microsoft.com/office/drawing/2014/main" id="{7C55355E-E956-2193-F31D-B28D324165E8}"/>
              </a:ext>
            </a:extLst>
          </p:cNvPr>
          <p:cNvSpPr>
            <a:spLocks noGrp="1"/>
          </p:cNvSpPr>
          <p:nvPr>
            <p:ph type="title"/>
          </p:nvPr>
        </p:nvSpPr>
        <p:spPr>
          <a:xfrm>
            <a:off x="137786" y="125260"/>
            <a:ext cx="6752298" cy="806754"/>
          </a:xfrm>
        </p:spPr>
        <p:txBody>
          <a:bodyPr vert="horz">
            <a:normAutofit fontScale="90000"/>
          </a:bodyPr>
          <a:lstStyle/>
          <a:p>
            <a:pPr algn="ctr"/>
            <a:r>
              <a:rPr lang="en-GB" b="1" noProof="0"/>
              <a:t>Design Choices for each Value Proposition</a:t>
            </a:r>
          </a:p>
        </p:txBody>
      </p:sp>
      <p:sp>
        <p:nvSpPr>
          <p:cNvPr id="38" name="Rectangle 37">
            <a:extLst>
              <a:ext uri="{FF2B5EF4-FFF2-40B4-BE49-F238E27FC236}">
                <a16:creationId xmlns:a16="http://schemas.microsoft.com/office/drawing/2014/main" id="{2CE96FC8-7097-19C6-87B2-835674BBDED0}"/>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200" b="1" noProof="0">
                <a:solidFill>
                  <a:schemeClr val="tx1"/>
                </a:solidFill>
                <a:latin typeface="Avenir Next LT Pro" panose="020B0504020202020204" pitchFamily="34" charset="0"/>
              </a:rPr>
              <a:t>A subset of three strategic choices </a:t>
            </a:r>
            <a:r>
              <a:rPr lang="en-GB" sz="1200" noProof="0">
                <a:solidFill>
                  <a:schemeClr val="tx1"/>
                </a:solidFill>
                <a:latin typeface="Avenir Next LT Pro" panose="020B0504020202020204" pitchFamily="34" charset="0"/>
              </a:rPr>
              <a:t>determine whether your offering will create sustainable competitive advantage.</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Avoid trying to be “everything to everyone”.</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Try to understand the broader set of alternatives customers consider.</a:t>
            </a:r>
          </a:p>
          <a:p>
            <a:pPr marL="285750" indent="-285750">
              <a:spcAft>
                <a:spcPts val="600"/>
              </a:spcAft>
              <a:buFont typeface="Arial" panose="020B0604020202020204" pitchFamily="34" charset="0"/>
              <a:buChar char="•"/>
            </a:pPr>
            <a:endParaRPr lang="en-GB" sz="1200" noProof="0">
              <a:solidFill>
                <a:schemeClr val="tx1"/>
              </a:solidFill>
              <a:latin typeface="Avenir Next LT Pro" panose="020B0504020202020204" pitchFamily="34" charset="0"/>
            </a:endParaRPr>
          </a:p>
        </p:txBody>
      </p:sp>
      <p:sp>
        <p:nvSpPr>
          <p:cNvPr id="77" name="TextBox 36">
            <a:extLst>
              <a:ext uri="{FF2B5EF4-FFF2-40B4-BE49-F238E27FC236}">
                <a16:creationId xmlns:a16="http://schemas.microsoft.com/office/drawing/2014/main" id="{348A0C8A-3F07-F373-B470-1C0B7157C96D}"/>
              </a:ext>
            </a:extLst>
          </p:cNvPr>
          <p:cNvSpPr txBox="1"/>
          <p:nvPr/>
        </p:nvSpPr>
        <p:spPr>
          <a:xfrm>
            <a:off x="1784743" y="1394176"/>
            <a:ext cx="5105341" cy="215444"/>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400" b="1" noProof="0">
                <a:latin typeface="Avenir LT Pro 45Book"/>
              </a:rPr>
              <a:t>The Subset of 3 Strategic Choices that determines advantage</a:t>
            </a:r>
          </a:p>
        </p:txBody>
      </p:sp>
      <p:cxnSp>
        <p:nvCxnSpPr>
          <p:cNvPr id="25" name="Straight Connector 24">
            <a:extLst>
              <a:ext uri="{FF2B5EF4-FFF2-40B4-BE49-F238E27FC236}">
                <a16:creationId xmlns:a16="http://schemas.microsoft.com/office/drawing/2014/main" id="{C0777719-DF27-866E-6706-842B5C27A766}"/>
              </a:ext>
            </a:extLst>
          </p:cNvPr>
          <p:cNvCxnSpPr>
            <a:cxnSpLocks/>
          </p:cNvCxnSpPr>
          <p:nvPr/>
        </p:nvCxnSpPr>
        <p:spPr>
          <a:xfrm>
            <a:off x="2976663" y="2444066"/>
            <a:ext cx="0" cy="3091320"/>
          </a:xfrm>
          <a:prstGeom prst="line">
            <a:avLst/>
          </a:prstGeom>
          <a:ln w="127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30115324-9009-B345-92A2-048E8284124D}"/>
              </a:ext>
            </a:extLst>
          </p:cNvPr>
          <p:cNvCxnSpPr>
            <a:cxnSpLocks/>
          </p:cNvCxnSpPr>
          <p:nvPr/>
        </p:nvCxnSpPr>
        <p:spPr>
          <a:xfrm>
            <a:off x="5991150" y="2490281"/>
            <a:ext cx="10376" cy="3045105"/>
          </a:xfrm>
          <a:prstGeom prst="line">
            <a:avLst/>
          </a:prstGeom>
          <a:ln w="12700">
            <a:solidFill>
              <a:schemeClr val="tx2"/>
            </a:solidFill>
          </a:ln>
        </p:spPr>
        <p:style>
          <a:lnRef idx="2">
            <a:schemeClr val="accent1"/>
          </a:lnRef>
          <a:fillRef idx="0">
            <a:schemeClr val="accent1"/>
          </a:fillRef>
          <a:effectRef idx="1">
            <a:schemeClr val="accent1"/>
          </a:effectRef>
          <a:fontRef idx="minor">
            <a:schemeClr val="tx1"/>
          </a:fontRef>
        </p:style>
      </p:cxnSp>
      <p:sp>
        <p:nvSpPr>
          <p:cNvPr id="27" name="TextBox 36">
            <a:extLst>
              <a:ext uri="{FF2B5EF4-FFF2-40B4-BE49-F238E27FC236}">
                <a16:creationId xmlns:a16="http://schemas.microsoft.com/office/drawing/2014/main" id="{7D263A93-8DEF-C58B-44B4-DB501FB48245}"/>
              </a:ext>
            </a:extLst>
          </p:cNvPr>
          <p:cNvSpPr txBox="1"/>
          <p:nvPr/>
        </p:nvSpPr>
        <p:spPr>
          <a:xfrm>
            <a:off x="202325" y="1940560"/>
            <a:ext cx="2608268" cy="430887"/>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400" noProof="0">
                <a:latin typeface="Avenir LT Pro 45Book"/>
              </a:rPr>
              <a:t>1. Selection of Value</a:t>
            </a:r>
          </a:p>
          <a:p>
            <a:pPr algn="ctr"/>
            <a:r>
              <a:rPr lang="en-GB" sz="1400" noProof="0">
                <a:latin typeface="Avenir LT Pro 45Book"/>
              </a:rPr>
              <a:t>Attributes to Focus on</a:t>
            </a:r>
          </a:p>
        </p:txBody>
      </p:sp>
      <p:sp>
        <p:nvSpPr>
          <p:cNvPr id="28" name="TextBox 36">
            <a:extLst>
              <a:ext uri="{FF2B5EF4-FFF2-40B4-BE49-F238E27FC236}">
                <a16:creationId xmlns:a16="http://schemas.microsoft.com/office/drawing/2014/main" id="{481F0071-5DB9-2AFC-5EA4-3300A0966194}"/>
              </a:ext>
            </a:extLst>
          </p:cNvPr>
          <p:cNvSpPr txBox="1"/>
          <p:nvPr/>
        </p:nvSpPr>
        <p:spPr>
          <a:xfrm>
            <a:off x="3157265" y="1940560"/>
            <a:ext cx="2608268" cy="430887"/>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400" noProof="0">
                <a:latin typeface="Avenir LT Pro 45Book"/>
              </a:rPr>
              <a:t>2. Choice of Competitive Benchmarks</a:t>
            </a:r>
          </a:p>
        </p:txBody>
      </p:sp>
      <p:sp>
        <p:nvSpPr>
          <p:cNvPr id="29" name="TextBox 36">
            <a:extLst>
              <a:ext uri="{FF2B5EF4-FFF2-40B4-BE49-F238E27FC236}">
                <a16:creationId xmlns:a16="http://schemas.microsoft.com/office/drawing/2014/main" id="{C370AD44-CAD9-F275-29C1-4342AC856195}"/>
              </a:ext>
            </a:extLst>
          </p:cNvPr>
          <p:cNvSpPr txBox="1"/>
          <p:nvPr/>
        </p:nvSpPr>
        <p:spPr>
          <a:xfrm>
            <a:off x="6470532" y="2044247"/>
            <a:ext cx="2608268" cy="215444"/>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400" noProof="0">
                <a:latin typeface="Avenir LT Pro 45Book"/>
              </a:rPr>
              <a:t>3. Value Innovation Design</a:t>
            </a:r>
          </a:p>
        </p:txBody>
      </p:sp>
      <p:sp>
        <p:nvSpPr>
          <p:cNvPr id="30" name="TextBox 36">
            <a:extLst>
              <a:ext uri="{FF2B5EF4-FFF2-40B4-BE49-F238E27FC236}">
                <a16:creationId xmlns:a16="http://schemas.microsoft.com/office/drawing/2014/main" id="{403614E7-A966-B566-CDF9-48B8E0D72930}"/>
              </a:ext>
            </a:extLst>
          </p:cNvPr>
          <p:cNvSpPr txBox="1"/>
          <p:nvPr/>
        </p:nvSpPr>
        <p:spPr>
          <a:xfrm>
            <a:off x="202325" y="3152001"/>
            <a:ext cx="2608268" cy="1477328"/>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200" noProof="0">
                <a:solidFill>
                  <a:srgbClr val="464646"/>
                </a:solidFill>
                <a:latin typeface="Avenir LT Pro 45Book"/>
              </a:rPr>
              <a:t>Focus on Attributes that cascade directly your from strategic positioning archetypes.</a:t>
            </a:r>
          </a:p>
          <a:p>
            <a:pPr marL="285750" indent="-285750">
              <a:buFont typeface="Arial" panose="020B0604020202020204" pitchFamily="34" charset="0"/>
              <a:buChar char="•"/>
            </a:pPr>
            <a:endParaRPr lang="en-GB" sz="1200" noProof="0">
              <a:solidFill>
                <a:srgbClr val="464646"/>
              </a:solidFill>
              <a:latin typeface="Avenir LT Pro 45Book"/>
            </a:endParaRPr>
          </a:p>
          <a:p>
            <a:pPr marL="285750" indent="-285750">
              <a:buFont typeface="Arial" panose="020B0604020202020204" pitchFamily="34" charset="0"/>
              <a:buChar char="•"/>
            </a:pPr>
            <a:r>
              <a:rPr lang="en-GB" sz="1200" noProof="0">
                <a:solidFill>
                  <a:srgbClr val="464646"/>
                </a:solidFill>
                <a:latin typeface="Avenir LT Pro 45Book"/>
              </a:rPr>
              <a:t>Breakthrough Value Propositions often focus intensely on just 3-5 factors while systematically reducing or eliminating others.</a:t>
            </a:r>
          </a:p>
        </p:txBody>
      </p:sp>
      <p:sp>
        <p:nvSpPr>
          <p:cNvPr id="31" name="TextBox 36">
            <a:extLst>
              <a:ext uri="{FF2B5EF4-FFF2-40B4-BE49-F238E27FC236}">
                <a16:creationId xmlns:a16="http://schemas.microsoft.com/office/drawing/2014/main" id="{46378C2F-2036-08E2-A011-D080C776EC57}"/>
              </a:ext>
            </a:extLst>
          </p:cNvPr>
          <p:cNvSpPr txBox="1"/>
          <p:nvPr/>
        </p:nvSpPr>
        <p:spPr>
          <a:xfrm>
            <a:off x="3282250" y="3152001"/>
            <a:ext cx="2608268" cy="1661993"/>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200" noProof="0">
                <a:solidFill>
                  <a:srgbClr val="464646"/>
                </a:solidFill>
                <a:latin typeface="Avenir LT Pro 45Book"/>
              </a:rPr>
              <a:t>Do not benchmark against all competitors, choose the most relevant ones.</a:t>
            </a:r>
          </a:p>
          <a:p>
            <a:pPr marL="285750" indent="-285750">
              <a:buFont typeface="Arial" panose="020B0604020202020204" pitchFamily="34" charset="0"/>
              <a:buChar char="•"/>
            </a:pPr>
            <a:endParaRPr lang="en-GB" sz="1200" noProof="0">
              <a:solidFill>
                <a:srgbClr val="464646"/>
              </a:solidFill>
              <a:latin typeface="Avenir LT Pro 45Book"/>
            </a:endParaRPr>
          </a:p>
          <a:p>
            <a:pPr marL="285750" indent="-285750">
              <a:buFont typeface="Arial" panose="020B0604020202020204" pitchFamily="34" charset="0"/>
              <a:buChar char="•"/>
            </a:pPr>
            <a:r>
              <a:rPr lang="en-GB" sz="1200" noProof="0">
                <a:solidFill>
                  <a:srgbClr val="464646"/>
                </a:solidFill>
                <a:latin typeface="Avenir LT Pro 45Book"/>
              </a:rPr>
              <a:t>Strategic Group Analysis options:</a:t>
            </a:r>
          </a:p>
          <a:p>
            <a:pPr marL="742950" lvl="1" indent="-285750">
              <a:buFont typeface="Arial" panose="020B0604020202020204" pitchFamily="34" charset="0"/>
              <a:buChar char="•"/>
            </a:pPr>
            <a:r>
              <a:rPr lang="en-GB" sz="1200" noProof="0">
                <a:solidFill>
                  <a:srgbClr val="464646"/>
                </a:solidFill>
                <a:latin typeface="Avenir LT Pro 45Book"/>
              </a:rPr>
              <a:t>Direct competitors</a:t>
            </a:r>
          </a:p>
          <a:p>
            <a:pPr marL="742950" lvl="1" indent="-285750">
              <a:buFont typeface="Arial" panose="020B0604020202020204" pitchFamily="34" charset="0"/>
              <a:buChar char="•"/>
            </a:pPr>
            <a:r>
              <a:rPr lang="en-GB" sz="1200" noProof="0">
                <a:solidFill>
                  <a:srgbClr val="464646"/>
                </a:solidFill>
                <a:latin typeface="Avenir LT Pro 45Book"/>
              </a:rPr>
              <a:t>Indirect competitors</a:t>
            </a:r>
          </a:p>
          <a:p>
            <a:pPr marL="742950" lvl="1" indent="-285750">
              <a:buFont typeface="Arial" panose="020B0604020202020204" pitchFamily="34" charset="0"/>
              <a:buChar char="•"/>
            </a:pPr>
            <a:r>
              <a:rPr lang="en-GB" sz="1200" noProof="0">
                <a:solidFill>
                  <a:srgbClr val="464646"/>
                </a:solidFill>
                <a:latin typeface="Avenir LT Pro 45Book"/>
              </a:rPr>
              <a:t>Adjacent industries</a:t>
            </a:r>
          </a:p>
          <a:p>
            <a:pPr marL="742950" lvl="1" indent="-285750">
              <a:buFont typeface="Arial" panose="020B0604020202020204" pitchFamily="34" charset="0"/>
              <a:buChar char="•"/>
            </a:pPr>
            <a:r>
              <a:rPr lang="en-GB" sz="1200" noProof="0">
                <a:solidFill>
                  <a:srgbClr val="464646"/>
                </a:solidFill>
                <a:latin typeface="Avenir LT Pro 45Book"/>
              </a:rPr>
              <a:t>Non-consumption</a:t>
            </a:r>
          </a:p>
        </p:txBody>
      </p:sp>
      <p:grpSp>
        <p:nvGrpSpPr>
          <p:cNvPr id="41" name="Group 40">
            <a:extLst>
              <a:ext uri="{FF2B5EF4-FFF2-40B4-BE49-F238E27FC236}">
                <a16:creationId xmlns:a16="http://schemas.microsoft.com/office/drawing/2014/main" id="{23C58360-CB3E-88BB-21F5-93FD6B5F6D61}"/>
              </a:ext>
            </a:extLst>
          </p:cNvPr>
          <p:cNvGrpSpPr/>
          <p:nvPr/>
        </p:nvGrpSpPr>
        <p:grpSpPr>
          <a:xfrm>
            <a:off x="7071526" y="2602893"/>
            <a:ext cx="1346308" cy="969819"/>
            <a:chOff x="7024756" y="2521409"/>
            <a:chExt cx="1346308" cy="1346308"/>
          </a:xfrm>
        </p:grpSpPr>
        <p:cxnSp>
          <p:nvCxnSpPr>
            <p:cNvPr id="33" name="Straight Connector 32">
              <a:extLst>
                <a:ext uri="{FF2B5EF4-FFF2-40B4-BE49-F238E27FC236}">
                  <a16:creationId xmlns:a16="http://schemas.microsoft.com/office/drawing/2014/main" id="{2C419327-D5D1-8A06-2046-CCFCED87944C}"/>
                </a:ext>
              </a:extLst>
            </p:cNvPr>
            <p:cNvCxnSpPr>
              <a:cxnSpLocks/>
            </p:cNvCxnSpPr>
            <p:nvPr/>
          </p:nvCxnSpPr>
          <p:spPr>
            <a:xfrm flipH="1">
              <a:off x="7696126" y="2521409"/>
              <a:ext cx="3568" cy="1346308"/>
            </a:xfrm>
            <a:prstGeom prst="line">
              <a:avLst/>
            </a:prstGeom>
            <a:ln w="127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4DDEA333-05D1-1318-5468-029A5D3F9292}"/>
                </a:ext>
              </a:extLst>
            </p:cNvPr>
            <p:cNvCxnSpPr>
              <a:cxnSpLocks/>
            </p:cNvCxnSpPr>
            <p:nvPr/>
          </p:nvCxnSpPr>
          <p:spPr>
            <a:xfrm rot="5400000" flipH="1">
              <a:off x="7696126" y="2521409"/>
              <a:ext cx="3568" cy="1346308"/>
            </a:xfrm>
            <a:prstGeom prst="line">
              <a:avLst/>
            </a:prstGeom>
            <a:ln w="12700">
              <a:solidFill>
                <a:schemeClr val="tx2"/>
              </a:solidFill>
            </a:ln>
          </p:spPr>
          <p:style>
            <a:lnRef idx="2">
              <a:schemeClr val="accent1"/>
            </a:lnRef>
            <a:fillRef idx="0">
              <a:schemeClr val="accent1"/>
            </a:fillRef>
            <a:effectRef idx="1">
              <a:schemeClr val="accent1"/>
            </a:effectRef>
            <a:fontRef idx="minor">
              <a:schemeClr val="tx1"/>
            </a:fontRef>
          </p:style>
        </p:cxnSp>
      </p:grpSp>
      <p:sp>
        <p:nvSpPr>
          <p:cNvPr id="42" name="TextBox 41">
            <a:extLst>
              <a:ext uri="{FF2B5EF4-FFF2-40B4-BE49-F238E27FC236}">
                <a16:creationId xmlns:a16="http://schemas.microsoft.com/office/drawing/2014/main" id="{7A717000-E4C5-B3B1-62C1-205B14104452}"/>
              </a:ext>
            </a:extLst>
          </p:cNvPr>
          <p:cNvSpPr txBox="1"/>
          <p:nvPr/>
        </p:nvSpPr>
        <p:spPr>
          <a:xfrm>
            <a:off x="6894180" y="2698353"/>
            <a:ext cx="828797" cy="276999"/>
          </a:xfrm>
          <a:prstGeom prst="rect">
            <a:avLst/>
          </a:prstGeom>
          <a:noFill/>
        </p:spPr>
        <p:txBody>
          <a:bodyPr wrap="square" rtlCol="0">
            <a:spAutoFit/>
          </a:bodyPr>
          <a:lstStyle/>
          <a:p>
            <a:pPr algn="r"/>
            <a:r>
              <a:rPr lang="en-GB" sz="1200" noProof="0">
                <a:solidFill>
                  <a:srgbClr val="464646"/>
                </a:solidFill>
                <a:latin typeface="Avenir LT Pro 45Book"/>
              </a:rPr>
              <a:t>Eliminate</a:t>
            </a:r>
          </a:p>
        </p:txBody>
      </p:sp>
      <p:sp>
        <p:nvSpPr>
          <p:cNvPr id="43" name="TextBox 42">
            <a:extLst>
              <a:ext uri="{FF2B5EF4-FFF2-40B4-BE49-F238E27FC236}">
                <a16:creationId xmlns:a16="http://schemas.microsoft.com/office/drawing/2014/main" id="{FF7DF7CC-0709-6210-3EAA-95867F8BE0F1}"/>
              </a:ext>
            </a:extLst>
          </p:cNvPr>
          <p:cNvSpPr txBox="1"/>
          <p:nvPr/>
        </p:nvSpPr>
        <p:spPr>
          <a:xfrm>
            <a:off x="7743788" y="2698353"/>
            <a:ext cx="828797" cy="276999"/>
          </a:xfrm>
          <a:prstGeom prst="rect">
            <a:avLst/>
          </a:prstGeom>
          <a:noFill/>
        </p:spPr>
        <p:txBody>
          <a:bodyPr wrap="square" rtlCol="0">
            <a:spAutoFit/>
          </a:bodyPr>
          <a:lstStyle/>
          <a:p>
            <a:r>
              <a:rPr lang="en-GB" sz="1200" noProof="0">
                <a:solidFill>
                  <a:srgbClr val="464646"/>
                </a:solidFill>
                <a:latin typeface="Avenir LT Pro 45Book"/>
              </a:rPr>
              <a:t>Reduce</a:t>
            </a:r>
          </a:p>
        </p:txBody>
      </p:sp>
      <p:sp>
        <p:nvSpPr>
          <p:cNvPr id="44" name="TextBox 43">
            <a:extLst>
              <a:ext uri="{FF2B5EF4-FFF2-40B4-BE49-F238E27FC236}">
                <a16:creationId xmlns:a16="http://schemas.microsoft.com/office/drawing/2014/main" id="{6D38F825-11A9-A3A5-215B-40CF2C441DCC}"/>
              </a:ext>
            </a:extLst>
          </p:cNvPr>
          <p:cNvSpPr txBox="1"/>
          <p:nvPr/>
        </p:nvSpPr>
        <p:spPr>
          <a:xfrm>
            <a:off x="6894180" y="3152001"/>
            <a:ext cx="828797" cy="276999"/>
          </a:xfrm>
          <a:prstGeom prst="rect">
            <a:avLst/>
          </a:prstGeom>
          <a:noFill/>
        </p:spPr>
        <p:txBody>
          <a:bodyPr wrap="square" rtlCol="0">
            <a:spAutoFit/>
          </a:bodyPr>
          <a:lstStyle/>
          <a:p>
            <a:pPr algn="r"/>
            <a:r>
              <a:rPr lang="en-GB" sz="1200" noProof="0">
                <a:solidFill>
                  <a:srgbClr val="464646"/>
                </a:solidFill>
                <a:latin typeface="Avenir LT Pro 45Book"/>
              </a:rPr>
              <a:t>Raise</a:t>
            </a:r>
          </a:p>
        </p:txBody>
      </p:sp>
      <p:sp>
        <p:nvSpPr>
          <p:cNvPr id="45" name="TextBox 44">
            <a:extLst>
              <a:ext uri="{FF2B5EF4-FFF2-40B4-BE49-F238E27FC236}">
                <a16:creationId xmlns:a16="http://schemas.microsoft.com/office/drawing/2014/main" id="{93BF985D-4726-36EC-D015-9FFD0AD92F62}"/>
              </a:ext>
            </a:extLst>
          </p:cNvPr>
          <p:cNvSpPr txBox="1"/>
          <p:nvPr/>
        </p:nvSpPr>
        <p:spPr>
          <a:xfrm>
            <a:off x="7743788" y="3152001"/>
            <a:ext cx="828797" cy="276999"/>
          </a:xfrm>
          <a:prstGeom prst="rect">
            <a:avLst/>
          </a:prstGeom>
          <a:noFill/>
        </p:spPr>
        <p:txBody>
          <a:bodyPr wrap="square" rtlCol="0">
            <a:spAutoFit/>
          </a:bodyPr>
          <a:lstStyle/>
          <a:p>
            <a:r>
              <a:rPr lang="en-GB" sz="1200" noProof="0">
                <a:solidFill>
                  <a:srgbClr val="464646"/>
                </a:solidFill>
                <a:latin typeface="Avenir LT Pro 45Book"/>
              </a:rPr>
              <a:t>Create</a:t>
            </a:r>
          </a:p>
        </p:txBody>
      </p:sp>
      <p:sp>
        <p:nvSpPr>
          <p:cNvPr id="46" name="TextBox 36">
            <a:extLst>
              <a:ext uri="{FF2B5EF4-FFF2-40B4-BE49-F238E27FC236}">
                <a16:creationId xmlns:a16="http://schemas.microsoft.com/office/drawing/2014/main" id="{CD5D54B6-7080-0288-CF38-EBE7AFCFF41C}"/>
              </a:ext>
            </a:extLst>
          </p:cNvPr>
          <p:cNvSpPr txBox="1"/>
          <p:nvPr/>
        </p:nvSpPr>
        <p:spPr>
          <a:xfrm>
            <a:off x="6492314" y="3891892"/>
            <a:ext cx="2608268" cy="1477328"/>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200" noProof="0">
                <a:solidFill>
                  <a:srgbClr val="464646"/>
                </a:solidFill>
                <a:latin typeface="Avenir LT Pro 45Book"/>
              </a:rPr>
              <a:t>Consider the four actions above to differentiate your offering and reduce costs through systematic value innovation.</a:t>
            </a:r>
          </a:p>
          <a:p>
            <a:pPr marL="285750" indent="-285750">
              <a:buFont typeface="Arial" panose="020B0604020202020204" pitchFamily="34" charset="0"/>
              <a:buChar char="•"/>
            </a:pPr>
            <a:r>
              <a:rPr lang="en-GB" sz="1200" noProof="0">
                <a:solidFill>
                  <a:srgbClr val="464646"/>
                </a:solidFill>
                <a:latin typeface="Avenir LT Pro 45Book"/>
              </a:rPr>
              <a:t>Ensure that you:</a:t>
            </a:r>
          </a:p>
          <a:p>
            <a:pPr marL="742950" lvl="1" indent="-285750">
              <a:buFont typeface="Arial" panose="020B0604020202020204" pitchFamily="34" charset="0"/>
              <a:buChar char="•"/>
            </a:pPr>
            <a:r>
              <a:rPr lang="en-GB" sz="1200" noProof="0">
                <a:solidFill>
                  <a:srgbClr val="464646"/>
                </a:solidFill>
                <a:latin typeface="Avenir LT Pro 45Book"/>
              </a:rPr>
              <a:t>Focus on select factors</a:t>
            </a:r>
          </a:p>
          <a:p>
            <a:pPr marL="742950" lvl="1" indent="-285750">
              <a:buFont typeface="Arial" panose="020B0604020202020204" pitchFamily="34" charset="0"/>
              <a:buChar char="•"/>
            </a:pPr>
            <a:r>
              <a:rPr lang="en-GB" sz="1200" noProof="0">
                <a:solidFill>
                  <a:srgbClr val="464646"/>
                </a:solidFill>
                <a:latin typeface="Avenir LT Pro 45Book"/>
              </a:rPr>
              <a:t>Diverge from competitors</a:t>
            </a:r>
          </a:p>
          <a:p>
            <a:pPr marL="742950" lvl="1" indent="-285750">
              <a:buFont typeface="Arial" panose="020B0604020202020204" pitchFamily="34" charset="0"/>
              <a:buChar char="•"/>
            </a:pPr>
            <a:r>
              <a:rPr lang="en-GB" sz="1200" noProof="0">
                <a:solidFill>
                  <a:srgbClr val="464646"/>
                </a:solidFill>
                <a:latin typeface="Avenir LT Pro 45Book"/>
              </a:rPr>
              <a:t>Have a compelling tagline</a:t>
            </a:r>
          </a:p>
        </p:txBody>
      </p:sp>
      <p:sp>
        <p:nvSpPr>
          <p:cNvPr id="35" name="Arrow: Chevron 34">
            <a:extLst>
              <a:ext uri="{FF2B5EF4-FFF2-40B4-BE49-F238E27FC236}">
                <a16:creationId xmlns:a16="http://schemas.microsoft.com/office/drawing/2014/main" id="{6455CFC1-D896-6E12-A565-C140898A8032}"/>
              </a:ext>
            </a:extLst>
          </p:cNvPr>
          <p:cNvSpPr/>
          <p:nvPr/>
        </p:nvSpPr>
        <p:spPr>
          <a:xfrm>
            <a:off x="8108917"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36" name="Arrow: Chevron 35">
            <a:extLst>
              <a:ext uri="{FF2B5EF4-FFF2-40B4-BE49-F238E27FC236}">
                <a16:creationId xmlns:a16="http://schemas.microsoft.com/office/drawing/2014/main" id="{72EA0FFE-8C64-7F6D-749A-84F57F00160C}"/>
              </a:ext>
            </a:extLst>
          </p:cNvPr>
          <p:cNvSpPr/>
          <p:nvPr/>
        </p:nvSpPr>
        <p:spPr>
          <a:xfrm>
            <a:off x="9071675"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37" name="Arrow: Chevron 36">
            <a:extLst>
              <a:ext uri="{FF2B5EF4-FFF2-40B4-BE49-F238E27FC236}">
                <a16:creationId xmlns:a16="http://schemas.microsoft.com/office/drawing/2014/main" id="{6F2A9C47-6127-FE64-8114-6585558FCF40}"/>
              </a:ext>
            </a:extLst>
          </p:cNvPr>
          <p:cNvSpPr/>
          <p:nvPr/>
        </p:nvSpPr>
        <p:spPr>
          <a:xfrm>
            <a:off x="10034433"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39" name="Arrow: Chevron 38">
            <a:extLst>
              <a:ext uri="{FF2B5EF4-FFF2-40B4-BE49-F238E27FC236}">
                <a16:creationId xmlns:a16="http://schemas.microsoft.com/office/drawing/2014/main" id="{D2E0C93C-B9B6-0A29-0C50-F19C18262409}"/>
              </a:ext>
            </a:extLst>
          </p:cNvPr>
          <p:cNvSpPr/>
          <p:nvPr/>
        </p:nvSpPr>
        <p:spPr>
          <a:xfrm>
            <a:off x="1099963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19479100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028">
          <a:extLst>
            <a:ext uri="{FF2B5EF4-FFF2-40B4-BE49-F238E27FC236}">
              <a16:creationId xmlns:a16="http://schemas.microsoft.com/office/drawing/2014/main" id="{024B7552-48C1-E59A-D2FA-78132D327A64}"/>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CEF388-CB26-5330-A118-63041B9D3917}"/>
              </a:ext>
            </a:extLst>
          </p:cNvPr>
          <p:cNvGraphicFramePr>
            <a:graphicFrameLocks noChangeAspect="1"/>
          </p:cNvGraphicFramePr>
          <p:nvPr>
            <p:custDataLst>
              <p:tags r:id="rId1"/>
            </p:custDataLst>
            <p:extLst>
              <p:ext uri="{D42A27DB-BD31-4B8C-83A1-F6EECF244321}">
                <p14:modId xmlns:p14="http://schemas.microsoft.com/office/powerpoint/2010/main" val="3000399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0" imgH="403" progId="TCLayout.ActiveDocument.1">
                  <p:embed/>
                </p:oleObj>
              </mc:Choice>
              <mc:Fallback>
                <p:oleObj name="think-cell Slide" r:id="rId4" imgW="420" imgH="403" progId="TCLayout.ActiveDocument.1">
                  <p:embed/>
                  <p:pic>
                    <p:nvPicPr>
                      <p:cNvPr id="2" name="Object 1" hidden="1">
                        <a:extLst>
                          <a:ext uri="{FF2B5EF4-FFF2-40B4-BE49-F238E27FC236}">
                            <a16:creationId xmlns:a16="http://schemas.microsoft.com/office/drawing/2014/main" id="{98CEF388-CB26-5330-A118-63041B9D39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Google Shape;1029;p26">
            <a:extLst>
              <a:ext uri="{FF2B5EF4-FFF2-40B4-BE49-F238E27FC236}">
                <a16:creationId xmlns:a16="http://schemas.microsoft.com/office/drawing/2014/main" id="{B77C6521-ED8B-43DA-D42E-8CA3C6BFA3BD}"/>
              </a:ext>
            </a:extLst>
          </p:cNvPr>
          <p:cNvSpPr txBox="1">
            <a:spLocks/>
          </p:cNvSpPr>
          <p:nvPr/>
        </p:nvSpPr>
        <p:spPr>
          <a:xfrm>
            <a:off x="179335" y="926000"/>
            <a:ext cx="2241477" cy="5005999"/>
          </a:xfrm>
          <a:prstGeom prst="rect">
            <a:avLst/>
          </a:prstGeom>
          <a:noFill/>
          <a:ln>
            <a:noFill/>
          </a:ln>
        </p:spPr>
        <p:txBody>
          <a:bodyPr spcFirstLastPara="1" vert="horz" wrap="square" lIns="91425" tIns="45700" rIns="91425" bIns="45700" anchor="ctr" anchorCtr="0">
            <a:noAutofit/>
          </a:bodyPr>
          <a:lstStyle>
            <a:lvl1pPr algn="l" defTabSz="914400" rtl="0" eaLnBrk="1" latinLnBrk="0" hangingPunct="1">
              <a:lnSpc>
                <a:spcPct val="90000"/>
              </a:lnSpc>
              <a:spcBef>
                <a:spcPct val="0"/>
              </a:spcBef>
              <a:buNone/>
              <a:defRPr sz="2000" b="1" kern="1200">
                <a:solidFill>
                  <a:schemeClr val="tx1"/>
                </a:solidFill>
                <a:latin typeface="Avenir Next LT Pro" panose="020B0504020202020204" pitchFamily="34" charset="0"/>
                <a:ea typeface="+mj-ea"/>
                <a:cs typeface="+mj-cs"/>
                <a:sym typeface="Avenir Next LT Pro" panose="020B0504020202020204" pitchFamily="34" charset="0"/>
              </a:defRPr>
            </a:lvl1pPr>
          </a:lstStyle>
          <a:p>
            <a:pPr>
              <a:spcBef>
                <a:spcPts val="0"/>
              </a:spcBef>
              <a:spcAft>
                <a:spcPts val="600"/>
              </a:spcAft>
              <a:defRPr/>
            </a:pPr>
            <a:r>
              <a:rPr lang="en-GB" b="0" noProof="0">
                <a:solidFill>
                  <a:srgbClr val="FFFFFF"/>
                </a:solidFill>
                <a:latin typeface="Avenir Next LT Pro"/>
              </a:rPr>
              <a:t>Analysis of the Current &amp; potential Target Situations: </a:t>
            </a:r>
          </a:p>
          <a:p>
            <a:pPr>
              <a:spcBef>
                <a:spcPts val="0"/>
              </a:spcBef>
              <a:spcAft>
                <a:spcPts val="600"/>
              </a:spcAft>
              <a:defRPr/>
            </a:pPr>
            <a:r>
              <a:rPr lang="en-GB" noProof="0">
                <a:solidFill>
                  <a:srgbClr val="FFFFFF"/>
                </a:solidFill>
                <a:latin typeface="Avenir Next LT Pro"/>
              </a:rPr>
              <a:t>How to Win</a:t>
            </a:r>
          </a:p>
          <a:p>
            <a:pPr>
              <a:spcBef>
                <a:spcPts val="0"/>
              </a:spcBef>
              <a:spcAft>
                <a:spcPts val="600"/>
              </a:spcAft>
              <a:defRPr/>
            </a:pPr>
            <a:r>
              <a:rPr lang="en-GB" b="0" noProof="0">
                <a:solidFill>
                  <a:srgbClr val="FFFFFF"/>
                </a:solidFill>
                <a:latin typeface="Avenir Next LT Pro"/>
              </a:rPr>
              <a:t>(The Value Proposition)</a:t>
            </a:r>
            <a:endParaRPr lang="en-GB" b="0" noProof="0">
              <a:solidFill>
                <a:srgbClr val="FFFFFF"/>
              </a:solidFill>
            </a:endParaRPr>
          </a:p>
        </p:txBody>
      </p:sp>
      <p:pic>
        <p:nvPicPr>
          <p:cNvPr id="8" name="Picture 7">
            <a:extLst>
              <a:ext uri="{FF2B5EF4-FFF2-40B4-BE49-F238E27FC236}">
                <a16:creationId xmlns:a16="http://schemas.microsoft.com/office/drawing/2014/main" id="{4502B408-3FCE-EEAD-C135-41E515B55B1B}"/>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2520350" y="41223"/>
            <a:ext cx="9583947" cy="6775553"/>
          </a:xfrm>
          <a:prstGeom prst="rect">
            <a:avLst/>
          </a:prstGeom>
          <a:solidFill>
            <a:srgbClr val="F1F1F1"/>
          </a:solidFill>
        </p:spPr>
      </p:pic>
      <p:grpSp>
        <p:nvGrpSpPr>
          <p:cNvPr id="19" name="Group 18">
            <a:extLst>
              <a:ext uri="{FF2B5EF4-FFF2-40B4-BE49-F238E27FC236}">
                <a16:creationId xmlns:a16="http://schemas.microsoft.com/office/drawing/2014/main" id="{69C816E3-3817-7989-854B-78A9A9E5AF01}"/>
              </a:ext>
            </a:extLst>
          </p:cNvPr>
          <p:cNvGrpSpPr/>
          <p:nvPr/>
        </p:nvGrpSpPr>
        <p:grpSpPr>
          <a:xfrm>
            <a:off x="2691337" y="183167"/>
            <a:ext cx="2125437" cy="846793"/>
            <a:chOff x="1475013" y="183199"/>
            <a:chExt cx="2125437" cy="846793"/>
          </a:xfrm>
        </p:grpSpPr>
        <p:sp>
          <p:nvSpPr>
            <p:cNvPr id="20" name="Rectangle 19">
              <a:extLst>
                <a:ext uri="{FF2B5EF4-FFF2-40B4-BE49-F238E27FC236}">
                  <a16:creationId xmlns:a16="http://schemas.microsoft.com/office/drawing/2014/main" id="{F874D2E3-ACF9-F52D-9D47-0E91A8CC4017}"/>
                </a:ext>
              </a:extLst>
            </p:cNvPr>
            <p:cNvSpPr/>
            <p:nvPr/>
          </p:nvSpPr>
          <p:spPr>
            <a:xfrm>
              <a:off x="1475013" y="183199"/>
              <a:ext cx="2125437" cy="781235"/>
            </a:xfrm>
            <a:prstGeom prst="rect">
              <a:avLst/>
            </a:prstGeom>
            <a:solidFill>
              <a:srgbClr val="F1F1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2" name="Graphic 21">
              <a:extLst>
                <a:ext uri="{FF2B5EF4-FFF2-40B4-BE49-F238E27FC236}">
                  <a16:creationId xmlns:a16="http://schemas.microsoft.com/office/drawing/2014/main" id="{67273551-92B4-D210-468D-198E9B4F4F2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42479" y="275386"/>
              <a:ext cx="1591625" cy="596859"/>
            </a:xfrm>
            <a:prstGeom prst="rect">
              <a:avLst/>
            </a:prstGeom>
          </p:spPr>
        </p:pic>
        <p:sp>
          <p:nvSpPr>
            <p:cNvPr id="23" name="TextBox 22">
              <a:extLst>
                <a:ext uri="{FF2B5EF4-FFF2-40B4-BE49-F238E27FC236}">
                  <a16:creationId xmlns:a16="http://schemas.microsoft.com/office/drawing/2014/main" id="{BFFFED33-FA2B-7593-9DA7-DA9EB182C486}"/>
                </a:ext>
              </a:extLst>
            </p:cNvPr>
            <p:cNvSpPr txBox="1"/>
            <p:nvPr/>
          </p:nvSpPr>
          <p:spPr>
            <a:xfrm>
              <a:off x="2273649" y="783771"/>
              <a:ext cx="791936" cy="246221"/>
            </a:xfrm>
            <a:prstGeom prst="rect">
              <a:avLst/>
            </a:prstGeom>
            <a:noFill/>
          </p:spPr>
          <p:txBody>
            <a:bodyPr wrap="square" rtlCol="0">
              <a:spAutoFit/>
            </a:bodyPr>
            <a:lstStyle/>
            <a:p>
              <a:r>
                <a:rPr lang="en-GB" sz="1000" b="1" noProof="0">
                  <a:latin typeface="Open Sans Light" panose="020B0306030504020204" pitchFamily="34" charset="0"/>
                  <a:ea typeface="Open Sans Light" panose="020B0306030504020204" pitchFamily="34" charset="0"/>
                  <a:cs typeface="Open Sans Light" panose="020B0306030504020204" pitchFamily="34" charset="0"/>
                </a:rPr>
                <a:t>Canvas</a:t>
              </a:r>
            </a:p>
          </p:txBody>
        </p:sp>
        <p:pic>
          <p:nvPicPr>
            <p:cNvPr id="24" name="Picture 23">
              <a:extLst>
                <a:ext uri="{FF2B5EF4-FFF2-40B4-BE49-F238E27FC236}">
                  <a16:creationId xmlns:a16="http://schemas.microsoft.com/office/drawing/2014/main" id="{C4D38299-780A-D78C-CB36-1F652A8F164B}"/>
                </a:ext>
              </a:extLst>
            </p:cNvPr>
            <p:cNvPicPr>
              <a:picLocks noChangeAspect="1"/>
            </p:cNvPicPr>
            <p:nvPr/>
          </p:nvPicPr>
          <p:blipFill>
            <a:blip r:embed="rId9"/>
            <a:stretch>
              <a:fillRect/>
            </a:stretch>
          </p:blipFill>
          <p:spPr>
            <a:xfrm>
              <a:off x="2126329" y="783771"/>
              <a:ext cx="233149" cy="223729"/>
            </a:xfrm>
            <a:prstGeom prst="rect">
              <a:avLst/>
            </a:prstGeom>
          </p:spPr>
        </p:pic>
      </p:grpSp>
      <p:sp>
        <p:nvSpPr>
          <p:cNvPr id="25" name="Rectangle 24">
            <a:extLst>
              <a:ext uri="{FF2B5EF4-FFF2-40B4-BE49-F238E27FC236}">
                <a16:creationId xmlns:a16="http://schemas.microsoft.com/office/drawing/2014/main" id="{A29C96BA-9F36-CFAF-30AB-A504520B332B}"/>
              </a:ext>
            </a:extLst>
          </p:cNvPr>
          <p:cNvSpPr/>
          <p:nvPr/>
        </p:nvSpPr>
        <p:spPr>
          <a:xfrm>
            <a:off x="8971858" y="2751826"/>
            <a:ext cx="2975725" cy="1643711"/>
          </a:xfrm>
          <a:prstGeom prst="rect">
            <a:avLst/>
          </a:prstGeom>
          <a:noFill/>
          <a:ln w="381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6" name="Rectangle 25">
            <a:extLst>
              <a:ext uri="{FF2B5EF4-FFF2-40B4-BE49-F238E27FC236}">
                <a16:creationId xmlns:a16="http://schemas.microsoft.com/office/drawing/2014/main" id="{2B7F8A65-3487-1ECE-2ED9-8D0457115135}"/>
              </a:ext>
            </a:extLst>
          </p:cNvPr>
          <p:cNvSpPr/>
          <p:nvPr/>
        </p:nvSpPr>
        <p:spPr>
          <a:xfrm>
            <a:off x="2648207" y="2751826"/>
            <a:ext cx="2975725" cy="1643711"/>
          </a:xfrm>
          <a:prstGeom prst="rect">
            <a:avLst/>
          </a:prstGeom>
          <a:noFill/>
          <a:ln w="381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Tree>
    <p:extLst>
      <p:ext uri="{BB962C8B-B14F-4D97-AF65-F5344CB8AC3E}">
        <p14:creationId xmlns:p14="http://schemas.microsoft.com/office/powerpoint/2010/main" val="17487722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BD713B-6CC2-44D0-A028-B420D6B8CA0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BD30111-4C7C-878C-D8E4-94E28020A25B}"/>
              </a:ext>
            </a:extLst>
          </p:cNvPr>
          <p:cNvGraphicFramePr>
            <a:graphicFrameLocks noChangeAspect="1"/>
          </p:cNvGraphicFramePr>
          <p:nvPr>
            <p:custDataLst>
              <p:tags r:id="rId1"/>
            </p:custDataLst>
            <p:extLst>
              <p:ext uri="{D42A27DB-BD31-4B8C-83A1-F6EECF244321}">
                <p14:modId xmlns:p14="http://schemas.microsoft.com/office/powerpoint/2010/main" val="2639758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1BD30111-4C7C-878C-D8E4-94E28020A2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2E9D467A-DC47-8826-724C-5E8DD9B3A426}"/>
              </a:ext>
            </a:extLst>
          </p:cNvPr>
          <p:cNvGrpSpPr/>
          <p:nvPr/>
        </p:nvGrpSpPr>
        <p:grpSpPr>
          <a:xfrm>
            <a:off x="8417834" y="1059803"/>
            <a:ext cx="858274" cy="673623"/>
            <a:chOff x="368907" y="1700531"/>
            <a:chExt cx="4038920" cy="4275927"/>
          </a:xfrm>
          <a:effectLst/>
        </p:grpSpPr>
        <p:sp>
          <p:nvSpPr>
            <p:cNvPr id="10" name="Isosceles Triangle 9">
              <a:extLst>
                <a:ext uri="{FF2B5EF4-FFF2-40B4-BE49-F238E27FC236}">
                  <a16:creationId xmlns:a16="http://schemas.microsoft.com/office/drawing/2014/main" id="{4E774D24-C0A4-5432-BC7C-E288C2A45162}"/>
                </a:ext>
              </a:extLst>
            </p:cNvPr>
            <p:cNvSpPr/>
            <p:nvPr/>
          </p:nvSpPr>
          <p:spPr>
            <a:xfrm>
              <a:off x="1792514" y="1700531"/>
              <a:ext cx="1191707" cy="1255807"/>
            </a:xfrm>
            <a:prstGeom prst="triangle">
              <a:avLst>
                <a:gd name="adj" fmla="val 49710"/>
              </a:avLst>
            </a:pr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sp>
          <p:nvSpPr>
            <p:cNvPr id="11" name="Isosceles Triangle 62">
              <a:extLst>
                <a:ext uri="{FF2B5EF4-FFF2-40B4-BE49-F238E27FC236}">
                  <a16:creationId xmlns:a16="http://schemas.microsoft.com/office/drawing/2014/main" id="{7CD037A5-180A-E949-AAD2-1481DEE74C5E}"/>
                </a:ext>
              </a:extLst>
            </p:cNvPr>
            <p:cNvSpPr/>
            <p:nvPr/>
          </p:nvSpPr>
          <p:spPr>
            <a:xfrm>
              <a:off x="1106945" y="2957333"/>
              <a:ext cx="2556494" cy="1456051"/>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481647" y="2614"/>
                  </a:lnTo>
                  <a:lnTo>
                    <a:pt x="1325344" y="0"/>
                  </a:lnTo>
                  <a:lnTo>
                    <a:pt x="1810264" y="968810"/>
                  </a:lnTo>
                  <a:lnTo>
                    <a:pt x="0" y="968810"/>
                  </a:lnTo>
                  <a:close/>
                </a:path>
              </a:pathLst>
            </a:custGeom>
            <a:solidFill>
              <a:schemeClr val="bg2">
                <a:lumMod val="9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grpSp>
          <p:nvGrpSpPr>
            <p:cNvPr id="12" name="Group 11">
              <a:extLst>
                <a:ext uri="{FF2B5EF4-FFF2-40B4-BE49-F238E27FC236}">
                  <a16:creationId xmlns:a16="http://schemas.microsoft.com/office/drawing/2014/main" id="{03C3D73E-6A4F-FAEF-F3F0-A3265D99A32A}"/>
                </a:ext>
              </a:extLst>
            </p:cNvPr>
            <p:cNvGrpSpPr/>
            <p:nvPr/>
          </p:nvGrpSpPr>
          <p:grpSpPr>
            <a:xfrm>
              <a:off x="368907" y="2954958"/>
              <a:ext cx="4038920" cy="3021500"/>
              <a:chOff x="364847" y="3312617"/>
              <a:chExt cx="4038920" cy="3021500"/>
            </a:xfrm>
          </p:grpSpPr>
          <p:cxnSp>
            <p:nvCxnSpPr>
              <p:cNvPr id="13" name="Straight Connector 12">
                <a:extLst>
                  <a:ext uri="{FF2B5EF4-FFF2-40B4-BE49-F238E27FC236}">
                    <a16:creationId xmlns:a16="http://schemas.microsoft.com/office/drawing/2014/main" id="{91E7F53B-6AB2-54D5-10AF-FC0B35BD8105}"/>
                  </a:ext>
                </a:extLst>
              </p:cNvPr>
              <p:cNvCxnSpPr>
                <a:cxnSpLocks/>
              </p:cNvCxnSpPr>
              <p:nvPr/>
            </p:nvCxnSpPr>
            <p:spPr>
              <a:xfrm>
                <a:off x="1110997" y="4771043"/>
                <a:ext cx="254556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Isosceles Triangle 62">
                <a:extLst>
                  <a:ext uri="{FF2B5EF4-FFF2-40B4-BE49-F238E27FC236}">
                    <a16:creationId xmlns:a16="http://schemas.microsoft.com/office/drawing/2014/main" id="{54CE3CF6-40CC-A6AA-6E83-EB2B3A98DA55}"/>
                  </a:ext>
                </a:extLst>
              </p:cNvPr>
              <p:cNvSpPr/>
              <p:nvPr/>
            </p:nvSpPr>
            <p:spPr>
              <a:xfrm>
                <a:off x="364847" y="4771043"/>
                <a:ext cx="4038920" cy="1562778"/>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476069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326400" y="396"/>
                    </a:lnTo>
                    <a:lnTo>
                      <a:pt x="1476069" y="0"/>
                    </a:lnTo>
                    <a:lnTo>
                      <a:pt x="1810264" y="968810"/>
                    </a:lnTo>
                    <a:lnTo>
                      <a:pt x="0" y="968810"/>
                    </a:lnTo>
                    <a:close/>
                  </a:path>
                </a:pathLst>
              </a:custGeom>
              <a:solidFill>
                <a:srgbClr val="FFC493"/>
              </a:solidFill>
              <a:ln w="9525">
                <a:solidFill>
                  <a:srgbClr val="DE6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cxnSp>
            <p:nvCxnSpPr>
              <p:cNvPr id="15" name="Straight Connector 14">
                <a:extLst>
                  <a:ext uri="{FF2B5EF4-FFF2-40B4-BE49-F238E27FC236}">
                    <a16:creationId xmlns:a16="http://schemas.microsoft.com/office/drawing/2014/main" id="{BC9545F9-40DD-3E5D-D5AB-55B07F775944}"/>
                  </a:ext>
                </a:extLst>
              </p:cNvPr>
              <p:cNvCxnSpPr>
                <a:cxnSpLocks/>
              </p:cNvCxnSpPr>
              <p:nvPr/>
            </p:nvCxnSpPr>
            <p:spPr>
              <a:xfrm flipH="1">
                <a:off x="1833796" y="3312617"/>
                <a:ext cx="287660" cy="148830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83786C3-D6CA-0DC0-2B2A-9D32438FA365}"/>
                  </a:ext>
                </a:extLst>
              </p:cNvPr>
              <p:cNvCxnSpPr>
                <a:cxnSpLocks/>
              </p:cNvCxnSpPr>
              <p:nvPr/>
            </p:nvCxnSpPr>
            <p:spPr>
              <a:xfrm>
                <a:off x="2562892" y="4771043"/>
                <a:ext cx="106051" cy="1562778"/>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F06D95F-6553-3015-B03A-3E047F6D9A15}"/>
                  </a:ext>
                </a:extLst>
              </p:cNvPr>
              <p:cNvCxnSpPr>
                <a:cxnSpLocks/>
              </p:cNvCxnSpPr>
              <p:nvPr/>
            </p:nvCxnSpPr>
            <p:spPr>
              <a:xfrm flipH="1">
                <a:off x="2089604" y="4771042"/>
                <a:ext cx="76090" cy="1562779"/>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5204F2F-8917-F295-7FD6-2A6437C56040}"/>
                  </a:ext>
                </a:extLst>
              </p:cNvPr>
              <p:cNvCxnSpPr>
                <a:cxnSpLocks/>
              </p:cNvCxnSpPr>
              <p:nvPr/>
            </p:nvCxnSpPr>
            <p:spPr>
              <a:xfrm flipH="1">
                <a:off x="957027" y="4771042"/>
                <a:ext cx="526604" cy="1562779"/>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3DE3FAF-C162-1632-CCD5-65A424110F81}"/>
                  </a:ext>
                </a:extLst>
              </p:cNvPr>
              <p:cNvCxnSpPr>
                <a:cxnSpLocks/>
              </p:cNvCxnSpPr>
              <p:nvPr/>
            </p:nvCxnSpPr>
            <p:spPr>
              <a:xfrm>
                <a:off x="2706590" y="3312617"/>
                <a:ext cx="267090" cy="145942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B14427C-D6EE-8029-58C5-F137981D3717}"/>
                  </a:ext>
                </a:extLst>
              </p:cNvPr>
              <p:cNvCxnSpPr>
                <a:cxnSpLocks/>
              </p:cNvCxnSpPr>
              <p:nvPr/>
            </p:nvCxnSpPr>
            <p:spPr>
              <a:xfrm>
                <a:off x="3336756" y="4771043"/>
                <a:ext cx="506582" cy="1563074"/>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F35ABD5-38D5-C2E3-166E-8E2AB0EDD6BB}"/>
                  </a:ext>
                </a:extLst>
              </p:cNvPr>
              <p:cNvCxnSpPr>
                <a:cxnSpLocks/>
              </p:cNvCxnSpPr>
              <p:nvPr/>
            </p:nvCxnSpPr>
            <p:spPr>
              <a:xfrm flipH="1">
                <a:off x="1539549" y="4772039"/>
                <a:ext cx="300668" cy="1561783"/>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EBD67DE-0103-973C-B7B8-A0DC4047C45F}"/>
                  </a:ext>
                </a:extLst>
              </p:cNvPr>
              <p:cNvCxnSpPr>
                <a:cxnSpLocks/>
              </p:cNvCxnSpPr>
              <p:nvPr/>
            </p:nvCxnSpPr>
            <p:spPr>
              <a:xfrm>
                <a:off x="2973680" y="4778378"/>
                <a:ext cx="284662" cy="1555443"/>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92D1DE2-B623-3039-E283-17B6A32C276C}"/>
                  </a:ext>
                </a:extLst>
              </p:cNvPr>
              <p:cNvCxnSpPr>
                <a:cxnSpLocks/>
                <a:stCxn id="14" idx="1"/>
                <a:endCxn id="11" idx="3"/>
              </p:cNvCxnSpPr>
              <p:nvPr/>
            </p:nvCxnSpPr>
            <p:spPr>
              <a:xfrm flipV="1">
                <a:off x="1093085" y="4771043"/>
                <a:ext cx="2566294" cy="640"/>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grpSp>
      </p:grpSp>
      <p:sp>
        <p:nvSpPr>
          <p:cNvPr id="2" name="Title 1">
            <a:extLst>
              <a:ext uri="{FF2B5EF4-FFF2-40B4-BE49-F238E27FC236}">
                <a16:creationId xmlns:a16="http://schemas.microsoft.com/office/drawing/2014/main" id="{A244BDA0-E140-CD58-E55C-44AC34DE16B7}"/>
              </a:ext>
            </a:extLst>
          </p:cNvPr>
          <p:cNvSpPr>
            <a:spLocks noGrp="1"/>
          </p:cNvSpPr>
          <p:nvPr>
            <p:ph type="title"/>
          </p:nvPr>
        </p:nvSpPr>
        <p:spPr>
          <a:xfrm>
            <a:off x="137786" y="125260"/>
            <a:ext cx="6752298" cy="806754"/>
          </a:xfrm>
        </p:spPr>
        <p:txBody>
          <a:bodyPr vert="horz">
            <a:normAutofit/>
          </a:bodyPr>
          <a:lstStyle/>
          <a:p>
            <a:r>
              <a:rPr lang="en-GB" b="1" noProof="0"/>
              <a:t>Choice of Strategic Pricing</a:t>
            </a:r>
          </a:p>
        </p:txBody>
      </p:sp>
      <p:sp>
        <p:nvSpPr>
          <p:cNvPr id="38" name="Rectangle 37">
            <a:extLst>
              <a:ext uri="{FF2B5EF4-FFF2-40B4-BE49-F238E27FC236}">
                <a16:creationId xmlns:a16="http://schemas.microsoft.com/office/drawing/2014/main" id="{4D8123EC-1FDA-E0A0-6EF4-4BCDFCDD7B0B}"/>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Pricing can range between the customer’s WTP and the cost to the organisation. Increasing the margin decreases the customer delight, and vice versa. There are four distinct pricing approaches:</a:t>
            </a:r>
          </a:p>
          <a:p>
            <a:pPr marL="742950" lvl="1"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Premium Positioning</a:t>
            </a:r>
          </a:p>
          <a:p>
            <a:pPr marL="742950" lvl="1"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Value Positioning</a:t>
            </a:r>
          </a:p>
          <a:p>
            <a:pPr marL="742950" lvl="1"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Penetration Positioning</a:t>
            </a:r>
          </a:p>
          <a:p>
            <a:pPr marL="742950" lvl="1"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Dynamic Pricing</a:t>
            </a:r>
          </a:p>
        </p:txBody>
      </p:sp>
      <p:pic>
        <p:nvPicPr>
          <p:cNvPr id="1026" name="Picture 2" descr="Value stick and its four components">
            <a:extLst>
              <a:ext uri="{FF2B5EF4-FFF2-40B4-BE49-F238E27FC236}">
                <a16:creationId xmlns:a16="http://schemas.microsoft.com/office/drawing/2014/main" id="{3EB8435F-6EFE-D1EF-F801-F0CC5787B74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5634" t="14917" r="18811" b="14605"/>
          <a:stretch>
            <a:fillRect/>
          </a:stretch>
        </p:blipFill>
        <p:spPr bwMode="auto">
          <a:xfrm>
            <a:off x="519423" y="2603252"/>
            <a:ext cx="3405254" cy="2933711"/>
          </a:xfrm>
          <a:prstGeom prst="rect">
            <a:avLst/>
          </a:prstGeom>
          <a:noFill/>
          <a:extLst>
            <a:ext uri="{909E8E84-426E-40DD-AFC4-6F175D3DCCD1}">
              <a14:hiddenFill xmlns:a14="http://schemas.microsoft.com/office/drawing/2010/main">
                <a:solidFill>
                  <a:srgbClr val="FFFFFF"/>
                </a:solidFill>
              </a14:hiddenFill>
            </a:ext>
          </a:extLst>
        </p:spPr>
      </p:pic>
      <p:grpSp>
        <p:nvGrpSpPr>
          <p:cNvPr id="107" name="Group 106">
            <a:extLst>
              <a:ext uri="{FF2B5EF4-FFF2-40B4-BE49-F238E27FC236}">
                <a16:creationId xmlns:a16="http://schemas.microsoft.com/office/drawing/2014/main" id="{C3EE0FC5-5498-2AE9-A0D5-F3763FA74452}"/>
              </a:ext>
            </a:extLst>
          </p:cNvPr>
          <p:cNvGrpSpPr/>
          <p:nvPr/>
        </p:nvGrpSpPr>
        <p:grpSpPr>
          <a:xfrm>
            <a:off x="4373444" y="1809344"/>
            <a:ext cx="4577057" cy="4070030"/>
            <a:chOff x="3279917" y="1321037"/>
            <a:chExt cx="5651291" cy="5025265"/>
          </a:xfrm>
        </p:grpSpPr>
        <p:grpSp>
          <p:nvGrpSpPr>
            <p:cNvPr id="82" name="Group 81">
              <a:extLst>
                <a:ext uri="{FF2B5EF4-FFF2-40B4-BE49-F238E27FC236}">
                  <a16:creationId xmlns:a16="http://schemas.microsoft.com/office/drawing/2014/main" id="{E3422AB2-5EE1-6C61-42F5-F570A29048F0}"/>
                </a:ext>
              </a:extLst>
            </p:cNvPr>
            <p:cNvGrpSpPr/>
            <p:nvPr/>
          </p:nvGrpSpPr>
          <p:grpSpPr>
            <a:xfrm>
              <a:off x="3279917" y="4105273"/>
              <a:ext cx="2679491" cy="1012717"/>
              <a:chOff x="292308" y="3215390"/>
              <a:chExt cx="2679491" cy="1012717"/>
            </a:xfrm>
          </p:grpSpPr>
          <p:sp>
            <p:nvSpPr>
              <p:cNvPr id="105" name="Rounded Rectangle 1">
                <a:extLst>
                  <a:ext uri="{FF2B5EF4-FFF2-40B4-BE49-F238E27FC236}">
                    <a16:creationId xmlns:a16="http://schemas.microsoft.com/office/drawing/2014/main" id="{CBF8FC80-4CBC-BB12-D828-B2D6B2F06C7C}"/>
                  </a:ext>
                </a:extLst>
              </p:cNvPr>
              <p:cNvSpPr/>
              <p:nvPr/>
            </p:nvSpPr>
            <p:spPr>
              <a:xfrm>
                <a:off x="292308" y="3215390"/>
                <a:ext cx="2679491" cy="1012717"/>
              </a:xfrm>
              <a:custGeom>
                <a:avLst/>
                <a:gdLst/>
                <a:ahLst/>
                <a:cxnLst/>
                <a:rect l="0" t="0" r="0" b="0"/>
                <a:pathLst>
                  <a:path w="2679491" h="1012717">
                    <a:moveTo>
                      <a:pt x="0" y="0"/>
                    </a:moveTo>
                    <a:lnTo>
                      <a:pt x="1948721" y="0"/>
                    </a:lnTo>
                    <a:cubicBezTo>
                      <a:pt x="1948721" y="434515"/>
                      <a:pt x="2264748" y="795218"/>
                      <a:pt x="2679491" y="864799"/>
                    </a:cubicBezTo>
                    <a:lnTo>
                      <a:pt x="2679491" y="1012717"/>
                    </a:lnTo>
                    <a:cubicBezTo>
                      <a:pt x="2231428" y="948627"/>
                      <a:pt x="1877018" y="594217"/>
                      <a:pt x="1812927" y="146154"/>
                    </a:cubicBezTo>
                    <a:lnTo>
                      <a:pt x="0" y="146154"/>
                    </a:ln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106" name="Rounded Rectangle 2">
                <a:extLst>
                  <a:ext uri="{FF2B5EF4-FFF2-40B4-BE49-F238E27FC236}">
                    <a16:creationId xmlns:a16="http://schemas.microsoft.com/office/drawing/2014/main" id="{10845E54-0CC6-2DF8-4591-587CEAF0B1DE}"/>
                  </a:ext>
                </a:extLst>
              </p:cNvPr>
              <p:cNvSpPr/>
              <p:nvPr/>
            </p:nvSpPr>
            <p:spPr>
              <a:xfrm>
                <a:off x="292308" y="3215390"/>
                <a:ext cx="2679491" cy="1012717"/>
              </a:xfrm>
              <a:custGeom>
                <a:avLst/>
                <a:gdLst/>
                <a:ahLst/>
                <a:cxnLst/>
                <a:rect l="0" t="0" r="0" b="0"/>
                <a:pathLst>
                  <a:path w="2679491" h="1012717">
                    <a:moveTo>
                      <a:pt x="0" y="0"/>
                    </a:moveTo>
                    <a:lnTo>
                      <a:pt x="1948721" y="0"/>
                    </a:lnTo>
                    <a:cubicBezTo>
                      <a:pt x="1948721" y="434515"/>
                      <a:pt x="2264748" y="795218"/>
                      <a:pt x="2679491" y="864799"/>
                    </a:cubicBezTo>
                    <a:lnTo>
                      <a:pt x="2679491" y="1012717"/>
                    </a:lnTo>
                    <a:cubicBezTo>
                      <a:pt x="2231428" y="948627"/>
                      <a:pt x="1877018" y="594217"/>
                      <a:pt x="1812927" y="146154"/>
                    </a:cubicBezTo>
                    <a:lnTo>
                      <a:pt x="0" y="146154"/>
                    </a:lnTo>
                    <a:close/>
                  </a:path>
                </a:pathLst>
              </a:custGeom>
              <a:noFill/>
              <a:ln w="6089">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83" name="Group 82">
              <a:extLst>
                <a:ext uri="{FF2B5EF4-FFF2-40B4-BE49-F238E27FC236}">
                  <a16:creationId xmlns:a16="http://schemas.microsoft.com/office/drawing/2014/main" id="{CED93CEA-82C8-1F02-0479-CF08A71935B3}"/>
                </a:ext>
              </a:extLst>
            </p:cNvPr>
            <p:cNvGrpSpPr/>
            <p:nvPr/>
          </p:nvGrpSpPr>
          <p:grpSpPr>
            <a:xfrm>
              <a:off x="6056845" y="4202709"/>
              <a:ext cx="1067217" cy="2143593"/>
              <a:chOff x="3069236" y="3312826"/>
              <a:chExt cx="1067217" cy="2143593"/>
            </a:xfrm>
          </p:grpSpPr>
          <p:sp>
            <p:nvSpPr>
              <p:cNvPr id="103" name="Rounded Rectangle 4">
                <a:extLst>
                  <a:ext uri="{FF2B5EF4-FFF2-40B4-BE49-F238E27FC236}">
                    <a16:creationId xmlns:a16="http://schemas.microsoft.com/office/drawing/2014/main" id="{226F1366-0119-42FD-5518-C8BB6ED98DB0}"/>
                  </a:ext>
                </a:extLst>
              </p:cNvPr>
              <p:cNvSpPr/>
              <p:nvPr/>
            </p:nvSpPr>
            <p:spPr>
              <a:xfrm>
                <a:off x="3069236" y="3312826"/>
                <a:ext cx="1067217" cy="2143593"/>
              </a:xfrm>
              <a:custGeom>
                <a:avLst/>
                <a:gdLst/>
                <a:ahLst/>
                <a:cxnLst/>
                <a:rect l="0" t="0" r="0" b="0"/>
                <a:pathLst>
                  <a:path w="1067217" h="2143593">
                    <a:moveTo>
                      <a:pt x="0" y="778158"/>
                    </a:moveTo>
                    <a:cubicBezTo>
                      <a:pt x="16127" y="779041"/>
                      <a:pt x="32370" y="779488"/>
                      <a:pt x="48718" y="779488"/>
                    </a:cubicBezTo>
                    <a:cubicBezTo>
                      <a:pt x="500095" y="779488"/>
                      <a:pt x="871821" y="438457"/>
                      <a:pt x="920290" y="0"/>
                    </a:cubicBezTo>
                    <a:lnTo>
                      <a:pt x="1067217" y="0"/>
                    </a:lnTo>
                    <a:cubicBezTo>
                      <a:pt x="1021181" y="487256"/>
                      <a:pt x="633410" y="875027"/>
                      <a:pt x="146154" y="921063"/>
                    </a:cubicBezTo>
                    <a:lnTo>
                      <a:pt x="146154" y="2143593"/>
                    </a:lnTo>
                    <a:lnTo>
                      <a:pt x="0" y="2143593"/>
                    </a:lnTo>
                    <a:close/>
                  </a:path>
                </a:pathLst>
              </a:custGeom>
              <a:solidFill>
                <a:srgbClr val="FF9C26"/>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104" name="Rounded Rectangle 5">
                <a:extLst>
                  <a:ext uri="{FF2B5EF4-FFF2-40B4-BE49-F238E27FC236}">
                    <a16:creationId xmlns:a16="http://schemas.microsoft.com/office/drawing/2014/main" id="{2A70563E-01BF-D417-B5B8-336D1F5F6CB9}"/>
                  </a:ext>
                </a:extLst>
              </p:cNvPr>
              <p:cNvSpPr/>
              <p:nvPr/>
            </p:nvSpPr>
            <p:spPr>
              <a:xfrm>
                <a:off x="3069236" y="3312826"/>
                <a:ext cx="1067217" cy="2143593"/>
              </a:xfrm>
              <a:custGeom>
                <a:avLst/>
                <a:gdLst/>
                <a:ahLst/>
                <a:cxnLst/>
                <a:rect l="0" t="0" r="0" b="0"/>
                <a:pathLst>
                  <a:path w="1067217" h="2143593">
                    <a:moveTo>
                      <a:pt x="0" y="778158"/>
                    </a:moveTo>
                    <a:cubicBezTo>
                      <a:pt x="16127" y="779041"/>
                      <a:pt x="32370" y="779488"/>
                      <a:pt x="48718" y="779488"/>
                    </a:cubicBezTo>
                    <a:cubicBezTo>
                      <a:pt x="500095" y="779488"/>
                      <a:pt x="871821" y="438457"/>
                      <a:pt x="920290" y="0"/>
                    </a:cubicBezTo>
                    <a:lnTo>
                      <a:pt x="1067217" y="0"/>
                    </a:lnTo>
                    <a:cubicBezTo>
                      <a:pt x="1021181" y="487256"/>
                      <a:pt x="633410" y="875027"/>
                      <a:pt x="146154" y="921063"/>
                    </a:cubicBezTo>
                    <a:lnTo>
                      <a:pt x="146154" y="2143593"/>
                    </a:lnTo>
                    <a:lnTo>
                      <a:pt x="0" y="2143593"/>
                    </a:lnTo>
                    <a:close/>
                  </a:path>
                </a:pathLst>
              </a:custGeom>
              <a:noFill/>
              <a:ln w="6089">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84" name="Group 83">
              <a:extLst>
                <a:ext uri="{FF2B5EF4-FFF2-40B4-BE49-F238E27FC236}">
                  <a16:creationId xmlns:a16="http://schemas.microsoft.com/office/drawing/2014/main" id="{94C044B5-A905-4026-E74B-E67B51F9C51F}"/>
                </a:ext>
              </a:extLst>
            </p:cNvPr>
            <p:cNvGrpSpPr/>
            <p:nvPr/>
          </p:nvGrpSpPr>
          <p:grpSpPr>
            <a:xfrm>
              <a:off x="6202999" y="3086777"/>
              <a:ext cx="2728209" cy="1018499"/>
              <a:chOff x="3215390" y="2196894"/>
              <a:chExt cx="2728209" cy="1018499"/>
            </a:xfrm>
          </p:grpSpPr>
          <p:sp>
            <p:nvSpPr>
              <p:cNvPr id="101" name="Rounded Rectangle 7">
                <a:extLst>
                  <a:ext uri="{FF2B5EF4-FFF2-40B4-BE49-F238E27FC236}">
                    <a16:creationId xmlns:a16="http://schemas.microsoft.com/office/drawing/2014/main" id="{AC047984-3F4B-7286-8453-E3651D1049FE}"/>
                  </a:ext>
                </a:extLst>
              </p:cNvPr>
              <p:cNvSpPr/>
              <p:nvPr/>
            </p:nvSpPr>
            <p:spPr>
              <a:xfrm>
                <a:off x="3215390" y="2196894"/>
                <a:ext cx="2728209" cy="1018499"/>
              </a:xfrm>
              <a:custGeom>
                <a:avLst/>
                <a:gdLst/>
                <a:ahLst/>
                <a:cxnLst/>
                <a:rect l="0" t="0" r="0" b="0"/>
                <a:pathLst>
                  <a:path w="2728209" h="1018499">
                    <a:moveTo>
                      <a:pt x="779488" y="1018499"/>
                    </a:moveTo>
                    <a:cubicBezTo>
                      <a:pt x="779488" y="567121"/>
                      <a:pt x="438457" y="195395"/>
                      <a:pt x="0" y="146927"/>
                    </a:cubicBezTo>
                    <a:lnTo>
                      <a:pt x="0" y="0"/>
                    </a:lnTo>
                    <a:cubicBezTo>
                      <a:pt x="470902" y="44490"/>
                      <a:pt x="848885" y="408160"/>
                      <a:pt x="915281" y="872345"/>
                    </a:cubicBezTo>
                    <a:lnTo>
                      <a:pt x="2728209" y="872345"/>
                    </a:lnTo>
                    <a:lnTo>
                      <a:pt x="2728209" y="1018499"/>
                    </a:lnTo>
                    <a:close/>
                  </a:path>
                </a:pathLst>
              </a:custGeom>
              <a:solidFill>
                <a:srgbClr val="F98700"/>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102" name="Rounded Rectangle 8">
                <a:extLst>
                  <a:ext uri="{FF2B5EF4-FFF2-40B4-BE49-F238E27FC236}">
                    <a16:creationId xmlns:a16="http://schemas.microsoft.com/office/drawing/2014/main" id="{95028419-CEDA-B80A-1475-2F73B7593999}"/>
                  </a:ext>
                </a:extLst>
              </p:cNvPr>
              <p:cNvSpPr/>
              <p:nvPr/>
            </p:nvSpPr>
            <p:spPr>
              <a:xfrm>
                <a:off x="3215390" y="2196894"/>
                <a:ext cx="2728209" cy="1018499"/>
              </a:xfrm>
              <a:custGeom>
                <a:avLst/>
                <a:gdLst/>
                <a:ahLst/>
                <a:cxnLst/>
                <a:rect l="0" t="0" r="0" b="0"/>
                <a:pathLst>
                  <a:path w="2728209" h="1018499">
                    <a:moveTo>
                      <a:pt x="779488" y="1018499"/>
                    </a:moveTo>
                    <a:cubicBezTo>
                      <a:pt x="779488" y="567121"/>
                      <a:pt x="438457" y="195395"/>
                      <a:pt x="0" y="146927"/>
                    </a:cubicBezTo>
                    <a:lnTo>
                      <a:pt x="0" y="0"/>
                    </a:lnTo>
                    <a:cubicBezTo>
                      <a:pt x="470902" y="44490"/>
                      <a:pt x="848885" y="408160"/>
                      <a:pt x="915281" y="872345"/>
                    </a:cubicBezTo>
                    <a:lnTo>
                      <a:pt x="2728209" y="872345"/>
                    </a:lnTo>
                    <a:lnTo>
                      <a:pt x="2728209" y="1018499"/>
                    </a:lnTo>
                    <a:close/>
                  </a:path>
                </a:pathLst>
              </a:custGeom>
              <a:noFill/>
              <a:ln w="6089">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85" name="Group 84">
              <a:extLst>
                <a:ext uri="{FF2B5EF4-FFF2-40B4-BE49-F238E27FC236}">
                  <a16:creationId xmlns:a16="http://schemas.microsoft.com/office/drawing/2014/main" id="{7C0B2786-EB9C-BD9B-0A91-CE0B84A156CF}"/>
                </a:ext>
              </a:extLst>
            </p:cNvPr>
            <p:cNvGrpSpPr/>
            <p:nvPr/>
          </p:nvGrpSpPr>
          <p:grpSpPr>
            <a:xfrm>
              <a:off x="5087063" y="1864243"/>
              <a:ext cx="1018499" cy="2143593"/>
              <a:chOff x="2099454" y="974360"/>
              <a:chExt cx="1018499" cy="2143593"/>
            </a:xfrm>
          </p:grpSpPr>
          <p:sp>
            <p:nvSpPr>
              <p:cNvPr id="99" name="Rounded Rectangle 10">
                <a:extLst>
                  <a:ext uri="{FF2B5EF4-FFF2-40B4-BE49-F238E27FC236}">
                    <a16:creationId xmlns:a16="http://schemas.microsoft.com/office/drawing/2014/main" id="{97BC6B8E-B983-AF25-3752-DE7F0970DAF3}"/>
                  </a:ext>
                </a:extLst>
              </p:cNvPr>
              <p:cNvSpPr/>
              <p:nvPr/>
            </p:nvSpPr>
            <p:spPr>
              <a:xfrm>
                <a:off x="2099454" y="974360"/>
                <a:ext cx="1018499" cy="2143593"/>
              </a:xfrm>
              <a:custGeom>
                <a:avLst/>
                <a:gdLst/>
                <a:ahLst/>
                <a:cxnLst/>
                <a:rect l="0" t="0" r="0" b="0"/>
                <a:pathLst>
                  <a:path w="1018499" h="2143593">
                    <a:moveTo>
                      <a:pt x="1018499" y="0"/>
                    </a:moveTo>
                    <a:lnTo>
                      <a:pt x="1018499" y="1364104"/>
                    </a:lnTo>
                    <a:cubicBezTo>
                      <a:pt x="567121" y="1364104"/>
                      <a:pt x="195395" y="1705136"/>
                      <a:pt x="146927" y="2143593"/>
                    </a:cubicBezTo>
                    <a:lnTo>
                      <a:pt x="0" y="2143593"/>
                    </a:lnTo>
                    <a:cubicBezTo>
                      <a:pt x="44490" y="1672690"/>
                      <a:pt x="408160" y="1294707"/>
                      <a:pt x="872345" y="1228311"/>
                    </a:cubicBezTo>
                    <a:lnTo>
                      <a:pt x="872345" y="0"/>
                    </a:lnTo>
                    <a:close/>
                  </a:path>
                </a:pathLst>
              </a:custGeom>
              <a:solidFill>
                <a:srgbClr val="986222"/>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100" name="Rounded Rectangle 11">
                <a:extLst>
                  <a:ext uri="{FF2B5EF4-FFF2-40B4-BE49-F238E27FC236}">
                    <a16:creationId xmlns:a16="http://schemas.microsoft.com/office/drawing/2014/main" id="{9925B449-C0CB-B94E-5A7A-3BC3A7DE53FE}"/>
                  </a:ext>
                </a:extLst>
              </p:cNvPr>
              <p:cNvSpPr/>
              <p:nvPr/>
            </p:nvSpPr>
            <p:spPr>
              <a:xfrm>
                <a:off x="2099454" y="974360"/>
                <a:ext cx="1018499" cy="2143593"/>
              </a:xfrm>
              <a:custGeom>
                <a:avLst/>
                <a:gdLst/>
                <a:ahLst/>
                <a:cxnLst/>
                <a:rect l="0" t="0" r="0" b="0"/>
                <a:pathLst>
                  <a:path w="1018499" h="2143593">
                    <a:moveTo>
                      <a:pt x="1018499" y="0"/>
                    </a:moveTo>
                    <a:lnTo>
                      <a:pt x="1018499" y="1364104"/>
                    </a:lnTo>
                    <a:cubicBezTo>
                      <a:pt x="567121" y="1364104"/>
                      <a:pt x="195395" y="1705136"/>
                      <a:pt x="146927" y="2143593"/>
                    </a:cubicBezTo>
                    <a:lnTo>
                      <a:pt x="0" y="2143593"/>
                    </a:lnTo>
                    <a:cubicBezTo>
                      <a:pt x="44490" y="1672690"/>
                      <a:pt x="408160" y="1294707"/>
                      <a:pt x="872345" y="1228311"/>
                    </a:cubicBezTo>
                    <a:lnTo>
                      <a:pt x="872345" y="0"/>
                    </a:lnTo>
                    <a:close/>
                  </a:path>
                </a:pathLst>
              </a:custGeom>
              <a:noFill/>
              <a:ln w="6089">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sp>
          <p:nvSpPr>
            <p:cNvPr id="86" name="TextBox 13">
              <a:extLst>
                <a:ext uri="{FF2B5EF4-FFF2-40B4-BE49-F238E27FC236}">
                  <a16:creationId xmlns:a16="http://schemas.microsoft.com/office/drawing/2014/main" id="{C61432DB-84C0-4806-8908-3EB11CD7BE83}"/>
                </a:ext>
              </a:extLst>
            </p:cNvPr>
            <p:cNvSpPr txBox="1"/>
            <p:nvPr/>
          </p:nvSpPr>
          <p:spPr>
            <a:xfrm>
              <a:off x="4239103" y="1321037"/>
              <a:ext cx="4036437" cy="285008"/>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500" b="1" noProof="0">
                  <a:solidFill>
                    <a:srgbClr val="464646"/>
                  </a:solidFill>
                  <a:latin typeface="Avenir LT Pro 45Book"/>
                </a:rPr>
                <a:t>Examples of Strategic Pricing Approaches</a:t>
              </a:r>
            </a:p>
          </p:txBody>
        </p:sp>
        <p:sp>
          <p:nvSpPr>
            <p:cNvPr id="87" name="TextBox 14">
              <a:extLst>
                <a:ext uri="{FF2B5EF4-FFF2-40B4-BE49-F238E27FC236}">
                  <a16:creationId xmlns:a16="http://schemas.microsoft.com/office/drawing/2014/main" id="{8D11F9B9-3938-4DC0-0162-DB555ED12994}"/>
                </a:ext>
              </a:extLst>
            </p:cNvPr>
            <p:cNvSpPr txBox="1"/>
            <p:nvPr/>
          </p:nvSpPr>
          <p:spPr>
            <a:xfrm>
              <a:off x="3608963" y="2318945"/>
              <a:ext cx="1367963" cy="45601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200" b="1" noProof="0">
                  <a:solidFill>
                    <a:srgbClr val="464646"/>
                  </a:solidFill>
                  <a:latin typeface="Avenir LT Pro 45Book"/>
                </a:rPr>
                <a:t>Amazon Prime's
Value Positioning</a:t>
              </a:r>
            </a:p>
          </p:txBody>
        </p:sp>
        <p:sp>
          <p:nvSpPr>
            <p:cNvPr id="88" name="TextBox 15">
              <a:extLst>
                <a:ext uri="{FF2B5EF4-FFF2-40B4-BE49-F238E27FC236}">
                  <a16:creationId xmlns:a16="http://schemas.microsoft.com/office/drawing/2014/main" id="{01697343-793C-C09C-B5B1-5515F6FEF428}"/>
                </a:ext>
              </a:extLst>
            </p:cNvPr>
            <p:cNvSpPr txBox="1"/>
            <p:nvPr/>
          </p:nvSpPr>
          <p:spPr>
            <a:xfrm>
              <a:off x="7396590" y="2465099"/>
              <a:ext cx="1271931" cy="45601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200" b="1" noProof="0">
                  <a:solidFill>
                    <a:srgbClr val="464646"/>
                  </a:solidFill>
                  <a:latin typeface="Avenir LT Pro 45Book"/>
                </a:rPr>
                <a:t>Tesla's Premium
Positioning</a:t>
              </a:r>
            </a:p>
          </p:txBody>
        </p:sp>
        <p:sp>
          <p:nvSpPr>
            <p:cNvPr id="89" name="TextBox 16">
              <a:extLst>
                <a:ext uri="{FF2B5EF4-FFF2-40B4-BE49-F238E27FC236}">
                  <a16:creationId xmlns:a16="http://schemas.microsoft.com/office/drawing/2014/main" id="{9AA9ADD9-0D52-751D-C390-8915B175ECB8}"/>
                </a:ext>
              </a:extLst>
            </p:cNvPr>
            <p:cNvSpPr txBox="1"/>
            <p:nvPr/>
          </p:nvSpPr>
          <p:spPr>
            <a:xfrm>
              <a:off x="3800544" y="2848794"/>
              <a:ext cx="1219204" cy="68402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900" b="0" noProof="0">
                  <a:solidFill>
                    <a:srgbClr val="464646"/>
                  </a:solidFill>
                  <a:latin typeface="Avenir LT Pro 45Book"/>
                </a:rPr>
                <a:t>Amazon balances
value capture with
compelling customer
benefits.</a:t>
              </a:r>
            </a:p>
          </p:txBody>
        </p:sp>
        <p:sp>
          <p:nvSpPr>
            <p:cNvPr id="90" name="TextBox 17">
              <a:extLst>
                <a:ext uri="{FF2B5EF4-FFF2-40B4-BE49-F238E27FC236}">
                  <a16:creationId xmlns:a16="http://schemas.microsoft.com/office/drawing/2014/main" id="{FCF3484E-6762-9C4C-4155-C38B82B91699}"/>
                </a:ext>
              </a:extLst>
            </p:cNvPr>
            <p:cNvSpPr txBox="1"/>
            <p:nvPr/>
          </p:nvSpPr>
          <p:spPr>
            <a:xfrm>
              <a:off x="7396590" y="2969332"/>
              <a:ext cx="1290456" cy="513015"/>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900" b="0" noProof="0">
                  <a:solidFill>
                    <a:srgbClr val="464646"/>
                  </a:solidFill>
                  <a:latin typeface="Avenir LT Pro 45Book"/>
                </a:rPr>
                <a:t>Tesla captures high
value by aligning price
with customer WTP.</a:t>
              </a:r>
            </a:p>
          </p:txBody>
        </p:sp>
        <p:sp>
          <p:nvSpPr>
            <p:cNvPr id="91" name="TextBox 18">
              <a:extLst>
                <a:ext uri="{FF2B5EF4-FFF2-40B4-BE49-F238E27FC236}">
                  <a16:creationId xmlns:a16="http://schemas.microsoft.com/office/drawing/2014/main" id="{E351302F-8179-CA74-F231-3E87FA1FE360}"/>
                </a:ext>
              </a:extLst>
            </p:cNvPr>
            <p:cNvSpPr txBox="1"/>
            <p:nvPr/>
          </p:nvSpPr>
          <p:spPr>
            <a:xfrm>
              <a:off x="4124500" y="4594956"/>
              <a:ext cx="927862" cy="68402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200" b="1" noProof="0">
                  <a:solidFill>
                    <a:srgbClr val="464646"/>
                  </a:solidFill>
                  <a:latin typeface="Avenir LT Pro 45Book"/>
                </a:rPr>
                <a:t>Adobe's
Penetration
Positioning</a:t>
              </a:r>
            </a:p>
          </p:txBody>
        </p:sp>
        <p:sp>
          <p:nvSpPr>
            <p:cNvPr id="92" name="TextBox 19">
              <a:extLst>
                <a:ext uri="{FF2B5EF4-FFF2-40B4-BE49-F238E27FC236}">
                  <a16:creationId xmlns:a16="http://schemas.microsoft.com/office/drawing/2014/main" id="{63402F49-EB8C-E4BC-3357-540890BD6928}"/>
                </a:ext>
              </a:extLst>
            </p:cNvPr>
            <p:cNvSpPr txBox="1"/>
            <p:nvPr/>
          </p:nvSpPr>
          <p:spPr>
            <a:xfrm>
              <a:off x="7388470" y="4803564"/>
              <a:ext cx="1238996" cy="45601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200" b="1" noProof="0">
                  <a:solidFill>
                    <a:srgbClr val="464646"/>
                  </a:solidFill>
                  <a:latin typeface="Avenir LT Pro 45Book"/>
                </a:rPr>
                <a:t>Uber's Dynamic
Pricing</a:t>
              </a:r>
            </a:p>
          </p:txBody>
        </p:sp>
        <p:sp>
          <p:nvSpPr>
            <p:cNvPr id="93" name="TextBox 20">
              <a:extLst>
                <a:ext uri="{FF2B5EF4-FFF2-40B4-BE49-F238E27FC236}">
                  <a16:creationId xmlns:a16="http://schemas.microsoft.com/office/drawing/2014/main" id="{9A3A6AF4-48BB-225B-88F9-E435561352D3}"/>
                </a:ext>
              </a:extLst>
            </p:cNvPr>
            <p:cNvSpPr txBox="1"/>
            <p:nvPr/>
          </p:nvSpPr>
          <p:spPr>
            <a:xfrm>
              <a:off x="3733870" y="5332155"/>
              <a:ext cx="1318165" cy="68402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900" b="0" noProof="0">
                  <a:solidFill>
                    <a:srgbClr val="464646"/>
                  </a:solidFill>
                  <a:latin typeface="Avenir LT Pro 45Book"/>
                </a:rPr>
                <a:t>Adobe drives adoption
by offering high
customer value at
moderate prices.</a:t>
              </a:r>
            </a:p>
          </p:txBody>
        </p:sp>
        <p:sp>
          <p:nvSpPr>
            <p:cNvPr id="94" name="TextBox 21">
              <a:extLst>
                <a:ext uri="{FF2B5EF4-FFF2-40B4-BE49-F238E27FC236}">
                  <a16:creationId xmlns:a16="http://schemas.microsoft.com/office/drawing/2014/main" id="{06B25FB2-68FD-A87A-1CF3-EEBD46A128E8}"/>
                </a:ext>
              </a:extLst>
            </p:cNvPr>
            <p:cNvSpPr txBox="1"/>
            <p:nvPr/>
          </p:nvSpPr>
          <p:spPr>
            <a:xfrm>
              <a:off x="7388470" y="5307796"/>
              <a:ext cx="1470567" cy="513015"/>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900" b="0" noProof="0">
                  <a:solidFill>
                    <a:srgbClr val="464646"/>
                  </a:solidFill>
                  <a:latin typeface="Avenir LT Pro 45Book"/>
                </a:rPr>
                <a:t>Uber adjusts prices to
maximize revenue during
high demand.</a:t>
              </a:r>
            </a:p>
          </p:txBody>
        </p:sp>
        <p:sp>
          <p:nvSpPr>
            <p:cNvPr id="95" name="Rounded Rectangle 22">
              <a:extLst>
                <a:ext uri="{FF2B5EF4-FFF2-40B4-BE49-F238E27FC236}">
                  <a16:creationId xmlns:a16="http://schemas.microsoft.com/office/drawing/2014/main" id="{0EAFA059-C98A-AD05-6E19-6F6D5F73629D}"/>
                </a:ext>
              </a:extLst>
            </p:cNvPr>
            <p:cNvSpPr/>
            <p:nvPr/>
          </p:nvSpPr>
          <p:spPr>
            <a:xfrm>
              <a:off x="5220004" y="2689978"/>
              <a:ext cx="373504" cy="373504"/>
            </a:xfrm>
            <a:custGeom>
              <a:avLst/>
              <a:gdLst/>
              <a:ahLst/>
              <a:cxnLst/>
              <a:rect l="0" t="0" r="0" b="0"/>
              <a:pathLst>
                <a:path w="373504" h="373504">
                  <a:moveTo>
                    <a:pt x="191396" y="356112"/>
                  </a:moveTo>
                  <a:cubicBezTo>
                    <a:pt x="191387" y="365720"/>
                    <a:pt x="183596" y="373504"/>
                    <a:pt x="173988" y="373504"/>
                  </a:cubicBezTo>
                  <a:lnTo>
                    <a:pt x="17392" y="373504"/>
                  </a:lnTo>
                  <a:cubicBezTo>
                    <a:pt x="7790" y="373495"/>
                    <a:pt x="8" y="365714"/>
                    <a:pt x="0" y="356112"/>
                  </a:cubicBezTo>
                  <a:lnTo>
                    <a:pt x="0" y="312607"/>
                  </a:lnTo>
                  <a:cubicBezTo>
                    <a:pt x="0" y="259754"/>
                    <a:pt x="42845" y="216908"/>
                    <a:pt x="95698" y="216908"/>
                  </a:cubicBezTo>
                  <a:cubicBezTo>
                    <a:pt x="148551" y="216908"/>
                    <a:pt x="191396" y="259754"/>
                    <a:pt x="191396" y="312607"/>
                  </a:cubicBezTo>
                  <a:close/>
                  <a:moveTo>
                    <a:pt x="59159" y="276068"/>
                  </a:moveTo>
                  <a:cubicBezTo>
                    <a:pt x="59159" y="278311"/>
                    <a:pt x="60977" y="280128"/>
                    <a:pt x="63219" y="280128"/>
                  </a:cubicBezTo>
                  <a:cubicBezTo>
                    <a:pt x="65461" y="280128"/>
                    <a:pt x="67279" y="278311"/>
                    <a:pt x="67279" y="276068"/>
                  </a:cubicBezTo>
                  <a:cubicBezTo>
                    <a:pt x="67279" y="273826"/>
                    <a:pt x="65461" y="272009"/>
                    <a:pt x="63219" y="272009"/>
                  </a:cubicBezTo>
                  <a:cubicBezTo>
                    <a:pt x="60977" y="272009"/>
                    <a:pt x="59159" y="273826"/>
                    <a:pt x="59159" y="276068"/>
                  </a:cubicBezTo>
                  <a:moveTo>
                    <a:pt x="124117" y="275971"/>
                  </a:moveTo>
                  <a:cubicBezTo>
                    <a:pt x="124117" y="278213"/>
                    <a:pt x="125934" y="280031"/>
                    <a:pt x="128177" y="280031"/>
                  </a:cubicBezTo>
                  <a:cubicBezTo>
                    <a:pt x="130419" y="280031"/>
                    <a:pt x="132236" y="278213"/>
                    <a:pt x="132236" y="275971"/>
                  </a:cubicBezTo>
                  <a:cubicBezTo>
                    <a:pt x="132236" y="273729"/>
                    <a:pt x="130419" y="271911"/>
                    <a:pt x="128177" y="271911"/>
                  </a:cubicBezTo>
                  <a:cubicBezTo>
                    <a:pt x="125934" y="271911"/>
                    <a:pt x="124117" y="273729"/>
                    <a:pt x="124117" y="275971"/>
                  </a:cubicBezTo>
                  <a:moveTo>
                    <a:pt x="95698" y="216908"/>
                  </a:moveTo>
                  <a:lnTo>
                    <a:pt x="95698" y="182108"/>
                  </a:lnTo>
                  <a:moveTo>
                    <a:pt x="69601" y="156011"/>
                  </a:moveTo>
                  <a:cubicBezTo>
                    <a:pt x="69601" y="141598"/>
                    <a:pt x="81285" y="129914"/>
                    <a:pt x="95698" y="129914"/>
                  </a:cubicBezTo>
                  <a:cubicBezTo>
                    <a:pt x="110111" y="129914"/>
                    <a:pt x="121795" y="141598"/>
                    <a:pt x="121795" y="156011"/>
                  </a:cubicBezTo>
                  <a:cubicBezTo>
                    <a:pt x="121795" y="170424"/>
                    <a:pt x="110111" y="182108"/>
                    <a:pt x="95698" y="182108"/>
                  </a:cubicBezTo>
                  <a:cubicBezTo>
                    <a:pt x="81285" y="182108"/>
                    <a:pt x="69601" y="170424"/>
                    <a:pt x="69601" y="156011"/>
                  </a:cubicBezTo>
                  <a:moveTo>
                    <a:pt x="191396" y="329902"/>
                  </a:moveTo>
                  <a:lnTo>
                    <a:pt x="0" y="329902"/>
                  </a:lnTo>
                  <a:moveTo>
                    <a:pt x="219231" y="81196"/>
                  </a:moveTo>
                  <a:lnTo>
                    <a:pt x="219231" y="16239"/>
                  </a:lnTo>
                  <a:cubicBezTo>
                    <a:pt x="219231" y="7270"/>
                    <a:pt x="226501" y="0"/>
                    <a:pt x="235470" y="0"/>
                  </a:cubicBezTo>
                  <a:lnTo>
                    <a:pt x="357265" y="0"/>
                  </a:lnTo>
                  <a:cubicBezTo>
                    <a:pt x="366234" y="0"/>
                    <a:pt x="373504" y="7270"/>
                    <a:pt x="373504" y="16239"/>
                  </a:cubicBezTo>
                  <a:lnTo>
                    <a:pt x="373504" y="129914"/>
                  </a:lnTo>
                  <a:lnTo>
                    <a:pt x="341026" y="129914"/>
                  </a:lnTo>
                  <a:moveTo>
                    <a:pt x="194872" y="129914"/>
                  </a:moveTo>
                  <a:lnTo>
                    <a:pt x="154273" y="129914"/>
                  </a:lnTo>
                  <a:cubicBezTo>
                    <a:pt x="145305" y="129914"/>
                    <a:pt x="138034" y="122644"/>
                    <a:pt x="138034" y="113675"/>
                  </a:cubicBezTo>
                  <a:lnTo>
                    <a:pt x="138034" y="73077"/>
                  </a:lnTo>
                  <a:cubicBezTo>
                    <a:pt x="138034" y="46170"/>
                    <a:pt x="159846" y="24359"/>
                    <a:pt x="186752" y="24359"/>
                  </a:cubicBezTo>
                  <a:lnTo>
                    <a:pt x="219231" y="24359"/>
                  </a:lnTo>
                  <a:lnTo>
                    <a:pt x="219231" y="113675"/>
                  </a:lnTo>
                  <a:moveTo>
                    <a:pt x="138034" y="81196"/>
                  </a:moveTo>
                  <a:lnTo>
                    <a:pt x="202991" y="81196"/>
                  </a:lnTo>
                  <a:cubicBezTo>
                    <a:pt x="211960" y="81196"/>
                    <a:pt x="219231" y="73926"/>
                    <a:pt x="219231" y="64957"/>
                  </a:cubicBezTo>
                  <a:moveTo>
                    <a:pt x="194872" y="138034"/>
                  </a:moveTo>
                  <a:cubicBezTo>
                    <a:pt x="194872" y="124581"/>
                    <a:pt x="205778" y="113675"/>
                    <a:pt x="219231" y="113675"/>
                  </a:cubicBezTo>
                  <a:cubicBezTo>
                    <a:pt x="232684" y="113675"/>
                    <a:pt x="243590" y="124581"/>
                    <a:pt x="243590" y="138034"/>
                  </a:cubicBezTo>
                  <a:cubicBezTo>
                    <a:pt x="243590" y="151487"/>
                    <a:pt x="232684" y="162393"/>
                    <a:pt x="219231" y="162393"/>
                  </a:cubicBezTo>
                  <a:cubicBezTo>
                    <a:pt x="205778" y="162393"/>
                    <a:pt x="194872" y="151487"/>
                    <a:pt x="194872" y="138034"/>
                  </a:cubicBezTo>
                  <a:moveTo>
                    <a:pt x="292308" y="138034"/>
                  </a:moveTo>
                  <a:cubicBezTo>
                    <a:pt x="292308" y="124581"/>
                    <a:pt x="303214" y="113675"/>
                    <a:pt x="316667" y="113675"/>
                  </a:cubicBezTo>
                  <a:cubicBezTo>
                    <a:pt x="330120" y="113675"/>
                    <a:pt x="341026" y="124581"/>
                    <a:pt x="341026" y="138034"/>
                  </a:cubicBezTo>
                  <a:cubicBezTo>
                    <a:pt x="341026" y="151487"/>
                    <a:pt x="330120" y="162393"/>
                    <a:pt x="316667" y="162393"/>
                  </a:cubicBezTo>
                  <a:cubicBezTo>
                    <a:pt x="303214" y="162393"/>
                    <a:pt x="292308" y="151487"/>
                    <a:pt x="292308" y="138034"/>
                  </a:cubicBezTo>
                  <a:moveTo>
                    <a:pt x="243638" y="129914"/>
                  </a:moveTo>
                  <a:lnTo>
                    <a:pt x="292356" y="129914"/>
                  </a:lnTo>
                </a:path>
              </a:pathLst>
            </a:custGeom>
            <a:noFill/>
            <a:ln w="608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96" name="Rounded Rectangle 23">
              <a:extLst>
                <a:ext uri="{FF2B5EF4-FFF2-40B4-BE49-F238E27FC236}">
                  <a16:creationId xmlns:a16="http://schemas.microsoft.com/office/drawing/2014/main" id="{565936B6-9B85-4408-F59B-003CE1533060}"/>
                </a:ext>
              </a:extLst>
            </p:cNvPr>
            <p:cNvSpPr/>
            <p:nvPr/>
          </p:nvSpPr>
          <p:spPr>
            <a:xfrm>
              <a:off x="6814623" y="2733098"/>
              <a:ext cx="365374" cy="353680"/>
            </a:xfrm>
            <a:custGeom>
              <a:avLst/>
              <a:gdLst/>
              <a:ahLst/>
              <a:cxnLst/>
              <a:rect l="0" t="0" r="0" b="0"/>
              <a:pathLst>
                <a:path w="365373" h="353680">
                  <a:moveTo>
                    <a:pt x="220128" y="90095"/>
                  </a:moveTo>
                  <a:lnTo>
                    <a:pt x="220128" y="29052"/>
                  </a:lnTo>
                  <a:cubicBezTo>
                    <a:pt x="220128" y="13013"/>
                    <a:pt x="233125" y="9"/>
                    <a:pt x="249164" y="0"/>
                  </a:cubicBezTo>
                  <a:lnTo>
                    <a:pt x="336321" y="0"/>
                  </a:lnTo>
                  <a:cubicBezTo>
                    <a:pt x="352366" y="0"/>
                    <a:pt x="365373" y="13007"/>
                    <a:pt x="365373" y="29052"/>
                  </a:cubicBezTo>
                  <a:lnTo>
                    <a:pt x="365373" y="243038"/>
                  </a:lnTo>
                  <a:moveTo>
                    <a:pt x="287099" y="108933"/>
                  </a:moveTo>
                  <a:lnTo>
                    <a:pt x="307269" y="72622"/>
                  </a:lnTo>
                  <a:lnTo>
                    <a:pt x="277015" y="72622"/>
                  </a:lnTo>
                  <a:lnTo>
                    <a:pt x="297184" y="36311"/>
                  </a:lnTo>
                  <a:moveTo>
                    <a:pt x="21797" y="308401"/>
                  </a:moveTo>
                  <a:cubicBezTo>
                    <a:pt x="9761" y="308401"/>
                    <a:pt x="4" y="298644"/>
                    <a:pt x="4" y="286608"/>
                  </a:cubicBezTo>
                  <a:cubicBezTo>
                    <a:pt x="0" y="272657"/>
                    <a:pt x="5544" y="259278"/>
                    <a:pt x="15415" y="249420"/>
                  </a:cubicBezTo>
                  <a:lnTo>
                    <a:pt x="43558" y="221244"/>
                  </a:lnTo>
                  <a:lnTo>
                    <a:pt x="283234" y="221244"/>
                  </a:lnTo>
                  <a:lnTo>
                    <a:pt x="311393" y="249420"/>
                  </a:lnTo>
                  <a:cubicBezTo>
                    <a:pt x="321264" y="259278"/>
                    <a:pt x="326809" y="272657"/>
                    <a:pt x="326804" y="286608"/>
                  </a:cubicBezTo>
                  <a:cubicBezTo>
                    <a:pt x="326804" y="298644"/>
                    <a:pt x="317047" y="308401"/>
                    <a:pt x="305011" y="308401"/>
                  </a:cubicBezTo>
                  <a:close/>
                  <a:moveTo>
                    <a:pt x="65351" y="264831"/>
                  </a:moveTo>
                  <a:lnTo>
                    <a:pt x="4713" y="264831"/>
                  </a:lnTo>
                  <a:moveTo>
                    <a:pt x="261441" y="264831"/>
                  </a:moveTo>
                  <a:lnTo>
                    <a:pt x="322079" y="264831"/>
                  </a:lnTo>
                  <a:moveTo>
                    <a:pt x="43558" y="221244"/>
                  </a:moveTo>
                  <a:lnTo>
                    <a:pt x="68290" y="155296"/>
                  </a:lnTo>
                  <a:cubicBezTo>
                    <a:pt x="73080" y="142550"/>
                    <a:pt x="85269" y="134107"/>
                    <a:pt x="98885" y="134104"/>
                  </a:cubicBezTo>
                  <a:lnTo>
                    <a:pt x="227891" y="134104"/>
                  </a:lnTo>
                  <a:cubicBezTo>
                    <a:pt x="241512" y="134104"/>
                    <a:pt x="253707" y="142547"/>
                    <a:pt x="258502" y="155296"/>
                  </a:cubicBezTo>
                  <a:lnTo>
                    <a:pt x="283234" y="221244"/>
                  </a:lnTo>
                  <a:moveTo>
                    <a:pt x="79219" y="308401"/>
                  </a:moveTo>
                  <a:lnTo>
                    <a:pt x="79219" y="330259"/>
                  </a:lnTo>
                  <a:cubicBezTo>
                    <a:pt x="77024" y="344034"/>
                    <a:pt x="64344" y="353618"/>
                    <a:pt x="50492" y="351971"/>
                  </a:cubicBezTo>
                  <a:cubicBezTo>
                    <a:pt x="36646" y="353609"/>
                    <a:pt x="23976" y="344027"/>
                    <a:pt x="21781" y="330259"/>
                  </a:cubicBezTo>
                  <a:lnTo>
                    <a:pt x="21781" y="308401"/>
                  </a:lnTo>
                  <a:close/>
                  <a:moveTo>
                    <a:pt x="305742" y="308401"/>
                  </a:moveTo>
                  <a:lnTo>
                    <a:pt x="305742" y="330259"/>
                  </a:lnTo>
                  <a:cubicBezTo>
                    <a:pt x="303578" y="344061"/>
                    <a:pt x="290888" y="353680"/>
                    <a:pt x="277015" y="352036"/>
                  </a:cubicBezTo>
                  <a:cubicBezTo>
                    <a:pt x="263142" y="353680"/>
                    <a:pt x="250452" y="344061"/>
                    <a:pt x="248287" y="330259"/>
                  </a:cubicBezTo>
                  <a:lnTo>
                    <a:pt x="248287" y="308401"/>
                  </a:lnTo>
                  <a:close/>
                </a:path>
              </a:pathLst>
            </a:custGeom>
            <a:noFill/>
            <a:ln w="608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97" name="Rounded Rectangle 24">
              <a:extLst>
                <a:ext uri="{FF2B5EF4-FFF2-40B4-BE49-F238E27FC236}">
                  <a16:creationId xmlns:a16="http://schemas.microsoft.com/office/drawing/2014/main" id="{ACCAD367-A794-3685-602A-6C97015C730E}"/>
                </a:ext>
              </a:extLst>
            </p:cNvPr>
            <p:cNvSpPr/>
            <p:nvPr/>
          </p:nvSpPr>
          <p:spPr>
            <a:xfrm>
              <a:off x="5259020" y="5085522"/>
              <a:ext cx="384511" cy="290147"/>
            </a:xfrm>
            <a:custGeom>
              <a:avLst/>
              <a:gdLst/>
              <a:ahLst/>
              <a:cxnLst/>
              <a:rect l="0" t="0" r="0" b="0"/>
              <a:pathLst>
                <a:path w="384512" h="290147">
                  <a:moveTo>
                    <a:pt x="113675" y="290145"/>
                  </a:moveTo>
                  <a:cubicBezTo>
                    <a:pt x="50894" y="290145"/>
                    <a:pt x="0" y="239251"/>
                    <a:pt x="0" y="176470"/>
                  </a:cubicBezTo>
                  <a:cubicBezTo>
                    <a:pt x="0" y="113689"/>
                    <a:pt x="50894" y="62794"/>
                    <a:pt x="113675" y="62794"/>
                  </a:cubicBezTo>
                  <a:cubicBezTo>
                    <a:pt x="118911" y="62797"/>
                    <a:pt x="124142" y="63155"/>
                    <a:pt x="129330" y="63866"/>
                  </a:cubicBezTo>
                  <a:cubicBezTo>
                    <a:pt x="170276" y="14614"/>
                    <a:pt x="239725" y="0"/>
                    <a:pt x="297049" y="28572"/>
                  </a:cubicBezTo>
                  <a:cubicBezTo>
                    <a:pt x="354373" y="57144"/>
                    <a:pt x="384512" y="121396"/>
                    <a:pt x="369834" y="183742"/>
                  </a:cubicBezTo>
                  <a:cubicBezTo>
                    <a:pt x="355157" y="246088"/>
                    <a:pt x="299520" y="290147"/>
                    <a:pt x="235470" y="290145"/>
                  </a:cubicBezTo>
                  <a:close/>
                  <a:moveTo>
                    <a:pt x="117735" y="106105"/>
                  </a:moveTo>
                  <a:cubicBezTo>
                    <a:pt x="79618" y="106105"/>
                    <a:pt x="48718" y="137005"/>
                    <a:pt x="48718" y="175122"/>
                  </a:cubicBezTo>
                  <a:cubicBezTo>
                    <a:pt x="48718" y="213239"/>
                    <a:pt x="79618" y="244139"/>
                    <a:pt x="117735" y="244139"/>
                  </a:cubicBezTo>
                  <a:lnTo>
                    <a:pt x="140746" y="244139"/>
                  </a:lnTo>
                  <a:moveTo>
                    <a:pt x="117735" y="106105"/>
                  </a:moveTo>
                  <a:cubicBezTo>
                    <a:pt x="136042" y="106075"/>
                    <a:pt x="153605" y="113346"/>
                    <a:pt x="166534" y="126306"/>
                  </a:cubicBezTo>
                  <a:lnTo>
                    <a:pt x="202667" y="162439"/>
                  </a:lnTo>
                  <a:moveTo>
                    <a:pt x="117848" y="167343"/>
                  </a:moveTo>
                  <a:lnTo>
                    <a:pt x="167687" y="217182"/>
                  </a:lnTo>
                  <a:lnTo>
                    <a:pt x="167687" y="217182"/>
                  </a:lnTo>
                  <a:cubicBezTo>
                    <a:pt x="203036" y="252541"/>
                    <a:pt x="260150" y="253207"/>
                    <a:pt x="296315" y="218684"/>
                  </a:cubicBezTo>
                  <a:cubicBezTo>
                    <a:pt x="332480" y="184160"/>
                    <a:pt x="334465" y="127077"/>
                    <a:pt x="300786" y="90124"/>
                  </a:cubicBezTo>
                  <a:cubicBezTo>
                    <a:pt x="267106" y="53172"/>
                    <a:pt x="210084" y="49870"/>
                    <a:pt x="172364" y="82688"/>
                  </a:cubicBezTo>
                </a:path>
              </a:pathLst>
            </a:custGeom>
            <a:noFill/>
            <a:ln w="608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98" name="Rounded Rectangle 25">
              <a:extLst>
                <a:ext uri="{FF2B5EF4-FFF2-40B4-BE49-F238E27FC236}">
                  <a16:creationId xmlns:a16="http://schemas.microsoft.com/office/drawing/2014/main" id="{D8EE48F5-9CE4-2E53-1348-C2201BFD6342}"/>
                </a:ext>
              </a:extLst>
            </p:cNvPr>
            <p:cNvSpPr/>
            <p:nvPr/>
          </p:nvSpPr>
          <p:spPr>
            <a:xfrm>
              <a:off x="6858127" y="4972056"/>
              <a:ext cx="373489" cy="373504"/>
            </a:xfrm>
            <a:custGeom>
              <a:avLst/>
              <a:gdLst/>
              <a:ahLst/>
              <a:cxnLst/>
              <a:rect l="0" t="0" r="0" b="0"/>
              <a:pathLst>
                <a:path w="373489" h="373504">
                  <a:moveTo>
                    <a:pt x="251694" y="73077"/>
                  </a:moveTo>
                  <a:cubicBezTo>
                    <a:pt x="254917" y="73080"/>
                    <a:pt x="257833" y="74989"/>
                    <a:pt x="259124" y="77942"/>
                  </a:cubicBezTo>
                  <a:cubicBezTo>
                    <a:pt x="260416" y="80895"/>
                    <a:pt x="259839" y="84332"/>
                    <a:pt x="257654" y="86701"/>
                  </a:cubicBezTo>
                  <a:lnTo>
                    <a:pt x="172803" y="178632"/>
                  </a:lnTo>
                  <a:lnTo>
                    <a:pt x="188685" y="105555"/>
                  </a:lnTo>
                  <a:lnTo>
                    <a:pt x="133471" y="105555"/>
                  </a:lnTo>
                  <a:cubicBezTo>
                    <a:pt x="130309" y="105557"/>
                    <a:pt x="127433" y="103723"/>
                    <a:pt x="126101" y="100854"/>
                  </a:cubicBezTo>
                  <a:cubicBezTo>
                    <a:pt x="124769" y="97985"/>
                    <a:pt x="125225" y="94604"/>
                    <a:pt x="127268" y="92190"/>
                  </a:cubicBezTo>
                  <a:lnTo>
                    <a:pt x="205282" y="0"/>
                  </a:lnTo>
                  <a:lnTo>
                    <a:pt x="189042" y="73077"/>
                  </a:lnTo>
                  <a:close/>
                  <a:moveTo>
                    <a:pt x="332891" y="81196"/>
                  </a:moveTo>
                  <a:lnTo>
                    <a:pt x="292292" y="113675"/>
                  </a:lnTo>
                  <a:lnTo>
                    <a:pt x="324771" y="146154"/>
                  </a:lnTo>
                  <a:lnTo>
                    <a:pt x="284173" y="178632"/>
                  </a:lnTo>
                  <a:moveTo>
                    <a:pt x="24343" y="121795"/>
                  </a:moveTo>
                  <a:lnTo>
                    <a:pt x="56822" y="162393"/>
                  </a:lnTo>
                  <a:lnTo>
                    <a:pt x="89300" y="129914"/>
                  </a:lnTo>
                  <a:lnTo>
                    <a:pt x="121779" y="170513"/>
                  </a:lnTo>
                  <a:moveTo>
                    <a:pt x="188490" y="300866"/>
                  </a:moveTo>
                  <a:cubicBezTo>
                    <a:pt x="192521" y="304223"/>
                    <a:pt x="194853" y="309196"/>
                    <a:pt x="194856" y="314442"/>
                  </a:cubicBezTo>
                  <a:lnTo>
                    <a:pt x="194856" y="331477"/>
                  </a:lnTo>
                  <a:cubicBezTo>
                    <a:pt x="194856" y="341235"/>
                    <a:pt x="186946" y="349145"/>
                    <a:pt x="177188" y="349145"/>
                  </a:cubicBezTo>
                  <a:lnTo>
                    <a:pt x="170497" y="349145"/>
                  </a:lnTo>
                  <a:cubicBezTo>
                    <a:pt x="170497" y="362599"/>
                    <a:pt x="159591" y="373504"/>
                    <a:pt x="146138" y="373504"/>
                  </a:cubicBezTo>
                  <a:cubicBezTo>
                    <a:pt x="132685" y="373504"/>
                    <a:pt x="121779" y="362599"/>
                    <a:pt x="121779" y="349145"/>
                  </a:cubicBezTo>
                  <a:lnTo>
                    <a:pt x="73061" y="349145"/>
                  </a:lnTo>
                  <a:cubicBezTo>
                    <a:pt x="73061" y="362599"/>
                    <a:pt x="62155" y="373504"/>
                    <a:pt x="48702" y="373504"/>
                  </a:cubicBezTo>
                  <a:cubicBezTo>
                    <a:pt x="35249" y="373504"/>
                    <a:pt x="24343" y="362599"/>
                    <a:pt x="24343" y="349145"/>
                  </a:cubicBezTo>
                  <a:lnTo>
                    <a:pt x="17669" y="349145"/>
                  </a:lnTo>
                  <a:cubicBezTo>
                    <a:pt x="7911" y="349145"/>
                    <a:pt x="0" y="341235"/>
                    <a:pt x="0" y="331477"/>
                  </a:cubicBezTo>
                  <a:lnTo>
                    <a:pt x="0" y="316569"/>
                  </a:lnTo>
                  <a:cubicBezTo>
                    <a:pt x="0" y="310147"/>
                    <a:pt x="3481" y="304229"/>
                    <a:pt x="9094" y="301109"/>
                  </a:cubicBezTo>
                  <a:lnTo>
                    <a:pt x="39770" y="284074"/>
                  </a:lnTo>
                  <a:lnTo>
                    <a:pt x="54792" y="251011"/>
                  </a:lnTo>
                  <a:cubicBezTo>
                    <a:pt x="59091" y="241546"/>
                    <a:pt x="68528" y="235469"/>
                    <a:pt x="78923" y="235470"/>
                  </a:cubicBezTo>
                  <a:lnTo>
                    <a:pt x="134771" y="235470"/>
                  </a:lnTo>
                  <a:cubicBezTo>
                    <a:pt x="146753" y="235432"/>
                    <a:pt x="157268" y="243443"/>
                    <a:pt x="160412" y="255006"/>
                  </a:cubicBezTo>
                  <a:lnTo>
                    <a:pt x="168354" y="284074"/>
                  </a:lnTo>
                  <a:lnTo>
                    <a:pt x="188490" y="300866"/>
                  </a:lnTo>
                  <a:close/>
                  <a:moveTo>
                    <a:pt x="222966" y="274006"/>
                  </a:moveTo>
                  <a:lnTo>
                    <a:pt x="233408" y="251011"/>
                  </a:lnTo>
                  <a:cubicBezTo>
                    <a:pt x="237708" y="241546"/>
                    <a:pt x="247144" y="235469"/>
                    <a:pt x="257540" y="235470"/>
                  </a:cubicBezTo>
                  <a:lnTo>
                    <a:pt x="313403" y="235470"/>
                  </a:lnTo>
                  <a:cubicBezTo>
                    <a:pt x="325386" y="235432"/>
                    <a:pt x="335901" y="243443"/>
                    <a:pt x="339045" y="255006"/>
                  </a:cubicBezTo>
                  <a:lnTo>
                    <a:pt x="346986" y="284074"/>
                  </a:lnTo>
                  <a:lnTo>
                    <a:pt x="367123" y="300866"/>
                  </a:lnTo>
                  <a:cubicBezTo>
                    <a:pt x="371153" y="304223"/>
                    <a:pt x="373485" y="309196"/>
                    <a:pt x="373489" y="314442"/>
                  </a:cubicBezTo>
                  <a:lnTo>
                    <a:pt x="373489" y="331477"/>
                  </a:lnTo>
                  <a:cubicBezTo>
                    <a:pt x="373489" y="341235"/>
                    <a:pt x="365578" y="349145"/>
                    <a:pt x="355821" y="349145"/>
                  </a:cubicBezTo>
                  <a:lnTo>
                    <a:pt x="349130" y="349145"/>
                  </a:lnTo>
                  <a:cubicBezTo>
                    <a:pt x="349130" y="362599"/>
                    <a:pt x="338224" y="373504"/>
                    <a:pt x="324771" y="373504"/>
                  </a:cubicBezTo>
                  <a:cubicBezTo>
                    <a:pt x="311318" y="373504"/>
                    <a:pt x="300412" y="362599"/>
                    <a:pt x="300412" y="349145"/>
                  </a:cubicBezTo>
                  <a:lnTo>
                    <a:pt x="251694" y="349145"/>
                  </a:lnTo>
                  <a:cubicBezTo>
                    <a:pt x="251692" y="357343"/>
                    <a:pt x="247566" y="364990"/>
                    <a:pt x="240716" y="369493"/>
                  </a:cubicBezTo>
                </a:path>
              </a:pathLst>
            </a:custGeom>
            <a:noFill/>
            <a:ln w="608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sp>
        <p:nvSpPr>
          <p:cNvPr id="27" name="Arrow: Chevron 26">
            <a:extLst>
              <a:ext uri="{FF2B5EF4-FFF2-40B4-BE49-F238E27FC236}">
                <a16:creationId xmlns:a16="http://schemas.microsoft.com/office/drawing/2014/main" id="{AE91F5DA-C216-63D1-9FBD-85726EE0409D}"/>
              </a:ext>
            </a:extLst>
          </p:cNvPr>
          <p:cNvSpPr/>
          <p:nvPr/>
        </p:nvSpPr>
        <p:spPr>
          <a:xfrm>
            <a:off x="8108917"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28" name="Arrow: Chevron 27">
            <a:extLst>
              <a:ext uri="{FF2B5EF4-FFF2-40B4-BE49-F238E27FC236}">
                <a16:creationId xmlns:a16="http://schemas.microsoft.com/office/drawing/2014/main" id="{E18C2A47-209A-69E6-73F5-91B8028BC8CD}"/>
              </a:ext>
            </a:extLst>
          </p:cNvPr>
          <p:cNvSpPr/>
          <p:nvPr/>
        </p:nvSpPr>
        <p:spPr>
          <a:xfrm>
            <a:off x="9071675"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29" name="Arrow: Chevron 28">
            <a:extLst>
              <a:ext uri="{FF2B5EF4-FFF2-40B4-BE49-F238E27FC236}">
                <a16:creationId xmlns:a16="http://schemas.microsoft.com/office/drawing/2014/main" id="{E7D946B3-7560-EEB4-A3BC-E1CDA4C2FF15}"/>
              </a:ext>
            </a:extLst>
          </p:cNvPr>
          <p:cNvSpPr/>
          <p:nvPr/>
        </p:nvSpPr>
        <p:spPr>
          <a:xfrm>
            <a:off x="10034433"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30" name="Arrow: Chevron 29">
            <a:extLst>
              <a:ext uri="{FF2B5EF4-FFF2-40B4-BE49-F238E27FC236}">
                <a16:creationId xmlns:a16="http://schemas.microsoft.com/office/drawing/2014/main" id="{9E3CE62A-E1D7-B808-D008-1F512B73B077}"/>
              </a:ext>
            </a:extLst>
          </p:cNvPr>
          <p:cNvSpPr/>
          <p:nvPr/>
        </p:nvSpPr>
        <p:spPr>
          <a:xfrm>
            <a:off x="1099963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37813176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AA4DC1-B3AA-5AFA-7F7F-760E3FE07DC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C8D42D4-AEDF-9F7C-71D6-70B256CB8DCE}"/>
              </a:ext>
            </a:extLst>
          </p:cNvPr>
          <p:cNvGraphicFramePr>
            <a:graphicFrameLocks noChangeAspect="1"/>
          </p:cNvGraphicFramePr>
          <p:nvPr>
            <p:custDataLst>
              <p:tags r:id="rId1"/>
            </p:custDataLst>
            <p:extLst>
              <p:ext uri="{D42A27DB-BD31-4B8C-83A1-F6EECF244321}">
                <p14:modId xmlns:p14="http://schemas.microsoft.com/office/powerpoint/2010/main" val="826705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BC8D42D4-AEDF-9F7C-71D6-70B256CB8D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7EA3725-42B5-23E1-017A-CBC3DBB305CA}"/>
              </a:ext>
            </a:extLst>
          </p:cNvPr>
          <p:cNvSpPr>
            <a:spLocks noGrp="1"/>
          </p:cNvSpPr>
          <p:nvPr>
            <p:ph type="title"/>
          </p:nvPr>
        </p:nvSpPr>
        <p:spPr>
          <a:xfrm>
            <a:off x="137786" y="125260"/>
            <a:ext cx="6646735" cy="806754"/>
          </a:xfrm>
        </p:spPr>
        <p:txBody>
          <a:bodyPr vert="horz">
            <a:normAutofit/>
          </a:bodyPr>
          <a:lstStyle/>
          <a:p>
            <a:r>
              <a:rPr lang="en-GB" b="1" noProof="0"/>
              <a:t>Diagnostic Questions (1/3)</a:t>
            </a:r>
          </a:p>
        </p:txBody>
      </p:sp>
      <p:sp>
        <p:nvSpPr>
          <p:cNvPr id="4" name="Arrow: Chevron 3">
            <a:extLst>
              <a:ext uri="{FF2B5EF4-FFF2-40B4-BE49-F238E27FC236}">
                <a16:creationId xmlns:a16="http://schemas.microsoft.com/office/drawing/2014/main" id="{34F8AC0D-8F99-2EEF-874A-E77937BE58AE}"/>
              </a:ext>
            </a:extLst>
          </p:cNvPr>
          <p:cNvSpPr/>
          <p:nvPr/>
        </p:nvSpPr>
        <p:spPr>
          <a:xfrm>
            <a:off x="8113996"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5" name="Arrow: Chevron 4">
            <a:extLst>
              <a:ext uri="{FF2B5EF4-FFF2-40B4-BE49-F238E27FC236}">
                <a16:creationId xmlns:a16="http://schemas.microsoft.com/office/drawing/2014/main" id="{706FE572-6341-B0BE-7184-5DF4817718A7}"/>
              </a:ext>
            </a:extLst>
          </p:cNvPr>
          <p:cNvSpPr/>
          <p:nvPr/>
        </p:nvSpPr>
        <p:spPr>
          <a:xfrm>
            <a:off x="9076754"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6" name="Arrow: Chevron 5">
            <a:extLst>
              <a:ext uri="{FF2B5EF4-FFF2-40B4-BE49-F238E27FC236}">
                <a16:creationId xmlns:a16="http://schemas.microsoft.com/office/drawing/2014/main" id="{2C8620F3-F68F-2EDB-D4F7-48F1498648A7}"/>
              </a:ext>
            </a:extLst>
          </p:cNvPr>
          <p:cNvSpPr/>
          <p:nvPr/>
        </p:nvSpPr>
        <p:spPr>
          <a:xfrm>
            <a:off x="10039512"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9" name="Arrow: Chevron 8">
            <a:extLst>
              <a:ext uri="{FF2B5EF4-FFF2-40B4-BE49-F238E27FC236}">
                <a16:creationId xmlns:a16="http://schemas.microsoft.com/office/drawing/2014/main" id="{A6A371D6-3763-4B9B-AAA0-404F6913343B}"/>
              </a:ext>
            </a:extLst>
          </p:cNvPr>
          <p:cNvSpPr/>
          <p:nvPr/>
        </p:nvSpPr>
        <p:spPr>
          <a:xfrm>
            <a:off x="1099963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graphicFrame>
        <p:nvGraphicFramePr>
          <p:cNvPr id="17" name="Table 16">
            <a:extLst>
              <a:ext uri="{FF2B5EF4-FFF2-40B4-BE49-F238E27FC236}">
                <a16:creationId xmlns:a16="http://schemas.microsoft.com/office/drawing/2014/main" id="{5D412FA4-3890-A4B4-BC09-C8A3AB2CB1D8}"/>
              </a:ext>
            </a:extLst>
          </p:cNvPr>
          <p:cNvGraphicFramePr>
            <a:graphicFrameLocks noGrp="1"/>
          </p:cNvGraphicFramePr>
          <p:nvPr>
            <p:extLst>
              <p:ext uri="{D42A27DB-BD31-4B8C-83A1-F6EECF244321}">
                <p14:modId xmlns:p14="http://schemas.microsoft.com/office/powerpoint/2010/main" val="538181729"/>
              </p:ext>
            </p:extLst>
          </p:nvPr>
        </p:nvGraphicFramePr>
        <p:xfrm>
          <a:off x="251900" y="3549790"/>
          <a:ext cx="11688200" cy="2614751"/>
        </p:xfrm>
        <a:graphic>
          <a:graphicData uri="http://schemas.openxmlformats.org/drawingml/2006/table">
            <a:tbl>
              <a:tblPr/>
              <a:tblGrid>
                <a:gridCol w="3480200">
                  <a:extLst>
                    <a:ext uri="{9D8B030D-6E8A-4147-A177-3AD203B41FA5}">
                      <a16:colId xmlns:a16="http://schemas.microsoft.com/office/drawing/2014/main" val="136738683"/>
                    </a:ext>
                  </a:extLst>
                </a:gridCol>
                <a:gridCol w="1368000">
                  <a:extLst>
                    <a:ext uri="{9D8B030D-6E8A-4147-A177-3AD203B41FA5}">
                      <a16:colId xmlns:a16="http://schemas.microsoft.com/office/drawing/2014/main" val="3535507555"/>
                    </a:ext>
                  </a:extLst>
                </a:gridCol>
                <a:gridCol w="1368000">
                  <a:extLst>
                    <a:ext uri="{9D8B030D-6E8A-4147-A177-3AD203B41FA5}">
                      <a16:colId xmlns:a16="http://schemas.microsoft.com/office/drawing/2014/main" val="3882249571"/>
                    </a:ext>
                  </a:extLst>
                </a:gridCol>
                <a:gridCol w="1368000">
                  <a:extLst>
                    <a:ext uri="{9D8B030D-6E8A-4147-A177-3AD203B41FA5}">
                      <a16:colId xmlns:a16="http://schemas.microsoft.com/office/drawing/2014/main" val="1007820904"/>
                    </a:ext>
                  </a:extLst>
                </a:gridCol>
                <a:gridCol w="1368000">
                  <a:extLst>
                    <a:ext uri="{9D8B030D-6E8A-4147-A177-3AD203B41FA5}">
                      <a16:colId xmlns:a16="http://schemas.microsoft.com/office/drawing/2014/main" val="3999937779"/>
                    </a:ext>
                  </a:extLst>
                </a:gridCol>
                <a:gridCol w="1368000">
                  <a:extLst>
                    <a:ext uri="{9D8B030D-6E8A-4147-A177-3AD203B41FA5}">
                      <a16:colId xmlns:a16="http://schemas.microsoft.com/office/drawing/2014/main" val="1600309353"/>
                    </a:ext>
                  </a:extLst>
                </a:gridCol>
                <a:gridCol w="1368000">
                  <a:extLst>
                    <a:ext uri="{9D8B030D-6E8A-4147-A177-3AD203B41FA5}">
                      <a16:colId xmlns:a16="http://schemas.microsoft.com/office/drawing/2014/main" val="716613308"/>
                    </a:ext>
                  </a:extLst>
                </a:gridCol>
              </a:tblGrid>
              <a:tr h="608597">
                <a:tc>
                  <a:txBody>
                    <a:bodyPr/>
                    <a:lstStyle/>
                    <a:p>
                      <a:pPr algn="l" rtl="0" fontAlgn="ctr">
                        <a:buNone/>
                      </a:pPr>
                      <a:r>
                        <a:rPr lang="en-GB" sz="1000" b="1" i="0" u="none" strike="noStrike" noProof="0">
                          <a:solidFill>
                            <a:srgbClr val="FFFFFF"/>
                          </a:solidFill>
                          <a:effectLst/>
                          <a:latin typeface="Avenir Next LT Pro" panose="020B0504020202020204" pitchFamily="34" charset="0"/>
                        </a:rPr>
                        <a:t>Question 1 Data Sourc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tc>
                  <a:txBody>
                    <a:bodyPr/>
                    <a:lstStyle/>
                    <a:p>
                      <a:pPr algn="l" rtl="0" fontAlgn="ctr">
                        <a:buNone/>
                      </a:pPr>
                      <a:r>
                        <a:rPr lang="en-GB" sz="1000" b="1" i="0" u="none" strike="noStrike" noProof="0">
                          <a:solidFill>
                            <a:srgbClr val="FFFFFF"/>
                          </a:solidFill>
                          <a:effectLst/>
                          <a:latin typeface="Avenir Next LT Pro" panose="020B0504020202020204" pitchFamily="34" charset="0"/>
                        </a:rPr>
                        <a:t>Customer Interview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tc>
                  <a:txBody>
                    <a:bodyPr/>
                    <a:lstStyle/>
                    <a:p>
                      <a:pPr algn="l" rtl="0" fontAlgn="ctr">
                        <a:buNone/>
                      </a:pPr>
                      <a:r>
                        <a:rPr lang="en-GB" sz="1000" b="1" i="0" u="none" strike="noStrike" noProof="0">
                          <a:solidFill>
                            <a:srgbClr val="FFFFFF"/>
                          </a:solidFill>
                          <a:effectLst/>
                          <a:latin typeface="Avenir Next LT Pro" panose="020B0504020202020204" pitchFamily="34" charset="0"/>
                        </a:rPr>
                        <a:t>Interviews with Sales Personnel</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tc>
                  <a:txBody>
                    <a:bodyPr/>
                    <a:lstStyle/>
                    <a:p>
                      <a:pPr algn="l" rtl="0" fontAlgn="ctr">
                        <a:buNone/>
                      </a:pPr>
                      <a:r>
                        <a:rPr lang="en-GB" sz="1000" b="1" i="0" u="none" strike="noStrike" noProof="0">
                          <a:solidFill>
                            <a:srgbClr val="FFFFFF"/>
                          </a:solidFill>
                          <a:effectLst/>
                          <a:latin typeface="Avenir Next LT Pro" panose="020B0504020202020204" pitchFamily="34" charset="0"/>
                        </a:rPr>
                        <a:t>Competitive Intelligence</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tc>
                  <a:txBody>
                    <a:bodyPr/>
                    <a:lstStyle/>
                    <a:p>
                      <a:pPr algn="l" rtl="0" fontAlgn="ctr">
                        <a:buNone/>
                      </a:pPr>
                      <a:r>
                        <a:rPr lang="en-GB" sz="1000" b="1" i="0" u="none" strike="noStrike" noProof="0">
                          <a:solidFill>
                            <a:srgbClr val="FFFFFF"/>
                          </a:solidFill>
                          <a:effectLst/>
                          <a:latin typeface="Avenir Next LT Pro" panose="020B0504020202020204" pitchFamily="34" charset="0"/>
                        </a:rPr>
                        <a:t>Voice of the Customer Studi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tc>
                  <a:txBody>
                    <a:bodyPr/>
                    <a:lstStyle/>
                    <a:p>
                      <a:pPr algn="l" rtl="0" fontAlgn="ctr">
                        <a:buNone/>
                      </a:pPr>
                      <a:r>
                        <a:rPr lang="en-GB" sz="1000" b="1" i="0" u="none" strike="noStrike" noProof="0">
                          <a:solidFill>
                            <a:srgbClr val="FFFFFF"/>
                          </a:solidFill>
                          <a:effectLst/>
                          <a:latin typeface="Avenir Next LT Pro" panose="020B0504020202020204" pitchFamily="34" charset="0"/>
                        </a:rPr>
                        <a:t>Management interview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tc>
                  <a:txBody>
                    <a:bodyPr/>
                    <a:lstStyle/>
                    <a:p>
                      <a:pPr algn="l" rtl="0" fontAlgn="ctr">
                        <a:buNone/>
                      </a:pPr>
                      <a:r>
                        <a:rPr lang="en-GB" sz="1000" b="1" i="0" u="none" strike="noStrike" noProof="0" err="1">
                          <a:solidFill>
                            <a:srgbClr val="FFFFFF"/>
                          </a:solidFill>
                          <a:effectLst/>
                          <a:latin typeface="Avenir Next LT Pro" panose="020B0504020202020204" pitchFamily="34" charset="0"/>
                        </a:rPr>
                        <a:t>Mgt</a:t>
                      </a:r>
                      <a:r>
                        <a:rPr lang="en-GB" sz="1000" b="1" i="0" u="none" strike="noStrike" noProof="0">
                          <a:solidFill>
                            <a:srgbClr val="FFFFFF"/>
                          </a:solidFill>
                          <a:effectLst/>
                          <a:latin typeface="Avenir Next LT Pro" panose="020B0504020202020204" pitchFamily="34" charset="0"/>
                        </a:rPr>
                        <a:t> Control system</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extLst>
                  <a:ext uri="{0D108BD9-81ED-4DB2-BD59-A6C34878D82A}">
                    <a16:rowId xmlns:a16="http://schemas.microsoft.com/office/drawing/2014/main" val="2917339543"/>
                  </a:ext>
                </a:extLst>
              </a:tr>
              <a:tr h="334359">
                <a:tc>
                  <a:txBody>
                    <a:bodyPr/>
                    <a:lstStyle/>
                    <a:p>
                      <a:pPr algn="l" rtl="0" fontAlgn="ctr">
                        <a:buNone/>
                      </a:pPr>
                      <a:r>
                        <a:rPr lang="en-GB" sz="1000" b="1" i="0" u="none" strike="noStrike" noProof="0">
                          <a:solidFill>
                            <a:srgbClr val="000000"/>
                          </a:solidFill>
                          <a:effectLst/>
                          <a:latin typeface="Avenir Next LT Pro" panose="020B0504020202020204" pitchFamily="34" charset="0"/>
                        </a:rPr>
                        <a:t>Which Generic Strategy describes u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230786051"/>
                  </a:ext>
                </a:extLst>
              </a:tr>
              <a:tr h="334359">
                <a:tc>
                  <a:txBody>
                    <a:bodyPr/>
                    <a:lstStyle/>
                    <a:p>
                      <a:pPr algn="l" rtl="0" fontAlgn="ctr">
                        <a:buNone/>
                      </a:pPr>
                      <a:r>
                        <a:rPr lang="en-GB" sz="1000" b="1" i="0" u="none" strike="noStrike" noProof="0">
                          <a:solidFill>
                            <a:srgbClr val="000000"/>
                          </a:solidFill>
                          <a:effectLst/>
                          <a:latin typeface="Avenir Next LT Pro" panose="020B0504020202020204" pitchFamily="34" charset="0"/>
                        </a:rPr>
                        <a:t>What positioning archetypes better describe u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499895568"/>
                  </a:ext>
                </a:extLst>
              </a:tr>
              <a:tr h="334359">
                <a:tc>
                  <a:txBody>
                    <a:bodyPr/>
                    <a:lstStyle/>
                    <a:p>
                      <a:pPr algn="l" rtl="0" fontAlgn="ctr">
                        <a:buNone/>
                      </a:pPr>
                      <a:r>
                        <a:rPr lang="en-GB" sz="1000" b="1" i="0" u="none" strike="noStrike" noProof="0">
                          <a:solidFill>
                            <a:srgbClr val="000000"/>
                          </a:solidFill>
                          <a:effectLst/>
                          <a:latin typeface="Avenir Next LT Pro" panose="020B0504020202020204" pitchFamily="34" charset="0"/>
                        </a:rPr>
                        <a:t>What is the positioning of your key competitor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398821761"/>
                  </a:ext>
                </a:extLst>
              </a:tr>
              <a:tr h="334359">
                <a:tc>
                  <a:txBody>
                    <a:bodyPr/>
                    <a:lstStyle/>
                    <a:p>
                      <a:pPr algn="l" rtl="0" fontAlgn="ctr">
                        <a:buNone/>
                      </a:pPr>
                      <a:r>
                        <a:rPr lang="en-GB" sz="1000" b="1" i="0" u="none" strike="noStrike" noProof="0">
                          <a:solidFill>
                            <a:srgbClr val="000000"/>
                          </a:solidFill>
                          <a:effectLst/>
                          <a:latin typeface="Avenir Next LT Pro" panose="020B0504020202020204" pitchFamily="34" charset="0"/>
                        </a:rPr>
                        <a:t>How clearly articulated is our VP?</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4103573276"/>
                  </a:ext>
                </a:extLst>
              </a:tr>
              <a:tr h="334359">
                <a:tc>
                  <a:txBody>
                    <a:bodyPr/>
                    <a:lstStyle/>
                    <a:p>
                      <a:pPr algn="l" rtl="0" fontAlgn="ctr">
                        <a:buNone/>
                      </a:pPr>
                      <a:r>
                        <a:rPr lang="en-GB" sz="1000" b="1" i="0" u="none" strike="noStrike" noProof="0">
                          <a:solidFill>
                            <a:srgbClr val="000000"/>
                          </a:solidFill>
                          <a:effectLst/>
                          <a:latin typeface="Avenir Next LT Pro" panose="020B0504020202020204" pitchFamily="34" charset="0"/>
                        </a:rPr>
                        <a:t>Evidence of competitive advantage?</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77051896"/>
                  </a:ext>
                </a:extLst>
              </a:tr>
              <a:tr h="334359">
                <a:tc>
                  <a:txBody>
                    <a:bodyPr/>
                    <a:lstStyle/>
                    <a:p>
                      <a:pPr algn="l" rtl="0" fontAlgn="ctr">
                        <a:buNone/>
                      </a:pPr>
                      <a:r>
                        <a:rPr lang="en-GB" sz="1000" b="1" i="0" u="none" strike="noStrike" noProof="0">
                          <a:solidFill>
                            <a:srgbClr val="000000"/>
                          </a:solidFill>
                          <a:effectLst/>
                          <a:latin typeface="Avenir Next LT Pro" panose="020B0504020202020204" pitchFamily="34" charset="0"/>
                        </a:rPr>
                        <a:t>Where is there lack of coherence?</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912131696"/>
                  </a:ext>
                </a:extLst>
              </a:tr>
            </a:tbl>
          </a:graphicData>
        </a:graphic>
      </p:graphicFrame>
      <p:grpSp>
        <p:nvGrpSpPr>
          <p:cNvPr id="18" name="Group 17">
            <a:extLst>
              <a:ext uri="{FF2B5EF4-FFF2-40B4-BE49-F238E27FC236}">
                <a16:creationId xmlns:a16="http://schemas.microsoft.com/office/drawing/2014/main" id="{D5A45C5A-F2D6-F3B3-1E6F-1E55520DFA42}"/>
              </a:ext>
            </a:extLst>
          </p:cNvPr>
          <p:cNvGrpSpPr/>
          <p:nvPr/>
        </p:nvGrpSpPr>
        <p:grpSpPr>
          <a:xfrm>
            <a:off x="3015733" y="1235222"/>
            <a:ext cx="1220538" cy="1914495"/>
            <a:chOff x="433575" y="1192333"/>
            <a:chExt cx="1517514" cy="2269658"/>
          </a:xfrm>
          <a:solidFill>
            <a:srgbClr val="F98700"/>
          </a:solidFill>
        </p:grpSpPr>
        <p:sp>
          <p:nvSpPr>
            <p:cNvPr id="58" name="Rounded Rectangle 1">
              <a:extLst>
                <a:ext uri="{FF2B5EF4-FFF2-40B4-BE49-F238E27FC236}">
                  <a16:creationId xmlns:a16="http://schemas.microsoft.com/office/drawing/2014/main" id="{AF19CD45-1804-F3B4-993B-4AA5CF319452}"/>
                </a:ext>
              </a:extLst>
            </p:cNvPr>
            <p:cNvSpPr/>
            <p:nvPr/>
          </p:nvSpPr>
          <p:spPr>
            <a:xfrm>
              <a:off x="433575" y="1192333"/>
              <a:ext cx="1517514" cy="2269658"/>
            </a:xfrm>
            <a:custGeom>
              <a:avLst/>
              <a:gdLst/>
              <a:ahLst/>
              <a:cxnLst/>
              <a:rect l="0" t="0" r="0" b="0"/>
              <a:pathLst>
                <a:path w="1517514" h="2269658">
                  <a:moveTo>
                    <a:pt x="1517514" y="108393"/>
                  </a:moveTo>
                  <a:lnTo>
                    <a:pt x="0" y="108393"/>
                  </a:lnTo>
                  <a:cubicBezTo>
                    <a:pt x="0" y="48529"/>
                    <a:pt x="48529" y="0"/>
                    <a:pt x="108393" y="0"/>
                  </a:cubicBezTo>
                  <a:lnTo>
                    <a:pt x="1409120" y="0"/>
                  </a:lnTo>
                  <a:cubicBezTo>
                    <a:pt x="1468981" y="0"/>
                    <a:pt x="1517514" y="48529"/>
                    <a:pt x="1517514" y="108393"/>
                  </a:cubicBezTo>
                  <a:close/>
                  <a:moveTo>
                    <a:pt x="0" y="1842696"/>
                  </a:moveTo>
                  <a:lnTo>
                    <a:pt x="0" y="108394"/>
                  </a:lnTo>
                  <a:lnTo>
                    <a:pt x="1517514" y="108393"/>
                  </a:lnTo>
                  <a:lnTo>
                    <a:pt x="1517514" y="1842696"/>
                  </a:lnTo>
                  <a:close/>
                  <a:moveTo>
                    <a:pt x="0" y="1842696"/>
                  </a:moveTo>
                  <a:lnTo>
                    <a:pt x="1517514" y="1842696"/>
                  </a:lnTo>
                  <a:lnTo>
                    <a:pt x="1517514" y="1879616"/>
                  </a:lnTo>
                  <a:cubicBezTo>
                    <a:pt x="1517514" y="1922976"/>
                    <a:pt x="1491671" y="1962164"/>
                    <a:pt x="1451819" y="1979245"/>
                  </a:cubicBezTo>
                  <a:lnTo>
                    <a:pt x="801455" y="2257972"/>
                  </a:lnTo>
                  <a:cubicBezTo>
                    <a:pt x="774190" y="2269658"/>
                    <a:pt x="743325" y="2269658"/>
                    <a:pt x="716059" y="2257972"/>
                  </a:cubicBezTo>
                  <a:lnTo>
                    <a:pt x="65695" y="1979245"/>
                  </a:lnTo>
                  <a:cubicBezTo>
                    <a:pt x="25841" y="1962164"/>
                    <a:pt x="0" y="1922976"/>
                    <a:pt x="0" y="1879616"/>
                  </a:cubicBezTo>
                  <a:close/>
                </a:path>
              </a:pathLst>
            </a:custGeom>
            <a:grp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59" name="Rounded Rectangle 2">
              <a:extLst>
                <a:ext uri="{FF2B5EF4-FFF2-40B4-BE49-F238E27FC236}">
                  <a16:creationId xmlns:a16="http://schemas.microsoft.com/office/drawing/2014/main" id="{040B114C-8265-CD8D-D327-2B3517000ECB}"/>
                </a:ext>
              </a:extLst>
            </p:cNvPr>
            <p:cNvSpPr/>
            <p:nvPr/>
          </p:nvSpPr>
          <p:spPr>
            <a:xfrm>
              <a:off x="433575" y="1192333"/>
              <a:ext cx="1517514" cy="2269658"/>
            </a:xfrm>
            <a:custGeom>
              <a:avLst/>
              <a:gdLst/>
              <a:ahLst/>
              <a:cxnLst/>
              <a:rect l="0" t="0" r="0" b="0"/>
              <a:pathLst>
                <a:path w="1517514" h="2269658">
                  <a:moveTo>
                    <a:pt x="0" y="108393"/>
                  </a:moveTo>
                  <a:cubicBezTo>
                    <a:pt x="0" y="48529"/>
                    <a:pt x="48529" y="0"/>
                    <a:pt x="108393" y="0"/>
                  </a:cubicBezTo>
                  <a:lnTo>
                    <a:pt x="1409120" y="0"/>
                  </a:lnTo>
                  <a:cubicBezTo>
                    <a:pt x="1468985" y="0"/>
                    <a:pt x="1517514" y="48529"/>
                    <a:pt x="1517514" y="108393"/>
                  </a:cubicBezTo>
                  <a:moveTo>
                    <a:pt x="1517514" y="1842693"/>
                  </a:moveTo>
                  <a:lnTo>
                    <a:pt x="1517514" y="108393"/>
                  </a:lnTo>
                  <a:moveTo>
                    <a:pt x="0" y="1842693"/>
                  </a:moveTo>
                  <a:lnTo>
                    <a:pt x="0" y="108393"/>
                  </a:lnTo>
                  <a:moveTo>
                    <a:pt x="1517514" y="1842696"/>
                  </a:moveTo>
                  <a:lnTo>
                    <a:pt x="1517514" y="1879615"/>
                  </a:lnTo>
                  <a:cubicBezTo>
                    <a:pt x="1517514" y="1922976"/>
                    <a:pt x="1491673" y="1962164"/>
                    <a:pt x="1451819" y="1979245"/>
                  </a:cubicBezTo>
                  <a:lnTo>
                    <a:pt x="801455" y="2257972"/>
                  </a:lnTo>
                  <a:cubicBezTo>
                    <a:pt x="774190" y="2269658"/>
                    <a:pt x="743325" y="2269658"/>
                    <a:pt x="716059" y="2257972"/>
                  </a:cubicBezTo>
                  <a:lnTo>
                    <a:pt x="65695" y="1979245"/>
                  </a:lnTo>
                  <a:cubicBezTo>
                    <a:pt x="25841" y="1962164"/>
                    <a:pt x="0" y="1922976"/>
                    <a:pt x="0" y="1879615"/>
                  </a:cubicBezTo>
                  <a:lnTo>
                    <a:pt x="0" y="1842696"/>
                  </a:lnTo>
                </a:path>
              </a:pathLst>
            </a:custGeom>
            <a:grpFill/>
            <a:ln w="6774">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grpSp>
        <p:nvGrpSpPr>
          <p:cNvPr id="19" name="Group 18">
            <a:extLst>
              <a:ext uri="{FF2B5EF4-FFF2-40B4-BE49-F238E27FC236}">
                <a16:creationId xmlns:a16="http://schemas.microsoft.com/office/drawing/2014/main" id="{9C0AB335-7269-FF87-6D42-3BFF66E139D2}"/>
              </a:ext>
            </a:extLst>
          </p:cNvPr>
          <p:cNvGrpSpPr/>
          <p:nvPr/>
        </p:nvGrpSpPr>
        <p:grpSpPr>
          <a:xfrm>
            <a:off x="7853577" y="1235646"/>
            <a:ext cx="1220538" cy="1914495"/>
            <a:chOff x="2167878" y="1192333"/>
            <a:chExt cx="1517514" cy="2269658"/>
          </a:xfrm>
          <a:solidFill>
            <a:srgbClr val="7F7F7F"/>
          </a:solidFill>
        </p:grpSpPr>
        <p:sp>
          <p:nvSpPr>
            <p:cNvPr id="56" name="Rounded Rectangle 4">
              <a:extLst>
                <a:ext uri="{FF2B5EF4-FFF2-40B4-BE49-F238E27FC236}">
                  <a16:creationId xmlns:a16="http://schemas.microsoft.com/office/drawing/2014/main" id="{4D436EDE-367E-F80F-C38E-E577C54C497F}"/>
                </a:ext>
              </a:extLst>
            </p:cNvPr>
            <p:cNvSpPr/>
            <p:nvPr/>
          </p:nvSpPr>
          <p:spPr>
            <a:xfrm>
              <a:off x="2167878" y="1192333"/>
              <a:ext cx="1517514" cy="2269658"/>
            </a:xfrm>
            <a:custGeom>
              <a:avLst/>
              <a:gdLst/>
              <a:ahLst/>
              <a:cxnLst/>
              <a:rect l="0" t="0" r="0" b="0"/>
              <a:pathLst>
                <a:path w="1517514" h="2269658">
                  <a:moveTo>
                    <a:pt x="1517514" y="108393"/>
                  </a:moveTo>
                  <a:lnTo>
                    <a:pt x="0" y="108393"/>
                  </a:lnTo>
                  <a:cubicBezTo>
                    <a:pt x="0" y="48529"/>
                    <a:pt x="48529" y="0"/>
                    <a:pt x="108393" y="0"/>
                  </a:cubicBezTo>
                  <a:lnTo>
                    <a:pt x="1409120" y="0"/>
                  </a:lnTo>
                  <a:cubicBezTo>
                    <a:pt x="1468981" y="0"/>
                    <a:pt x="1517514" y="48529"/>
                    <a:pt x="1517514" y="108393"/>
                  </a:cubicBezTo>
                  <a:close/>
                  <a:moveTo>
                    <a:pt x="0" y="1842696"/>
                  </a:moveTo>
                  <a:lnTo>
                    <a:pt x="0" y="108394"/>
                  </a:lnTo>
                  <a:lnTo>
                    <a:pt x="1517514" y="108393"/>
                  </a:lnTo>
                  <a:lnTo>
                    <a:pt x="1517514" y="1842696"/>
                  </a:lnTo>
                  <a:close/>
                  <a:moveTo>
                    <a:pt x="0" y="1842696"/>
                  </a:moveTo>
                  <a:lnTo>
                    <a:pt x="1517514" y="1842696"/>
                  </a:lnTo>
                  <a:lnTo>
                    <a:pt x="1517514" y="1879616"/>
                  </a:lnTo>
                  <a:cubicBezTo>
                    <a:pt x="1517514" y="1922976"/>
                    <a:pt x="1491671" y="1962164"/>
                    <a:pt x="1451819" y="1979245"/>
                  </a:cubicBezTo>
                  <a:lnTo>
                    <a:pt x="801455" y="2257972"/>
                  </a:lnTo>
                  <a:cubicBezTo>
                    <a:pt x="774190" y="2269658"/>
                    <a:pt x="743325" y="2269658"/>
                    <a:pt x="716059" y="2257972"/>
                  </a:cubicBezTo>
                  <a:lnTo>
                    <a:pt x="65695" y="1979245"/>
                  </a:lnTo>
                  <a:cubicBezTo>
                    <a:pt x="25841" y="1962164"/>
                    <a:pt x="0" y="1922976"/>
                    <a:pt x="0" y="1879616"/>
                  </a:cubicBezTo>
                  <a:close/>
                </a:path>
              </a:pathLst>
            </a:custGeom>
            <a:grp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57" name="Rounded Rectangle 5">
              <a:extLst>
                <a:ext uri="{FF2B5EF4-FFF2-40B4-BE49-F238E27FC236}">
                  <a16:creationId xmlns:a16="http://schemas.microsoft.com/office/drawing/2014/main" id="{3A74946C-17DD-9A16-F39B-B48C37B8DDBD}"/>
                </a:ext>
              </a:extLst>
            </p:cNvPr>
            <p:cNvSpPr/>
            <p:nvPr/>
          </p:nvSpPr>
          <p:spPr>
            <a:xfrm>
              <a:off x="2167878" y="1192333"/>
              <a:ext cx="1517514" cy="2269658"/>
            </a:xfrm>
            <a:custGeom>
              <a:avLst/>
              <a:gdLst/>
              <a:ahLst/>
              <a:cxnLst/>
              <a:rect l="0" t="0" r="0" b="0"/>
              <a:pathLst>
                <a:path w="1517514" h="2269658">
                  <a:moveTo>
                    <a:pt x="0" y="108393"/>
                  </a:moveTo>
                  <a:cubicBezTo>
                    <a:pt x="0" y="48529"/>
                    <a:pt x="48529" y="0"/>
                    <a:pt x="108393" y="0"/>
                  </a:cubicBezTo>
                  <a:lnTo>
                    <a:pt x="1409120" y="0"/>
                  </a:lnTo>
                  <a:cubicBezTo>
                    <a:pt x="1468985" y="0"/>
                    <a:pt x="1517514" y="48529"/>
                    <a:pt x="1517514" y="108393"/>
                  </a:cubicBezTo>
                  <a:moveTo>
                    <a:pt x="1517514" y="1842693"/>
                  </a:moveTo>
                  <a:lnTo>
                    <a:pt x="1517514" y="108393"/>
                  </a:lnTo>
                  <a:moveTo>
                    <a:pt x="0" y="1842693"/>
                  </a:moveTo>
                  <a:lnTo>
                    <a:pt x="0" y="108393"/>
                  </a:lnTo>
                  <a:moveTo>
                    <a:pt x="1517514" y="1842696"/>
                  </a:moveTo>
                  <a:lnTo>
                    <a:pt x="1517514" y="1879615"/>
                  </a:lnTo>
                  <a:cubicBezTo>
                    <a:pt x="1517514" y="1922976"/>
                    <a:pt x="1491673" y="1962164"/>
                    <a:pt x="1451819" y="1979245"/>
                  </a:cubicBezTo>
                  <a:lnTo>
                    <a:pt x="801455" y="2257972"/>
                  </a:lnTo>
                  <a:cubicBezTo>
                    <a:pt x="774190" y="2269658"/>
                    <a:pt x="743325" y="2269658"/>
                    <a:pt x="716059" y="2257972"/>
                  </a:cubicBezTo>
                  <a:lnTo>
                    <a:pt x="65695" y="1979245"/>
                  </a:lnTo>
                  <a:cubicBezTo>
                    <a:pt x="25841" y="1962164"/>
                    <a:pt x="0" y="1922976"/>
                    <a:pt x="0" y="1879615"/>
                  </a:cubicBezTo>
                  <a:lnTo>
                    <a:pt x="0" y="1842696"/>
                  </a:lnTo>
                </a:path>
              </a:pathLst>
            </a:custGeom>
            <a:grpFill/>
            <a:ln w="6774">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grpSp>
        <p:nvGrpSpPr>
          <p:cNvPr id="22" name="Group 21">
            <a:extLst>
              <a:ext uri="{FF2B5EF4-FFF2-40B4-BE49-F238E27FC236}">
                <a16:creationId xmlns:a16="http://schemas.microsoft.com/office/drawing/2014/main" id="{4E7B4E6C-BFC7-E3A7-1E40-79E195BD2E34}"/>
              </a:ext>
            </a:extLst>
          </p:cNvPr>
          <p:cNvGrpSpPr/>
          <p:nvPr/>
        </p:nvGrpSpPr>
        <p:grpSpPr>
          <a:xfrm flipV="1">
            <a:off x="5434655" y="1220389"/>
            <a:ext cx="1220538" cy="1914921"/>
            <a:chOff x="1300727" y="3330191"/>
            <a:chExt cx="1517514" cy="2270160"/>
          </a:xfrm>
          <a:solidFill>
            <a:srgbClr val="7F7F7F"/>
          </a:solidFill>
        </p:grpSpPr>
        <p:sp>
          <p:nvSpPr>
            <p:cNvPr id="50" name="Rounded Rectangle 13">
              <a:extLst>
                <a:ext uri="{FF2B5EF4-FFF2-40B4-BE49-F238E27FC236}">
                  <a16:creationId xmlns:a16="http://schemas.microsoft.com/office/drawing/2014/main" id="{9FF409DC-7CA3-039C-B4AF-47FDE2E3ED60}"/>
                </a:ext>
              </a:extLst>
            </p:cNvPr>
            <p:cNvSpPr/>
            <p:nvPr/>
          </p:nvSpPr>
          <p:spPr>
            <a:xfrm>
              <a:off x="1300727" y="3330191"/>
              <a:ext cx="1517514" cy="2270160"/>
            </a:xfrm>
            <a:custGeom>
              <a:avLst/>
              <a:gdLst/>
              <a:ahLst/>
              <a:cxnLst/>
              <a:rect l="0" t="0" r="0" b="0"/>
              <a:pathLst>
                <a:path w="1517514" h="2270160">
                  <a:moveTo>
                    <a:pt x="0" y="2161766"/>
                  </a:moveTo>
                  <a:lnTo>
                    <a:pt x="1517514" y="2161766"/>
                  </a:lnTo>
                  <a:cubicBezTo>
                    <a:pt x="1517514" y="2221631"/>
                    <a:pt x="1468981" y="2270160"/>
                    <a:pt x="1409120" y="2270160"/>
                  </a:cubicBezTo>
                  <a:lnTo>
                    <a:pt x="108393" y="2270160"/>
                  </a:lnTo>
                  <a:cubicBezTo>
                    <a:pt x="48529" y="2270160"/>
                    <a:pt x="0" y="2221630"/>
                    <a:pt x="0" y="2161766"/>
                  </a:cubicBezTo>
                  <a:close/>
                  <a:moveTo>
                    <a:pt x="0" y="2161766"/>
                  </a:moveTo>
                  <a:lnTo>
                    <a:pt x="0" y="427464"/>
                  </a:lnTo>
                  <a:lnTo>
                    <a:pt x="1517514" y="427464"/>
                  </a:lnTo>
                  <a:lnTo>
                    <a:pt x="1517514" y="2161766"/>
                  </a:lnTo>
                  <a:close/>
                  <a:moveTo>
                    <a:pt x="1517514" y="426961"/>
                  </a:moveTo>
                  <a:lnTo>
                    <a:pt x="0" y="426961"/>
                  </a:lnTo>
                  <a:lnTo>
                    <a:pt x="0" y="390041"/>
                  </a:lnTo>
                  <a:cubicBezTo>
                    <a:pt x="0" y="346681"/>
                    <a:pt x="25841" y="307492"/>
                    <a:pt x="65695" y="290412"/>
                  </a:cubicBezTo>
                  <a:lnTo>
                    <a:pt x="716059" y="11685"/>
                  </a:lnTo>
                  <a:cubicBezTo>
                    <a:pt x="743324" y="0"/>
                    <a:pt x="774190" y="0"/>
                    <a:pt x="801455" y="11685"/>
                  </a:cubicBezTo>
                  <a:lnTo>
                    <a:pt x="1451819" y="290412"/>
                  </a:lnTo>
                  <a:cubicBezTo>
                    <a:pt x="1491671" y="307492"/>
                    <a:pt x="1517514" y="346681"/>
                    <a:pt x="1517514" y="390041"/>
                  </a:cubicBezTo>
                  <a:close/>
                </a:path>
              </a:pathLst>
            </a:custGeom>
            <a:grp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51" name="Rounded Rectangle 14">
              <a:extLst>
                <a:ext uri="{FF2B5EF4-FFF2-40B4-BE49-F238E27FC236}">
                  <a16:creationId xmlns:a16="http://schemas.microsoft.com/office/drawing/2014/main" id="{1AF40834-FE5A-4E5A-4772-5A68097718ED}"/>
                </a:ext>
              </a:extLst>
            </p:cNvPr>
            <p:cNvSpPr/>
            <p:nvPr/>
          </p:nvSpPr>
          <p:spPr>
            <a:xfrm>
              <a:off x="1300727" y="3330191"/>
              <a:ext cx="1517514" cy="2270160"/>
            </a:xfrm>
            <a:custGeom>
              <a:avLst/>
              <a:gdLst/>
              <a:ahLst/>
              <a:cxnLst/>
              <a:rect l="0" t="0" r="0" b="0"/>
              <a:pathLst>
                <a:path w="1517514" h="2270160">
                  <a:moveTo>
                    <a:pt x="1517514" y="2161766"/>
                  </a:moveTo>
                  <a:cubicBezTo>
                    <a:pt x="1517514" y="2221630"/>
                    <a:pt x="1468985" y="2270160"/>
                    <a:pt x="1409120" y="2270160"/>
                  </a:cubicBezTo>
                  <a:lnTo>
                    <a:pt x="108393" y="2270160"/>
                  </a:lnTo>
                  <a:cubicBezTo>
                    <a:pt x="48529" y="2270160"/>
                    <a:pt x="0" y="2221630"/>
                    <a:pt x="0" y="2161766"/>
                  </a:cubicBezTo>
                  <a:moveTo>
                    <a:pt x="1517514" y="2161763"/>
                  </a:moveTo>
                  <a:lnTo>
                    <a:pt x="1517514" y="427464"/>
                  </a:lnTo>
                  <a:moveTo>
                    <a:pt x="0" y="2161763"/>
                  </a:moveTo>
                  <a:lnTo>
                    <a:pt x="0" y="427464"/>
                  </a:lnTo>
                  <a:moveTo>
                    <a:pt x="0" y="426961"/>
                  </a:moveTo>
                  <a:lnTo>
                    <a:pt x="0" y="390041"/>
                  </a:lnTo>
                  <a:cubicBezTo>
                    <a:pt x="0" y="346681"/>
                    <a:pt x="25841" y="307492"/>
                    <a:pt x="65695" y="290412"/>
                  </a:cubicBezTo>
                  <a:lnTo>
                    <a:pt x="716059" y="11685"/>
                  </a:lnTo>
                  <a:cubicBezTo>
                    <a:pt x="743324" y="0"/>
                    <a:pt x="774190" y="0"/>
                    <a:pt x="801455" y="11685"/>
                  </a:cubicBezTo>
                  <a:lnTo>
                    <a:pt x="1451819" y="290412"/>
                  </a:lnTo>
                  <a:cubicBezTo>
                    <a:pt x="1491673" y="307492"/>
                    <a:pt x="1517514" y="346681"/>
                    <a:pt x="1517514" y="390041"/>
                  </a:cubicBezTo>
                  <a:lnTo>
                    <a:pt x="1517514" y="426961"/>
                  </a:lnTo>
                </a:path>
              </a:pathLst>
            </a:custGeom>
            <a:grpFill/>
            <a:ln w="6774">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sp>
        <p:nvSpPr>
          <p:cNvPr id="25" name="TextBox 22">
            <a:extLst>
              <a:ext uri="{FF2B5EF4-FFF2-40B4-BE49-F238E27FC236}">
                <a16:creationId xmlns:a16="http://schemas.microsoft.com/office/drawing/2014/main" id="{9F85E581-12A8-061D-7FF0-737CC3553F3B}"/>
              </a:ext>
            </a:extLst>
          </p:cNvPr>
          <p:cNvSpPr txBox="1"/>
          <p:nvPr/>
        </p:nvSpPr>
        <p:spPr>
          <a:xfrm>
            <a:off x="8053481" y="1341892"/>
            <a:ext cx="820738" cy="33855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100" b="1" noProof="0">
                <a:solidFill>
                  <a:srgbClr val="EBEBEB"/>
                </a:solidFill>
                <a:latin typeface="Avenir LT Pro 45Book"/>
              </a:rPr>
              <a:t>Differences vs</a:t>
            </a:r>
          </a:p>
          <a:p>
            <a:pPr algn="ctr"/>
            <a:r>
              <a:rPr lang="en-GB" sz="1100" b="1" noProof="0">
                <a:solidFill>
                  <a:srgbClr val="EBEBEB"/>
                </a:solidFill>
                <a:latin typeface="Avenir LT Pro 45Book"/>
              </a:rPr>
              <a:t>Competitors</a:t>
            </a:r>
          </a:p>
        </p:txBody>
      </p:sp>
      <p:sp>
        <p:nvSpPr>
          <p:cNvPr id="27" name="TextBox 24">
            <a:extLst>
              <a:ext uri="{FF2B5EF4-FFF2-40B4-BE49-F238E27FC236}">
                <a16:creationId xmlns:a16="http://schemas.microsoft.com/office/drawing/2014/main" id="{52BC3484-8EFD-C041-63ED-83322FC492B4}"/>
              </a:ext>
            </a:extLst>
          </p:cNvPr>
          <p:cNvSpPr txBox="1"/>
          <p:nvPr/>
        </p:nvSpPr>
        <p:spPr>
          <a:xfrm>
            <a:off x="3080987" y="2004362"/>
            <a:ext cx="1090043" cy="36933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800" b="0" noProof="0">
                <a:solidFill>
                  <a:srgbClr val="EBEBEB"/>
                </a:solidFill>
                <a:latin typeface="Avenir LT Pro 45Book"/>
              </a:rPr>
              <a:t>Understand how</a:t>
            </a:r>
          </a:p>
          <a:p>
            <a:pPr algn="ctr"/>
            <a:r>
              <a:rPr lang="en-GB" sz="800" noProof="0">
                <a:solidFill>
                  <a:srgbClr val="EBEBEB"/>
                </a:solidFill>
                <a:latin typeface="Avenir LT Pro 45Book"/>
              </a:rPr>
              <a:t>customers and</a:t>
            </a:r>
          </a:p>
          <a:p>
            <a:pPr algn="ctr"/>
            <a:r>
              <a:rPr lang="en-GB" sz="800" noProof="0">
                <a:solidFill>
                  <a:srgbClr val="EBEBEB"/>
                </a:solidFill>
                <a:latin typeface="Avenir LT Pro 45Book"/>
              </a:rPr>
              <a:t>competitors perceive you.</a:t>
            </a:r>
            <a:endParaRPr lang="en-GB" sz="800" b="0" noProof="0">
              <a:solidFill>
                <a:srgbClr val="EBEBEB"/>
              </a:solidFill>
              <a:latin typeface="Avenir LT Pro 45Book"/>
            </a:endParaRPr>
          </a:p>
        </p:txBody>
      </p:sp>
      <p:sp>
        <p:nvSpPr>
          <p:cNvPr id="28" name="TextBox 25">
            <a:extLst>
              <a:ext uri="{FF2B5EF4-FFF2-40B4-BE49-F238E27FC236}">
                <a16:creationId xmlns:a16="http://schemas.microsoft.com/office/drawing/2014/main" id="{154BACFF-B4ED-F2F1-88E2-FDA30842C442}"/>
              </a:ext>
            </a:extLst>
          </p:cNvPr>
          <p:cNvSpPr txBox="1"/>
          <p:nvPr/>
        </p:nvSpPr>
        <p:spPr>
          <a:xfrm>
            <a:off x="7949290" y="1979014"/>
            <a:ext cx="1029128" cy="36933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800" b="0" noProof="0">
                <a:solidFill>
                  <a:srgbClr val="EBEBEB"/>
                </a:solidFill>
                <a:latin typeface="Avenir LT Pro 45Book"/>
              </a:rPr>
              <a:t>Identify your </a:t>
            </a:r>
            <a:r>
              <a:rPr lang="en-GB" sz="800" noProof="0">
                <a:solidFill>
                  <a:srgbClr val="EBEBEB"/>
                </a:solidFill>
                <a:latin typeface="Avenir LT Pro 45Book"/>
              </a:rPr>
              <a:t>position in</a:t>
            </a:r>
          </a:p>
          <a:p>
            <a:pPr algn="ctr"/>
            <a:r>
              <a:rPr lang="en-GB" sz="800" noProof="0">
                <a:solidFill>
                  <a:srgbClr val="EBEBEB"/>
                </a:solidFill>
                <a:latin typeface="Avenir LT Pro 45Book"/>
              </a:rPr>
              <a:t>relation to competitors</a:t>
            </a:r>
          </a:p>
          <a:p>
            <a:pPr algn="ctr"/>
            <a:r>
              <a:rPr lang="en-GB" sz="800" b="0" noProof="0">
                <a:solidFill>
                  <a:srgbClr val="EBEBEB"/>
                </a:solidFill>
                <a:latin typeface="Avenir LT Pro 45Book"/>
              </a:rPr>
              <a:t>and what sets you apart.</a:t>
            </a:r>
          </a:p>
        </p:txBody>
      </p:sp>
      <p:sp>
        <p:nvSpPr>
          <p:cNvPr id="32" name="TextBox 29">
            <a:extLst>
              <a:ext uri="{FF2B5EF4-FFF2-40B4-BE49-F238E27FC236}">
                <a16:creationId xmlns:a16="http://schemas.microsoft.com/office/drawing/2014/main" id="{6570E254-16D1-C481-BC6E-E87B7437075A}"/>
              </a:ext>
            </a:extLst>
          </p:cNvPr>
          <p:cNvSpPr txBox="1"/>
          <p:nvPr/>
        </p:nvSpPr>
        <p:spPr>
          <a:xfrm>
            <a:off x="3298196" y="1341892"/>
            <a:ext cx="655628" cy="50783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100" b="1" noProof="0">
                <a:solidFill>
                  <a:srgbClr val="EBEBEB"/>
                </a:solidFill>
                <a:latin typeface="Avenir LT Pro 45Book"/>
              </a:rPr>
              <a:t>Current</a:t>
            </a:r>
          </a:p>
          <a:p>
            <a:pPr algn="ctr"/>
            <a:r>
              <a:rPr lang="en-GB" sz="1100" b="1" noProof="0">
                <a:solidFill>
                  <a:srgbClr val="EBEBEB"/>
                </a:solidFill>
                <a:latin typeface="Avenir LT Pro 45Book"/>
              </a:rPr>
              <a:t>Strategic</a:t>
            </a:r>
          </a:p>
          <a:p>
            <a:pPr algn="ctr"/>
            <a:r>
              <a:rPr lang="en-GB" sz="1100" b="1" noProof="0">
                <a:solidFill>
                  <a:srgbClr val="EBEBEB"/>
                </a:solidFill>
                <a:latin typeface="Avenir LT Pro 45Book"/>
              </a:rPr>
              <a:t>Positioning</a:t>
            </a:r>
          </a:p>
        </p:txBody>
      </p:sp>
      <p:sp>
        <p:nvSpPr>
          <p:cNvPr id="33" name="TextBox 31">
            <a:extLst>
              <a:ext uri="{FF2B5EF4-FFF2-40B4-BE49-F238E27FC236}">
                <a16:creationId xmlns:a16="http://schemas.microsoft.com/office/drawing/2014/main" id="{C68E0E36-5BC2-2BE1-C7A1-EF2D3A4EDA63}"/>
              </a:ext>
            </a:extLst>
          </p:cNvPr>
          <p:cNvSpPr txBox="1"/>
          <p:nvPr/>
        </p:nvSpPr>
        <p:spPr>
          <a:xfrm>
            <a:off x="5666029" y="1341892"/>
            <a:ext cx="820739" cy="50783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100" b="1" noProof="0">
                <a:solidFill>
                  <a:srgbClr val="EBEBEB"/>
                </a:solidFill>
                <a:latin typeface="Avenir LT Pro 45Book"/>
              </a:rPr>
              <a:t>Value</a:t>
            </a:r>
          </a:p>
          <a:p>
            <a:pPr algn="ctr"/>
            <a:r>
              <a:rPr lang="en-GB" sz="1100" b="1" noProof="0">
                <a:solidFill>
                  <a:srgbClr val="EBEBEB"/>
                </a:solidFill>
                <a:latin typeface="Avenir LT Pro 45Book"/>
              </a:rPr>
              <a:t>Propositions</a:t>
            </a:r>
          </a:p>
          <a:p>
            <a:pPr algn="ctr"/>
            <a:r>
              <a:rPr lang="en-GB" sz="1100" b="1" noProof="0">
                <a:solidFill>
                  <a:srgbClr val="EBEBEB"/>
                </a:solidFill>
                <a:latin typeface="Avenir LT Pro 45Book"/>
              </a:rPr>
              <a:t>Segmentation</a:t>
            </a:r>
          </a:p>
        </p:txBody>
      </p:sp>
      <p:sp>
        <p:nvSpPr>
          <p:cNvPr id="36" name="TextBox 34">
            <a:extLst>
              <a:ext uri="{FF2B5EF4-FFF2-40B4-BE49-F238E27FC236}">
                <a16:creationId xmlns:a16="http://schemas.microsoft.com/office/drawing/2014/main" id="{56062EC1-E1E8-F84A-40E4-AE1648928CEC}"/>
              </a:ext>
            </a:extLst>
          </p:cNvPr>
          <p:cNvSpPr txBox="1"/>
          <p:nvPr/>
        </p:nvSpPr>
        <p:spPr>
          <a:xfrm>
            <a:off x="5536540" y="1931627"/>
            <a:ext cx="1030730" cy="36933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800" b="0" noProof="0">
                <a:solidFill>
                  <a:srgbClr val="EBEBEB"/>
                </a:solidFill>
                <a:latin typeface="Avenir LT Pro 45Book"/>
              </a:rPr>
              <a:t>How many you have</a:t>
            </a:r>
          </a:p>
          <a:p>
            <a:pPr algn="ctr"/>
            <a:r>
              <a:rPr lang="en-GB" sz="800" noProof="0">
                <a:solidFill>
                  <a:srgbClr val="EBEBEB"/>
                </a:solidFill>
                <a:latin typeface="Avenir LT Pro 45Book"/>
              </a:rPr>
              <a:t>and how effectively they</a:t>
            </a:r>
          </a:p>
          <a:p>
            <a:pPr algn="ctr"/>
            <a:r>
              <a:rPr lang="en-GB" sz="800" noProof="0">
                <a:solidFill>
                  <a:srgbClr val="EBEBEB"/>
                </a:solidFill>
                <a:latin typeface="Avenir LT Pro 45Book"/>
              </a:rPr>
              <a:t>d</a:t>
            </a:r>
            <a:r>
              <a:rPr lang="en-GB" sz="800" b="0" noProof="0">
                <a:solidFill>
                  <a:srgbClr val="EBEBEB"/>
                </a:solidFill>
                <a:latin typeface="Avenir LT Pro 45Book"/>
              </a:rPr>
              <a:t>eliver value</a:t>
            </a:r>
            <a:r>
              <a:rPr lang="en-GB" sz="800" noProof="0">
                <a:solidFill>
                  <a:srgbClr val="EBEBEB"/>
                </a:solidFill>
                <a:latin typeface="Avenir LT Pro 45Book"/>
              </a:rPr>
              <a:t>.</a:t>
            </a:r>
            <a:endParaRPr lang="en-GB" sz="800" b="0" noProof="0">
              <a:solidFill>
                <a:srgbClr val="EBEBEB"/>
              </a:solidFill>
              <a:latin typeface="Avenir LT Pro 45Book"/>
            </a:endParaRPr>
          </a:p>
        </p:txBody>
      </p:sp>
      <p:pic>
        <p:nvPicPr>
          <p:cNvPr id="80" name="Graphic 79">
            <a:extLst>
              <a:ext uri="{FF2B5EF4-FFF2-40B4-BE49-F238E27FC236}">
                <a16:creationId xmlns:a16="http://schemas.microsoft.com/office/drawing/2014/main" id="{2321A569-3C58-A2F0-5FA5-86B4091C6E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22785" y="2548382"/>
            <a:ext cx="288000" cy="288000"/>
          </a:xfrm>
          <a:prstGeom prst="rect">
            <a:avLst/>
          </a:prstGeom>
        </p:spPr>
      </p:pic>
      <p:pic>
        <p:nvPicPr>
          <p:cNvPr id="82" name="Graphic 81" descr="Table with solid fill">
            <a:extLst>
              <a:ext uri="{FF2B5EF4-FFF2-40B4-BE49-F238E27FC236}">
                <a16:creationId xmlns:a16="http://schemas.microsoft.com/office/drawing/2014/main" id="{B795B603-2DBF-EC4B-9644-CE1D521D5B48}"/>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5883330" y="2513195"/>
            <a:ext cx="323187" cy="323187"/>
          </a:xfrm>
          <a:prstGeom prst="rect">
            <a:avLst/>
          </a:prstGeom>
        </p:spPr>
      </p:pic>
      <p:pic>
        <p:nvPicPr>
          <p:cNvPr id="84" name="Graphic 83" descr="Compass with solid fill">
            <a:extLst>
              <a:ext uri="{FF2B5EF4-FFF2-40B4-BE49-F238E27FC236}">
                <a16:creationId xmlns:a16="http://schemas.microsoft.com/office/drawing/2014/main" id="{E2C42629-F3D6-4E20-3C0D-085B103CC959}"/>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3453548" y="2504774"/>
            <a:ext cx="344908" cy="344908"/>
          </a:xfrm>
          <a:prstGeom prst="rect">
            <a:avLst/>
          </a:prstGeom>
        </p:spPr>
      </p:pic>
    </p:spTree>
    <p:extLst>
      <p:ext uri="{BB962C8B-B14F-4D97-AF65-F5344CB8AC3E}">
        <p14:creationId xmlns:p14="http://schemas.microsoft.com/office/powerpoint/2010/main" val="15662652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D0BAB-26A4-D7D5-9C0C-D465B91AA5F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EFFEA69-11C6-9DA0-A758-512111FD5421}"/>
              </a:ext>
            </a:extLst>
          </p:cNvPr>
          <p:cNvGraphicFramePr>
            <a:graphicFrameLocks noChangeAspect="1"/>
          </p:cNvGraphicFramePr>
          <p:nvPr>
            <p:custDataLst>
              <p:tags r:id="rId1"/>
            </p:custDataLst>
            <p:extLst>
              <p:ext uri="{D42A27DB-BD31-4B8C-83A1-F6EECF244321}">
                <p14:modId xmlns:p14="http://schemas.microsoft.com/office/powerpoint/2010/main" val="367396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BEFFEA69-11C6-9DA0-A758-512111FD54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CF6AD0-D7A8-A91B-64AA-28BB215407FD}"/>
              </a:ext>
            </a:extLst>
          </p:cNvPr>
          <p:cNvSpPr>
            <a:spLocks noGrp="1"/>
          </p:cNvSpPr>
          <p:nvPr>
            <p:ph type="title"/>
          </p:nvPr>
        </p:nvSpPr>
        <p:spPr>
          <a:xfrm>
            <a:off x="137786" y="125260"/>
            <a:ext cx="6646735" cy="806754"/>
          </a:xfrm>
        </p:spPr>
        <p:txBody>
          <a:bodyPr vert="horz">
            <a:normAutofit/>
          </a:bodyPr>
          <a:lstStyle/>
          <a:p>
            <a:r>
              <a:rPr lang="en-GB" b="1" noProof="0"/>
              <a:t>Diagnostic Questions (2/3)</a:t>
            </a:r>
          </a:p>
        </p:txBody>
      </p:sp>
      <p:graphicFrame>
        <p:nvGraphicFramePr>
          <p:cNvPr id="17" name="Table 16">
            <a:extLst>
              <a:ext uri="{FF2B5EF4-FFF2-40B4-BE49-F238E27FC236}">
                <a16:creationId xmlns:a16="http://schemas.microsoft.com/office/drawing/2014/main" id="{F7A00ECF-1D50-153E-FD7A-567440D41DBC}"/>
              </a:ext>
            </a:extLst>
          </p:cNvPr>
          <p:cNvGraphicFramePr>
            <a:graphicFrameLocks noGrp="1"/>
          </p:cNvGraphicFramePr>
          <p:nvPr>
            <p:extLst>
              <p:ext uri="{D42A27DB-BD31-4B8C-83A1-F6EECF244321}">
                <p14:modId xmlns:p14="http://schemas.microsoft.com/office/powerpoint/2010/main" val="2711749593"/>
              </p:ext>
            </p:extLst>
          </p:nvPr>
        </p:nvGraphicFramePr>
        <p:xfrm>
          <a:off x="421498" y="3304356"/>
          <a:ext cx="11250116" cy="3333947"/>
        </p:xfrm>
        <a:graphic>
          <a:graphicData uri="http://schemas.openxmlformats.org/drawingml/2006/table">
            <a:tbl>
              <a:tblPr/>
              <a:tblGrid>
                <a:gridCol w="3258116">
                  <a:extLst>
                    <a:ext uri="{9D8B030D-6E8A-4147-A177-3AD203B41FA5}">
                      <a16:colId xmlns:a16="http://schemas.microsoft.com/office/drawing/2014/main" val="136738683"/>
                    </a:ext>
                  </a:extLst>
                </a:gridCol>
                <a:gridCol w="1332000">
                  <a:extLst>
                    <a:ext uri="{9D8B030D-6E8A-4147-A177-3AD203B41FA5}">
                      <a16:colId xmlns:a16="http://schemas.microsoft.com/office/drawing/2014/main" val="3535507555"/>
                    </a:ext>
                  </a:extLst>
                </a:gridCol>
                <a:gridCol w="1332000">
                  <a:extLst>
                    <a:ext uri="{9D8B030D-6E8A-4147-A177-3AD203B41FA5}">
                      <a16:colId xmlns:a16="http://schemas.microsoft.com/office/drawing/2014/main" val="3882249571"/>
                    </a:ext>
                  </a:extLst>
                </a:gridCol>
                <a:gridCol w="1332000">
                  <a:extLst>
                    <a:ext uri="{9D8B030D-6E8A-4147-A177-3AD203B41FA5}">
                      <a16:colId xmlns:a16="http://schemas.microsoft.com/office/drawing/2014/main" val="1007820904"/>
                    </a:ext>
                  </a:extLst>
                </a:gridCol>
                <a:gridCol w="1332000">
                  <a:extLst>
                    <a:ext uri="{9D8B030D-6E8A-4147-A177-3AD203B41FA5}">
                      <a16:colId xmlns:a16="http://schemas.microsoft.com/office/drawing/2014/main" val="3999937779"/>
                    </a:ext>
                  </a:extLst>
                </a:gridCol>
                <a:gridCol w="1332000">
                  <a:extLst>
                    <a:ext uri="{9D8B030D-6E8A-4147-A177-3AD203B41FA5}">
                      <a16:colId xmlns:a16="http://schemas.microsoft.com/office/drawing/2014/main" val="1600309353"/>
                    </a:ext>
                  </a:extLst>
                </a:gridCol>
                <a:gridCol w="1332000">
                  <a:extLst>
                    <a:ext uri="{9D8B030D-6E8A-4147-A177-3AD203B41FA5}">
                      <a16:colId xmlns:a16="http://schemas.microsoft.com/office/drawing/2014/main" val="716613308"/>
                    </a:ext>
                  </a:extLst>
                </a:gridCol>
              </a:tblGrid>
              <a:tr h="402607">
                <a:tc>
                  <a:txBody>
                    <a:bodyPr/>
                    <a:lstStyle/>
                    <a:p>
                      <a:pPr algn="l" rtl="0" fontAlgn="ctr">
                        <a:buNone/>
                      </a:pPr>
                      <a:r>
                        <a:rPr lang="en-GB" sz="1000" b="1" i="0" u="none" strike="noStrike" noProof="0">
                          <a:solidFill>
                            <a:srgbClr val="FFFFFF"/>
                          </a:solidFill>
                          <a:effectLst/>
                          <a:latin typeface="Avenir Next LT Pro" panose="020B0504020202020204" pitchFamily="34" charset="0"/>
                        </a:rPr>
                        <a:t>Question 2 Data Sourc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tc>
                  <a:txBody>
                    <a:bodyPr/>
                    <a:lstStyle/>
                    <a:p>
                      <a:pPr algn="l" rtl="0" fontAlgn="ctr">
                        <a:buNone/>
                      </a:pPr>
                      <a:r>
                        <a:rPr lang="en-GB" sz="1000" b="1" i="0" u="none" strike="noStrike" noProof="0">
                          <a:solidFill>
                            <a:srgbClr val="FFFFFF"/>
                          </a:solidFill>
                          <a:effectLst/>
                          <a:latin typeface="Avenir Next LT Pro" panose="020B0504020202020204" pitchFamily="34" charset="0"/>
                        </a:rPr>
                        <a:t>Marketing assets review</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tc>
                  <a:txBody>
                    <a:bodyPr/>
                    <a:lstStyle/>
                    <a:p>
                      <a:pPr algn="l" rtl="0" fontAlgn="ctr">
                        <a:buNone/>
                      </a:pPr>
                      <a:r>
                        <a:rPr lang="en-GB" sz="1000" b="1" i="0" u="none" strike="noStrike" noProof="0">
                          <a:solidFill>
                            <a:srgbClr val="FFFFFF"/>
                          </a:solidFill>
                          <a:effectLst/>
                          <a:latin typeface="Avenir Next LT Pro" panose="020B0504020202020204" pitchFamily="34" charset="0"/>
                        </a:rPr>
                        <a:t>Interviews with Marketing team</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tc>
                  <a:txBody>
                    <a:bodyPr/>
                    <a:lstStyle/>
                    <a:p>
                      <a:pPr algn="l" rtl="0" fontAlgn="ctr">
                        <a:buNone/>
                      </a:pPr>
                      <a:r>
                        <a:rPr lang="en-GB" sz="1000" b="1" i="0" u="none" strike="noStrike" noProof="0">
                          <a:solidFill>
                            <a:srgbClr val="FFFFFF"/>
                          </a:solidFill>
                          <a:effectLst/>
                          <a:latin typeface="Avenir Next LT Pro" panose="020B0504020202020204" pitchFamily="34" charset="0"/>
                        </a:rPr>
                        <a:t>Interviews with Sales team</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tc>
                  <a:txBody>
                    <a:bodyPr/>
                    <a:lstStyle/>
                    <a:p>
                      <a:pPr algn="l" rtl="0" fontAlgn="ctr">
                        <a:buNone/>
                      </a:pPr>
                      <a:r>
                        <a:rPr lang="en-GB" sz="1000" b="1" i="0" u="none" strike="noStrike" noProof="0">
                          <a:solidFill>
                            <a:srgbClr val="FFFFFF"/>
                          </a:solidFill>
                          <a:effectLst/>
                          <a:latin typeface="Avenir Next LT Pro" panose="020B0504020202020204" pitchFamily="34" charset="0"/>
                        </a:rPr>
                        <a:t>Customer Journey studi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tc>
                  <a:txBody>
                    <a:bodyPr/>
                    <a:lstStyle/>
                    <a:p>
                      <a:pPr algn="l" rtl="0" fontAlgn="ctr">
                        <a:buNone/>
                      </a:pPr>
                      <a:r>
                        <a:rPr lang="en-GB" sz="1000" b="1" i="0" u="none" strike="noStrike" noProof="0" err="1">
                          <a:solidFill>
                            <a:srgbClr val="FFFFFF"/>
                          </a:solidFill>
                          <a:effectLst/>
                          <a:latin typeface="Avenir Next LT Pro" panose="020B0504020202020204" pitchFamily="34" charset="0"/>
                        </a:rPr>
                        <a:t>Mgt</a:t>
                      </a:r>
                      <a:r>
                        <a:rPr lang="en-GB" sz="1000" b="1" i="0" u="none" strike="noStrike" noProof="0">
                          <a:solidFill>
                            <a:srgbClr val="FFFFFF"/>
                          </a:solidFill>
                          <a:effectLst/>
                          <a:latin typeface="Avenir Next LT Pro" panose="020B0504020202020204" pitchFamily="34" charset="0"/>
                        </a:rPr>
                        <a:t> Control System/CRM</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tc>
                  <a:txBody>
                    <a:bodyPr/>
                    <a:lstStyle/>
                    <a:p>
                      <a:pPr algn="l" rtl="0" fontAlgn="ctr">
                        <a:buNone/>
                      </a:pPr>
                      <a:r>
                        <a:rPr lang="en-GB" sz="1000" b="1" i="0" u="none" strike="noStrike" noProof="0">
                          <a:solidFill>
                            <a:srgbClr val="FFFFFF"/>
                          </a:solidFill>
                          <a:effectLst/>
                          <a:latin typeface="Avenir Next LT Pro" panose="020B0504020202020204" pitchFamily="34" charset="0"/>
                        </a:rPr>
                        <a:t>Pricing Policies review</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extLst>
                  <a:ext uri="{0D108BD9-81ED-4DB2-BD59-A6C34878D82A}">
                    <a16:rowId xmlns:a16="http://schemas.microsoft.com/office/drawing/2014/main" val="2917339543"/>
                  </a:ext>
                </a:extLst>
              </a:tr>
              <a:tr h="293134">
                <a:tc>
                  <a:txBody>
                    <a:bodyPr/>
                    <a:lstStyle/>
                    <a:p>
                      <a:pPr algn="l" rtl="0" fontAlgn="ctr">
                        <a:buNone/>
                      </a:pPr>
                      <a:r>
                        <a:rPr lang="en-GB" sz="1000" b="1" i="0" u="none" strike="noStrike" noProof="0">
                          <a:solidFill>
                            <a:srgbClr val="000000"/>
                          </a:solidFill>
                          <a:effectLst/>
                          <a:latin typeface="Avenir Next LT Pro" panose="020B0504020202020204" pitchFamily="34" charset="0"/>
                        </a:rPr>
                        <a:t>How many distinct value proposition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875044288"/>
                  </a:ext>
                </a:extLst>
              </a:tr>
              <a:tr h="293134">
                <a:tc>
                  <a:txBody>
                    <a:bodyPr/>
                    <a:lstStyle/>
                    <a:p>
                      <a:pPr algn="l" rtl="0" fontAlgn="ctr">
                        <a:buNone/>
                      </a:pPr>
                      <a:r>
                        <a:rPr lang="en-GB" sz="1000" b="1" i="0" u="none" strike="noStrike" noProof="0">
                          <a:solidFill>
                            <a:srgbClr val="000000"/>
                          </a:solidFill>
                          <a:effectLst/>
                          <a:latin typeface="Avenir Next LT Pro" panose="020B0504020202020204" pitchFamily="34" charset="0"/>
                        </a:rPr>
                        <a:t>Deliberately designed or emergent?</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082509311"/>
                  </a:ext>
                </a:extLst>
              </a:tr>
              <a:tr h="293134">
                <a:tc>
                  <a:txBody>
                    <a:bodyPr/>
                    <a:lstStyle/>
                    <a:p>
                      <a:pPr algn="l" rtl="0" fontAlgn="ctr">
                        <a:buNone/>
                      </a:pPr>
                      <a:r>
                        <a:rPr lang="en-GB" sz="1000" b="1" i="0" u="none" strike="noStrike" noProof="0">
                          <a:solidFill>
                            <a:srgbClr val="000000"/>
                          </a:solidFill>
                          <a:effectLst/>
                          <a:latin typeface="Avenir Next LT Pro" panose="020B0504020202020204" pitchFamily="34" charset="0"/>
                        </a:rPr>
                        <a:t>Clearly defined target customer segment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076845933"/>
                  </a:ext>
                </a:extLst>
              </a:tr>
              <a:tr h="293134">
                <a:tc>
                  <a:txBody>
                    <a:bodyPr/>
                    <a:lstStyle/>
                    <a:p>
                      <a:pPr algn="l" rtl="0" fontAlgn="ctr">
                        <a:buNone/>
                      </a:pPr>
                      <a:r>
                        <a:rPr lang="en-GB" sz="1000" b="1" i="0" u="none" strike="noStrike" noProof="0">
                          <a:solidFill>
                            <a:srgbClr val="000000"/>
                          </a:solidFill>
                          <a:effectLst/>
                          <a:latin typeface="Avenir Next LT Pro" panose="020B0504020202020204" pitchFamily="34" charset="0"/>
                        </a:rPr>
                        <a:t>Product/service portfolio fit?</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694127602"/>
                  </a:ext>
                </a:extLst>
              </a:tr>
              <a:tr h="293134">
                <a:tc>
                  <a:txBody>
                    <a:bodyPr/>
                    <a:lstStyle/>
                    <a:p>
                      <a:pPr algn="l" rtl="0" fontAlgn="ctr">
                        <a:buNone/>
                      </a:pPr>
                      <a:r>
                        <a:rPr lang="en-GB" sz="1000" b="1" i="0" u="none" strike="noStrike" noProof="0">
                          <a:solidFill>
                            <a:srgbClr val="000000"/>
                          </a:solidFill>
                          <a:effectLst/>
                          <a:latin typeface="Avenir Next LT Pro" panose="020B0504020202020204" pitchFamily="34" charset="0"/>
                        </a:rPr>
                        <a:t>Sufficiently tailored to target customer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230786051"/>
                  </a:ext>
                </a:extLst>
              </a:tr>
              <a:tr h="293134">
                <a:tc>
                  <a:txBody>
                    <a:bodyPr/>
                    <a:lstStyle/>
                    <a:p>
                      <a:pPr algn="l" rtl="0" fontAlgn="ctr">
                        <a:buNone/>
                      </a:pPr>
                      <a:r>
                        <a:rPr lang="en-GB" sz="1000" b="1" i="0" u="none" strike="noStrike" noProof="0">
                          <a:solidFill>
                            <a:srgbClr val="000000"/>
                          </a:solidFill>
                          <a:effectLst/>
                          <a:latin typeface="Avenir Next LT Pro" panose="020B0504020202020204" pitchFamily="34" charset="0"/>
                        </a:rPr>
                        <a:t>Relative price position deliberate and aligned?</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499895568"/>
                  </a:ext>
                </a:extLst>
              </a:tr>
              <a:tr h="293134">
                <a:tc>
                  <a:txBody>
                    <a:bodyPr/>
                    <a:lstStyle/>
                    <a:p>
                      <a:pPr algn="l" rtl="0" fontAlgn="ctr">
                        <a:buNone/>
                      </a:pPr>
                      <a:r>
                        <a:rPr lang="en-GB" sz="1000" b="1" i="0" u="none" strike="noStrike" noProof="0">
                          <a:solidFill>
                            <a:srgbClr val="000000"/>
                          </a:solidFill>
                          <a:effectLst/>
                          <a:latin typeface="Avenir Next LT Pro" panose="020B0504020202020204" pitchFamily="34" charset="0"/>
                        </a:rPr>
                        <a:t>Where is there value proposition drift?</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398821761"/>
                  </a:ext>
                </a:extLst>
              </a:tr>
              <a:tr h="293134">
                <a:tc>
                  <a:txBody>
                    <a:bodyPr/>
                    <a:lstStyle/>
                    <a:p>
                      <a:pPr algn="l" rtl="0" fontAlgn="ctr">
                        <a:buNone/>
                      </a:pPr>
                      <a:r>
                        <a:rPr lang="en-GB" sz="1000" b="1" i="0" u="none" strike="noStrike" noProof="0">
                          <a:solidFill>
                            <a:srgbClr val="000000"/>
                          </a:solidFill>
                          <a:effectLst/>
                          <a:latin typeface="Avenir Next LT Pro" panose="020B0504020202020204" pitchFamily="34" charset="0"/>
                        </a:rPr>
                        <a:t>Compelling value proposition statement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4103573276"/>
                  </a:ext>
                </a:extLst>
              </a:tr>
              <a:tr h="293134">
                <a:tc>
                  <a:txBody>
                    <a:bodyPr/>
                    <a:lstStyle/>
                    <a:p>
                      <a:pPr algn="l" rtl="0" fontAlgn="ctr">
                        <a:buNone/>
                      </a:pPr>
                      <a:r>
                        <a:rPr lang="en-GB" sz="1000" b="1" i="0" u="none" strike="noStrike" noProof="0">
                          <a:solidFill>
                            <a:srgbClr val="000000"/>
                          </a:solidFill>
                          <a:effectLst/>
                          <a:latin typeface="Avenir Next LT Pro" panose="020B0504020202020204" pitchFamily="34" charset="0"/>
                        </a:rPr>
                        <a:t>Value attributes for WTP vs cost impact?</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77051896"/>
                  </a:ext>
                </a:extLst>
              </a:tr>
              <a:tr h="293134">
                <a:tc>
                  <a:txBody>
                    <a:bodyPr/>
                    <a:lstStyle/>
                    <a:p>
                      <a:pPr algn="l" rtl="0" fontAlgn="ctr">
                        <a:buNone/>
                      </a:pPr>
                      <a:r>
                        <a:rPr lang="en-GB" sz="1000" b="1" i="0" u="none" strike="noStrike" noProof="0">
                          <a:solidFill>
                            <a:srgbClr val="000000"/>
                          </a:solidFill>
                          <a:effectLst/>
                          <a:latin typeface="Avenir Next LT Pro" panose="020B0504020202020204" pitchFamily="34" charset="0"/>
                        </a:rPr>
                        <a:t>Gaps or inconsistencies across element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912131696"/>
                  </a:ext>
                </a:extLst>
              </a:tr>
            </a:tbl>
          </a:graphicData>
        </a:graphic>
      </p:graphicFrame>
      <p:grpSp>
        <p:nvGrpSpPr>
          <p:cNvPr id="18" name="Group 17">
            <a:extLst>
              <a:ext uri="{FF2B5EF4-FFF2-40B4-BE49-F238E27FC236}">
                <a16:creationId xmlns:a16="http://schemas.microsoft.com/office/drawing/2014/main" id="{33253FB9-378D-EAC9-0E04-E3E7439C51A2}"/>
              </a:ext>
            </a:extLst>
          </p:cNvPr>
          <p:cNvGrpSpPr/>
          <p:nvPr/>
        </p:nvGrpSpPr>
        <p:grpSpPr>
          <a:xfrm>
            <a:off x="3104902" y="1216362"/>
            <a:ext cx="1220538" cy="1914495"/>
            <a:chOff x="433575" y="1192333"/>
            <a:chExt cx="1517514" cy="2269658"/>
          </a:xfrm>
          <a:solidFill>
            <a:srgbClr val="7F7F7F"/>
          </a:solidFill>
        </p:grpSpPr>
        <p:sp>
          <p:nvSpPr>
            <p:cNvPr id="58" name="Rounded Rectangle 1">
              <a:extLst>
                <a:ext uri="{FF2B5EF4-FFF2-40B4-BE49-F238E27FC236}">
                  <a16:creationId xmlns:a16="http://schemas.microsoft.com/office/drawing/2014/main" id="{7578D181-F52B-5275-81ED-847C617C0AA3}"/>
                </a:ext>
              </a:extLst>
            </p:cNvPr>
            <p:cNvSpPr/>
            <p:nvPr/>
          </p:nvSpPr>
          <p:spPr>
            <a:xfrm>
              <a:off x="433575" y="1192333"/>
              <a:ext cx="1517514" cy="2269658"/>
            </a:xfrm>
            <a:custGeom>
              <a:avLst/>
              <a:gdLst/>
              <a:ahLst/>
              <a:cxnLst/>
              <a:rect l="0" t="0" r="0" b="0"/>
              <a:pathLst>
                <a:path w="1517514" h="2269658">
                  <a:moveTo>
                    <a:pt x="1517514" y="108393"/>
                  </a:moveTo>
                  <a:lnTo>
                    <a:pt x="0" y="108393"/>
                  </a:lnTo>
                  <a:cubicBezTo>
                    <a:pt x="0" y="48529"/>
                    <a:pt x="48529" y="0"/>
                    <a:pt x="108393" y="0"/>
                  </a:cubicBezTo>
                  <a:lnTo>
                    <a:pt x="1409120" y="0"/>
                  </a:lnTo>
                  <a:cubicBezTo>
                    <a:pt x="1468981" y="0"/>
                    <a:pt x="1517514" y="48529"/>
                    <a:pt x="1517514" y="108393"/>
                  </a:cubicBezTo>
                  <a:close/>
                  <a:moveTo>
                    <a:pt x="0" y="1842696"/>
                  </a:moveTo>
                  <a:lnTo>
                    <a:pt x="0" y="108394"/>
                  </a:lnTo>
                  <a:lnTo>
                    <a:pt x="1517514" y="108393"/>
                  </a:lnTo>
                  <a:lnTo>
                    <a:pt x="1517514" y="1842696"/>
                  </a:lnTo>
                  <a:close/>
                  <a:moveTo>
                    <a:pt x="0" y="1842696"/>
                  </a:moveTo>
                  <a:lnTo>
                    <a:pt x="1517514" y="1842696"/>
                  </a:lnTo>
                  <a:lnTo>
                    <a:pt x="1517514" y="1879616"/>
                  </a:lnTo>
                  <a:cubicBezTo>
                    <a:pt x="1517514" y="1922976"/>
                    <a:pt x="1491671" y="1962164"/>
                    <a:pt x="1451819" y="1979245"/>
                  </a:cubicBezTo>
                  <a:lnTo>
                    <a:pt x="801455" y="2257972"/>
                  </a:lnTo>
                  <a:cubicBezTo>
                    <a:pt x="774190" y="2269658"/>
                    <a:pt x="743325" y="2269658"/>
                    <a:pt x="716059" y="2257972"/>
                  </a:cubicBezTo>
                  <a:lnTo>
                    <a:pt x="65695" y="1979245"/>
                  </a:lnTo>
                  <a:cubicBezTo>
                    <a:pt x="25841" y="1962164"/>
                    <a:pt x="0" y="1922976"/>
                    <a:pt x="0" y="1879616"/>
                  </a:cubicBezTo>
                  <a:close/>
                </a:path>
              </a:pathLst>
            </a:custGeom>
            <a:grp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59" name="Rounded Rectangle 2">
              <a:extLst>
                <a:ext uri="{FF2B5EF4-FFF2-40B4-BE49-F238E27FC236}">
                  <a16:creationId xmlns:a16="http://schemas.microsoft.com/office/drawing/2014/main" id="{3356FD48-83A7-8412-D6AC-8E5D442C4111}"/>
                </a:ext>
              </a:extLst>
            </p:cNvPr>
            <p:cNvSpPr/>
            <p:nvPr/>
          </p:nvSpPr>
          <p:spPr>
            <a:xfrm>
              <a:off x="433575" y="1192333"/>
              <a:ext cx="1517514" cy="2269658"/>
            </a:xfrm>
            <a:custGeom>
              <a:avLst/>
              <a:gdLst/>
              <a:ahLst/>
              <a:cxnLst/>
              <a:rect l="0" t="0" r="0" b="0"/>
              <a:pathLst>
                <a:path w="1517514" h="2269658">
                  <a:moveTo>
                    <a:pt x="0" y="108393"/>
                  </a:moveTo>
                  <a:cubicBezTo>
                    <a:pt x="0" y="48529"/>
                    <a:pt x="48529" y="0"/>
                    <a:pt x="108393" y="0"/>
                  </a:cubicBezTo>
                  <a:lnTo>
                    <a:pt x="1409120" y="0"/>
                  </a:lnTo>
                  <a:cubicBezTo>
                    <a:pt x="1468985" y="0"/>
                    <a:pt x="1517514" y="48529"/>
                    <a:pt x="1517514" y="108393"/>
                  </a:cubicBezTo>
                  <a:moveTo>
                    <a:pt x="1517514" y="1842693"/>
                  </a:moveTo>
                  <a:lnTo>
                    <a:pt x="1517514" y="108393"/>
                  </a:lnTo>
                  <a:moveTo>
                    <a:pt x="0" y="1842693"/>
                  </a:moveTo>
                  <a:lnTo>
                    <a:pt x="0" y="108393"/>
                  </a:lnTo>
                  <a:moveTo>
                    <a:pt x="1517514" y="1842696"/>
                  </a:moveTo>
                  <a:lnTo>
                    <a:pt x="1517514" y="1879615"/>
                  </a:lnTo>
                  <a:cubicBezTo>
                    <a:pt x="1517514" y="1922976"/>
                    <a:pt x="1491673" y="1962164"/>
                    <a:pt x="1451819" y="1979245"/>
                  </a:cubicBezTo>
                  <a:lnTo>
                    <a:pt x="801455" y="2257972"/>
                  </a:lnTo>
                  <a:cubicBezTo>
                    <a:pt x="774190" y="2269658"/>
                    <a:pt x="743325" y="2269658"/>
                    <a:pt x="716059" y="2257972"/>
                  </a:cubicBezTo>
                  <a:lnTo>
                    <a:pt x="65695" y="1979245"/>
                  </a:lnTo>
                  <a:cubicBezTo>
                    <a:pt x="25841" y="1962164"/>
                    <a:pt x="0" y="1922976"/>
                    <a:pt x="0" y="1879615"/>
                  </a:cubicBezTo>
                  <a:lnTo>
                    <a:pt x="0" y="1842696"/>
                  </a:lnTo>
                </a:path>
              </a:pathLst>
            </a:custGeom>
            <a:grpFill/>
            <a:ln w="6774">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grpSp>
        <p:nvGrpSpPr>
          <p:cNvPr id="19" name="Group 18">
            <a:extLst>
              <a:ext uri="{FF2B5EF4-FFF2-40B4-BE49-F238E27FC236}">
                <a16:creationId xmlns:a16="http://schemas.microsoft.com/office/drawing/2014/main" id="{531D023B-38DE-D510-7CD3-573BA9573E62}"/>
              </a:ext>
            </a:extLst>
          </p:cNvPr>
          <p:cNvGrpSpPr/>
          <p:nvPr/>
        </p:nvGrpSpPr>
        <p:grpSpPr>
          <a:xfrm>
            <a:off x="7942746" y="1216786"/>
            <a:ext cx="1220538" cy="1914495"/>
            <a:chOff x="2167878" y="1192333"/>
            <a:chExt cx="1517514" cy="2269658"/>
          </a:xfrm>
          <a:solidFill>
            <a:srgbClr val="7F7F7F"/>
          </a:solidFill>
        </p:grpSpPr>
        <p:sp>
          <p:nvSpPr>
            <p:cNvPr id="56" name="Rounded Rectangle 4">
              <a:extLst>
                <a:ext uri="{FF2B5EF4-FFF2-40B4-BE49-F238E27FC236}">
                  <a16:creationId xmlns:a16="http://schemas.microsoft.com/office/drawing/2014/main" id="{1E4A0233-17F5-F8D1-6A10-08CA9F458AB9}"/>
                </a:ext>
              </a:extLst>
            </p:cNvPr>
            <p:cNvSpPr/>
            <p:nvPr/>
          </p:nvSpPr>
          <p:spPr>
            <a:xfrm>
              <a:off x="2167878" y="1192333"/>
              <a:ext cx="1517514" cy="2269658"/>
            </a:xfrm>
            <a:custGeom>
              <a:avLst/>
              <a:gdLst/>
              <a:ahLst/>
              <a:cxnLst/>
              <a:rect l="0" t="0" r="0" b="0"/>
              <a:pathLst>
                <a:path w="1517514" h="2269658">
                  <a:moveTo>
                    <a:pt x="1517514" y="108393"/>
                  </a:moveTo>
                  <a:lnTo>
                    <a:pt x="0" y="108393"/>
                  </a:lnTo>
                  <a:cubicBezTo>
                    <a:pt x="0" y="48529"/>
                    <a:pt x="48529" y="0"/>
                    <a:pt x="108393" y="0"/>
                  </a:cubicBezTo>
                  <a:lnTo>
                    <a:pt x="1409120" y="0"/>
                  </a:lnTo>
                  <a:cubicBezTo>
                    <a:pt x="1468981" y="0"/>
                    <a:pt x="1517514" y="48529"/>
                    <a:pt x="1517514" y="108393"/>
                  </a:cubicBezTo>
                  <a:close/>
                  <a:moveTo>
                    <a:pt x="0" y="1842696"/>
                  </a:moveTo>
                  <a:lnTo>
                    <a:pt x="0" y="108394"/>
                  </a:lnTo>
                  <a:lnTo>
                    <a:pt x="1517514" y="108393"/>
                  </a:lnTo>
                  <a:lnTo>
                    <a:pt x="1517514" y="1842696"/>
                  </a:lnTo>
                  <a:close/>
                  <a:moveTo>
                    <a:pt x="0" y="1842696"/>
                  </a:moveTo>
                  <a:lnTo>
                    <a:pt x="1517514" y="1842696"/>
                  </a:lnTo>
                  <a:lnTo>
                    <a:pt x="1517514" y="1879616"/>
                  </a:lnTo>
                  <a:cubicBezTo>
                    <a:pt x="1517514" y="1922976"/>
                    <a:pt x="1491671" y="1962164"/>
                    <a:pt x="1451819" y="1979245"/>
                  </a:cubicBezTo>
                  <a:lnTo>
                    <a:pt x="801455" y="2257972"/>
                  </a:lnTo>
                  <a:cubicBezTo>
                    <a:pt x="774190" y="2269658"/>
                    <a:pt x="743325" y="2269658"/>
                    <a:pt x="716059" y="2257972"/>
                  </a:cubicBezTo>
                  <a:lnTo>
                    <a:pt x="65695" y="1979245"/>
                  </a:lnTo>
                  <a:cubicBezTo>
                    <a:pt x="25841" y="1962164"/>
                    <a:pt x="0" y="1922976"/>
                    <a:pt x="0" y="1879616"/>
                  </a:cubicBezTo>
                  <a:close/>
                </a:path>
              </a:pathLst>
            </a:custGeom>
            <a:grp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57" name="Rounded Rectangle 5">
              <a:extLst>
                <a:ext uri="{FF2B5EF4-FFF2-40B4-BE49-F238E27FC236}">
                  <a16:creationId xmlns:a16="http://schemas.microsoft.com/office/drawing/2014/main" id="{8F1E97A1-C1D9-E601-7846-9B9CA90B6B39}"/>
                </a:ext>
              </a:extLst>
            </p:cNvPr>
            <p:cNvSpPr/>
            <p:nvPr/>
          </p:nvSpPr>
          <p:spPr>
            <a:xfrm>
              <a:off x="2167878" y="1192333"/>
              <a:ext cx="1517514" cy="2269658"/>
            </a:xfrm>
            <a:custGeom>
              <a:avLst/>
              <a:gdLst/>
              <a:ahLst/>
              <a:cxnLst/>
              <a:rect l="0" t="0" r="0" b="0"/>
              <a:pathLst>
                <a:path w="1517514" h="2269658">
                  <a:moveTo>
                    <a:pt x="0" y="108393"/>
                  </a:moveTo>
                  <a:cubicBezTo>
                    <a:pt x="0" y="48529"/>
                    <a:pt x="48529" y="0"/>
                    <a:pt x="108393" y="0"/>
                  </a:cubicBezTo>
                  <a:lnTo>
                    <a:pt x="1409120" y="0"/>
                  </a:lnTo>
                  <a:cubicBezTo>
                    <a:pt x="1468985" y="0"/>
                    <a:pt x="1517514" y="48529"/>
                    <a:pt x="1517514" y="108393"/>
                  </a:cubicBezTo>
                  <a:moveTo>
                    <a:pt x="1517514" y="1842693"/>
                  </a:moveTo>
                  <a:lnTo>
                    <a:pt x="1517514" y="108393"/>
                  </a:lnTo>
                  <a:moveTo>
                    <a:pt x="0" y="1842693"/>
                  </a:moveTo>
                  <a:lnTo>
                    <a:pt x="0" y="108393"/>
                  </a:lnTo>
                  <a:moveTo>
                    <a:pt x="1517514" y="1842696"/>
                  </a:moveTo>
                  <a:lnTo>
                    <a:pt x="1517514" y="1879615"/>
                  </a:lnTo>
                  <a:cubicBezTo>
                    <a:pt x="1517514" y="1922976"/>
                    <a:pt x="1491673" y="1962164"/>
                    <a:pt x="1451819" y="1979245"/>
                  </a:cubicBezTo>
                  <a:lnTo>
                    <a:pt x="801455" y="2257972"/>
                  </a:lnTo>
                  <a:cubicBezTo>
                    <a:pt x="774190" y="2269658"/>
                    <a:pt x="743325" y="2269658"/>
                    <a:pt x="716059" y="2257972"/>
                  </a:cubicBezTo>
                  <a:lnTo>
                    <a:pt x="65695" y="1979245"/>
                  </a:lnTo>
                  <a:cubicBezTo>
                    <a:pt x="25841" y="1962164"/>
                    <a:pt x="0" y="1922976"/>
                    <a:pt x="0" y="1879615"/>
                  </a:cubicBezTo>
                  <a:lnTo>
                    <a:pt x="0" y="1842696"/>
                  </a:lnTo>
                </a:path>
              </a:pathLst>
            </a:custGeom>
            <a:grpFill/>
            <a:ln w="6774">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grpSp>
        <p:nvGrpSpPr>
          <p:cNvPr id="22" name="Group 21">
            <a:extLst>
              <a:ext uri="{FF2B5EF4-FFF2-40B4-BE49-F238E27FC236}">
                <a16:creationId xmlns:a16="http://schemas.microsoft.com/office/drawing/2014/main" id="{98CAB7CD-CAA2-338A-61EA-6DB3DBD8935B}"/>
              </a:ext>
            </a:extLst>
          </p:cNvPr>
          <p:cNvGrpSpPr/>
          <p:nvPr/>
        </p:nvGrpSpPr>
        <p:grpSpPr>
          <a:xfrm flipV="1">
            <a:off x="5523824" y="1201529"/>
            <a:ext cx="1220538" cy="1914921"/>
            <a:chOff x="1300727" y="3330191"/>
            <a:chExt cx="1517514" cy="2270160"/>
          </a:xfrm>
          <a:solidFill>
            <a:srgbClr val="F98700"/>
          </a:solidFill>
        </p:grpSpPr>
        <p:sp>
          <p:nvSpPr>
            <p:cNvPr id="50" name="Rounded Rectangle 13">
              <a:extLst>
                <a:ext uri="{FF2B5EF4-FFF2-40B4-BE49-F238E27FC236}">
                  <a16:creationId xmlns:a16="http://schemas.microsoft.com/office/drawing/2014/main" id="{BCD893E0-86FA-B304-8403-FEE6B901DD59}"/>
                </a:ext>
              </a:extLst>
            </p:cNvPr>
            <p:cNvSpPr/>
            <p:nvPr/>
          </p:nvSpPr>
          <p:spPr>
            <a:xfrm>
              <a:off x="1300727" y="3330191"/>
              <a:ext cx="1517514" cy="2270160"/>
            </a:xfrm>
            <a:custGeom>
              <a:avLst/>
              <a:gdLst/>
              <a:ahLst/>
              <a:cxnLst/>
              <a:rect l="0" t="0" r="0" b="0"/>
              <a:pathLst>
                <a:path w="1517514" h="2270160">
                  <a:moveTo>
                    <a:pt x="0" y="2161766"/>
                  </a:moveTo>
                  <a:lnTo>
                    <a:pt x="1517514" y="2161766"/>
                  </a:lnTo>
                  <a:cubicBezTo>
                    <a:pt x="1517514" y="2221631"/>
                    <a:pt x="1468981" y="2270160"/>
                    <a:pt x="1409120" y="2270160"/>
                  </a:cubicBezTo>
                  <a:lnTo>
                    <a:pt x="108393" y="2270160"/>
                  </a:lnTo>
                  <a:cubicBezTo>
                    <a:pt x="48529" y="2270160"/>
                    <a:pt x="0" y="2221630"/>
                    <a:pt x="0" y="2161766"/>
                  </a:cubicBezTo>
                  <a:close/>
                  <a:moveTo>
                    <a:pt x="0" y="2161766"/>
                  </a:moveTo>
                  <a:lnTo>
                    <a:pt x="0" y="427464"/>
                  </a:lnTo>
                  <a:lnTo>
                    <a:pt x="1517514" y="427464"/>
                  </a:lnTo>
                  <a:lnTo>
                    <a:pt x="1517514" y="2161766"/>
                  </a:lnTo>
                  <a:close/>
                  <a:moveTo>
                    <a:pt x="1517514" y="426961"/>
                  </a:moveTo>
                  <a:lnTo>
                    <a:pt x="0" y="426961"/>
                  </a:lnTo>
                  <a:lnTo>
                    <a:pt x="0" y="390041"/>
                  </a:lnTo>
                  <a:cubicBezTo>
                    <a:pt x="0" y="346681"/>
                    <a:pt x="25841" y="307492"/>
                    <a:pt x="65695" y="290412"/>
                  </a:cubicBezTo>
                  <a:lnTo>
                    <a:pt x="716059" y="11685"/>
                  </a:lnTo>
                  <a:cubicBezTo>
                    <a:pt x="743324" y="0"/>
                    <a:pt x="774190" y="0"/>
                    <a:pt x="801455" y="11685"/>
                  </a:cubicBezTo>
                  <a:lnTo>
                    <a:pt x="1451819" y="290412"/>
                  </a:lnTo>
                  <a:cubicBezTo>
                    <a:pt x="1491671" y="307492"/>
                    <a:pt x="1517514" y="346681"/>
                    <a:pt x="1517514" y="390041"/>
                  </a:cubicBezTo>
                  <a:close/>
                </a:path>
              </a:pathLst>
            </a:custGeom>
            <a:grp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51" name="Rounded Rectangle 14">
              <a:extLst>
                <a:ext uri="{FF2B5EF4-FFF2-40B4-BE49-F238E27FC236}">
                  <a16:creationId xmlns:a16="http://schemas.microsoft.com/office/drawing/2014/main" id="{98E3F90A-2C09-F569-292A-DD8C096F9718}"/>
                </a:ext>
              </a:extLst>
            </p:cNvPr>
            <p:cNvSpPr/>
            <p:nvPr/>
          </p:nvSpPr>
          <p:spPr>
            <a:xfrm>
              <a:off x="1300727" y="3330191"/>
              <a:ext cx="1517514" cy="2270160"/>
            </a:xfrm>
            <a:custGeom>
              <a:avLst/>
              <a:gdLst/>
              <a:ahLst/>
              <a:cxnLst/>
              <a:rect l="0" t="0" r="0" b="0"/>
              <a:pathLst>
                <a:path w="1517514" h="2270160">
                  <a:moveTo>
                    <a:pt x="1517514" y="2161766"/>
                  </a:moveTo>
                  <a:cubicBezTo>
                    <a:pt x="1517514" y="2221630"/>
                    <a:pt x="1468985" y="2270160"/>
                    <a:pt x="1409120" y="2270160"/>
                  </a:cubicBezTo>
                  <a:lnTo>
                    <a:pt x="108393" y="2270160"/>
                  </a:lnTo>
                  <a:cubicBezTo>
                    <a:pt x="48529" y="2270160"/>
                    <a:pt x="0" y="2221630"/>
                    <a:pt x="0" y="2161766"/>
                  </a:cubicBezTo>
                  <a:moveTo>
                    <a:pt x="1517514" y="2161763"/>
                  </a:moveTo>
                  <a:lnTo>
                    <a:pt x="1517514" y="427464"/>
                  </a:lnTo>
                  <a:moveTo>
                    <a:pt x="0" y="2161763"/>
                  </a:moveTo>
                  <a:lnTo>
                    <a:pt x="0" y="427464"/>
                  </a:lnTo>
                  <a:moveTo>
                    <a:pt x="0" y="426961"/>
                  </a:moveTo>
                  <a:lnTo>
                    <a:pt x="0" y="390041"/>
                  </a:lnTo>
                  <a:cubicBezTo>
                    <a:pt x="0" y="346681"/>
                    <a:pt x="25841" y="307492"/>
                    <a:pt x="65695" y="290412"/>
                  </a:cubicBezTo>
                  <a:lnTo>
                    <a:pt x="716059" y="11685"/>
                  </a:lnTo>
                  <a:cubicBezTo>
                    <a:pt x="743324" y="0"/>
                    <a:pt x="774190" y="0"/>
                    <a:pt x="801455" y="11685"/>
                  </a:cubicBezTo>
                  <a:lnTo>
                    <a:pt x="1451819" y="290412"/>
                  </a:lnTo>
                  <a:cubicBezTo>
                    <a:pt x="1491673" y="307492"/>
                    <a:pt x="1517514" y="346681"/>
                    <a:pt x="1517514" y="390041"/>
                  </a:cubicBezTo>
                  <a:lnTo>
                    <a:pt x="1517514" y="426961"/>
                  </a:lnTo>
                </a:path>
              </a:pathLst>
            </a:custGeom>
            <a:grpFill/>
            <a:ln w="6774">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sp>
        <p:nvSpPr>
          <p:cNvPr id="25" name="TextBox 22">
            <a:extLst>
              <a:ext uri="{FF2B5EF4-FFF2-40B4-BE49-F238E27FC236}">
                <a16:creationId xmlns:a16="http://schemas.microsoft.com/office/drawing/2014/main" id="{695904B0-E9BE-E6BE-6F52-C4D324DEDFB6}"/>
              </a:ext>
            </a:extLst>
          </p:cNvPr>
          <p:cNvSpPr txBox="1"/>
          <p:nvPr/>
        </p:nvSpPr>
        <p:spPr>
          <a:xfrm>
            <a:off x="8142650" y="1323032"/>
            <a:ext cx="820738" cy="33855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100" b="1" noProof="0">
                <a:solidFill>
                  <a:srgbClr val="EBEBEB"/>
                </a:solidFill>
                <a:latin typeface="Avenir LT Pro 45Book"/>
              </a:rPr>
              <a:t>Differences vs</a:t>
            </a:r>
          </a:p>
          <a:p>
            <a:pPr algn="ctr"/>
            <a:r>
              <a:rPr lang="en-GB" sz="1100" b="1" noProof="0">
                <a:solidFill>
                  <a:srgbClr val="EBEBEB"/>
                </a:solidFill>
                <a:latin typeface="Avenir LT Pro 45Book"/>
              </a:rPr>
              <a:t>Competitors</a:t>
            </a:r>
          </a:p>
        </p:txBody>
      </p:sp>
      <p:sp>
        <p:nvSpPr>
          <p:cNvPr id="27" name="TextBox 24">
            <a:extLst>
              <a:ext uri="{FF2B5EF4-FFF2-40B4-BE49-F238E27FC236}">
                <a16:creationId xmlns:a16="http://schemas.microsoft.com/office/drawing/2014/main" id="{B7F8EB12-406D-84B9-F73E-BD3CECCA65F5}"/>
              </a:ext>
            </a:extLst>
          </p:cNvPr>
          <p:cNvSpPr txBox="1"/>
          <p:nvPr/>
        </p:nvSpPr>
        <p:spPr>
          <a:xfrm>
            <a:off x="3170156" y="1985502"/>
            <a:ext cx="1090043" cy="36933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800" b="0" noProof="0">
                <a:solidFill>
                  <a:srgbClr val="EBEBEB"/>
                </a:solidFill>
                <a:latin typeface="Avenir LT Pro 45Book"/>
              </a:rPr>
              <a:t>Understand how</a:t>
            </a:r>
          </a:p>
          <a:p>
            <a:pPr algn="ctr"/>
            <a:r>
              <a:rPr lang="en-GB" sz="800" noProof="0">
                <a:solidFill>
                  <a:srgbClr val="EBEBEB"/>
                </a:solidFill>
                <a:latin typeface="Avenir LT Pro 45Book"/>
              </a:rPr>
              <a:t>customers and</a:t>
            </a:r>
          </a:p>
          <a:p>
            <a:pPr algn="ctr"/>
            <a:r>
              <a:rPr lang="en-GB" sz="800" noProof="0">
                <a:solidFill>
                  <a:srgbClr val="EBEBEB"/>
                </a:solidFill>
                <a:latin typeface="Avenir LT Pro 45Book"/>
              </a:rPr>
              <a:t>competitors perceive you.</a:t>
            </a:r>
            <a:endParaRPr lang="en-GB" sz="800" b="0" noProof="0">
              <a:solidFill>
                <a:srgbClr val="EBEBEB"/>
              </a:solidFill>
              <a:latin typeface="Avenir LT Pro 45Book"/>
            </a:endParaRPr>
          </a:p>
        </p:txBody>
      </p:sp>
      <p:sp>
        <p:nvSpPr>
          <p:cNvPr id="28" name="TextBox 25">
            <a:extLst>
              <a:ext uri="{FF2B5EF4-FFF2-40B4-BE49-F238E27FC236}">
                <a16:creationId xmlns:a16="http://schemas.microsoft.com/office/drawing/2014/main" id="{1D6E3170-1A2C-5962-6EF7-FDAC42DE87C5}"/>
              </a:ext>
            </a:extLst>
          </p:cNvPr>
          <p:cNvSpPr txBox="1"/>
          <p:nvPr/>
        </p:nvSpPr>
        <p:spPr>
          <a:xfrm>
            <a:off x="8038459" y="1960154"/>
            <a:ext cx="1029128" cy="36933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800" b="0" noProof="0">
                <a:solidFill>
                  <a:srgbClr val="EBEBEB"/>
                </a:solidFill>
                <a:latin typeface="Avenir LT Pro 45Book"/>
              </a:rPr>
              <a:t>Identify your </a:t>
            </a:r>
            <a:r>
              <a:rPr lang="en-GB" sz="800" noProof="0">
                <a:solidFill>
                  <a:srgbClr val="EBEBEB"/>
                </a:solidFill>
                <a:latin typeface="Avenir LT Pro 45Book"/>
              </a:rPr>
              <a:t>position in</a:t>
            </a:r>
          </a:p>
          <a:p>
            <a:pPr algn="ctr"/>
            <a:r>
              <a:rPr lang="en-GB" sz="800" noProof="0">
                <a:solidFill>
                  <a:srgbClr val="EBEBEB"/>
                </a:solidFill>
                <a:latin typeface="Avenir LT Pro 45Book"/>
              </a:rPr>
              <a:t>relation to competitors</a:t>
            </a:r>
          </a:p>
          <a:p>
            <a:pPr algn="ctr"/>
            <a:r>
              <a:rPr lang="en-GB" sz="800" b="0" noProof="0">
                <a:solidFill>
                  <a:srgbClr val="EBEBEB"/>
                </a:solidFill>
                <a:latin typeface="Avenir LT Pro 45Book"/>
              </a:rPr>
              <a:t>and what sets you apart.</a:t>
            </a:r>
          </a:p>
        </p:txBody>
      </p:sp>
      <p:sp>
        <p:nvSpPr>
          <p:cNvPr id="32" name="TextBox 29">
            <a:extLst>
              <a:ext uri="{FF2B5EF4-FFF2-40B4-BE49-F238E27FC236}">
                <a16:creationId xmlns:a16="http://schemas.microsoft.com/office/drawing/2014/main" id="{E42FD6CC-F5BC-00BC-4391-5B00E621B8DE}"/>
              </a:ext>
            </a:extLst>
          </p:cNvPr>
          <p:cNvSpPr txBox="1"/>
          <p:nvPr/>
        </p:nvSpPr>
        <p:spPr>
          <a:xfrm>
            <a:off x="3387365" y="1323032"/>
            <a:ext cx="655628" cy="50783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100" b="1" noProof="0">
                <a:solidFill>
                  <a:srgbClr val="EBEBEB"/>
                </a:solidFill>
                <a:latin typeface="Avenir LT Pro 45Book"/>
              </a:rPr>
              <a:t>Current</a:t>
            </a:r>
          </a:p>
          <a:p>
            <a:pPr algn="ctr"/>
            <a:r>
              <a:rPr lang="en-GB" sz="1100" b="1" noProof="0">
                <a:solidFill>
                  <a:srgbClr val="EBEBEB"/>
                </a:solidFill>
                <a:latin typeface="Avenir LT Pro 45Book"/>
              </a:rPr>
              <a:t>Strategic</a:t>
            </a:r>
          </a:p>
          <a:p>
            <a:pPr algn="ctr"/>
            <a:r>
              <a:rPr lang="en-GB" sz="1100" b="1" noProof="0">
                <a:solidFill>
                  <a:srgbClr val="EBEBEB"/>
                </a:solidFill>
                <a:latin typeface="Avenir LT Pro 45Book"/>
              </a:rPr>
              <a:t>Positioning</a:t>
            </a:r>
          </a:p>
        </p:txBody>
      </p:sp>
      <p:sp>
        <p:nvSpPr>
          <p:cNvPr id="33" name="TextBox 31">
            <a:extLst>
              <a:ext uri="{FF2B5EF4-FFF2-40B4-BE49-F238E27FC236}">
                <a16:creationId xmlns:a16="http://schemas.microsoft.com/office/drawing/2014/main" id="{C1158C14-E446-61C8-4267-86FA53F82CB4}"/>
              </a:ext>
            </a:extLst>
          </p:cNvPr>
          <p:cNvSpPr txBox="1"/>
          <p:nvPr/>
        </p:nvSpPr>
        <p:spPr>
          <a:xfrm>
            <a:off x="5755198" y="1323032"/>
            <a:ext cx="820739" cy="50783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100" b="1" noProof="0">
                <a:solidFill>
                  <a:srgbClr val="EBEBEB"/>
                </a:solidFill>
                <a:latin typeface="Avenir LT Pro 45Book"/>
              </a:rPr>
              <a:t>Value</a:t>
            </a:r>
          </a:p>
          <a:p>
            <a:pPr algn="ctr"/>
            <a:r>
              <a:rPr lang="en-GB" sz="1100" b="1" noProof="0">
                <a:solidFill>
                  <a:srgbClr val="EBEBEB"/>
                </a:solidFill>
                <a:latin typeface="Avenir LT Pro 45Book"/>
              </a:rPr>
              <a:t>Propositions</a:t>
            </a:r>
          </a:p>
          <a:p>
            <a:pPr algn="ctr"/>
            <a:r>
              <a:rPr lang="en-GB" sz="1100" b="1" noProof="0">
                <a:solidFill>
                  <a:srgbClr val="EBEBEB"/>
                </a:solidFill>
                <a:latin typeface="Avenir LT Pro 45Book"/>
              </a:rPr>
              <a:t>Segmentation</a:t>
            </a:r>
          </a:p>
        </p:txBody>
      </p:sp>
      <p:sp>
        <p:nvSpPr>
          <p:cNvPr id="36" name="TextBox 34">
            <a:extLst>
              <a:ext uri="{FF2B5EF4-FFF2-40B4-BE49-F238E27FC236}">
                <a16:creationId xmlns:a16="http://schemas.microsoft.com/office/drawing/2014/main" id="{D4B57EF3-4E85-05C1-A48D-195DA716F68F}"/>
              </a:ext>
            </a:extLst>
          </p:cNvPr>
          <p:cNvSpPr txBox="1"/>
          <p:nvPr/>
        </p:nvSpPr>
        <p:spPr>
          <a:xfrm>
            <a:off x="5625709" y="1912767"/>
            <a:ext cx="1030730" cy="36933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800" b="0" noProof="0">
                <a:solidFill>
                  <a:srgbClr val="EBEBEB"/>
                </a:solidFill>
                <a:latin typeface="Avenir LT Pro 45Book"/>
              </a:rPr>
              <a:t>How many you have</a:t>
            </a:r>
          </a:p>
          <a:p>
            <a:pPr algn="ctr"/>
            <a:r>
              <a:rPr lang="en-GB" sz="800" noProof="0">
                <a:solidFill>
                  <a:srgbClr val="EBEBEB"/>
                </a:solidFill>
                <a:latin typeface="Avenir LT Pro 45Book"/>
              </a:rPr>
              <a:t>and how effectively they</a:t>
            </a:r>
          </a:p>
          <a:p>
            <a:pPr algn="ctr"/>
            <a:r>
              <a:rPr lang="en-GB" sz="800" noProof="0">
                <a:solidFill>
                  <a:srgbClr val="EBEBEB"/>
                </a:solidFill>
                <a:latin typeface="Avenir LT Pro 45Book"/>
              </a:rPr>
              <a:t>d</a:t>
            </a:r>
            <a:r>
              <a:rPr lang="en-GB" sz="800" b="0" noProof="0">
                <a:solidFill>
                  <a:srgbClr val="EBEBEB"/>
                </a:solidFill>
                <a:latin typeface="Avenir LT Pro 45Book"/>
              </a:rPr>
              <a:t>eliver value</a:t>
            </a:r>
            <a:r>
              <a:rPr lang="en-GB" sz="800" noProof="0">
                <a:solidFill>
                  <a:srgbClr val="EBEBEB"/>
                </a:solidFill>
                <a:latin typeface="Avenir LT Pro 45Book"/>
              </a:rPr>
              <a:t>.</a:t>
            </a:r>
            <a:endParaRPr lang="en-GB" sz="800" b="0" noProof="0">
              <a:solidFill>
                <a:srgbClr val="EBEBEB"/>
              </a:solidFill>
              <a:latin typeface="Avenir LT Pro 45Book"/>
            </a:endParaRPr>
          </a:p>
        </p:txBody>
      </p:sp>
      <p:pic>
        <p:nvPicPr>
          <p:cNvPr id="80" name="Graphic 79">
            <a:extLst>
              <a:ext uri="{FF2B5EF4-FFF2-40B4-BE49-F238E27FC236}">
                <a16:creationId xmlns:a16="http://schemas.microsoft.com/office/drawing/2014/main" id="{BA2C19A7-1EB2-FCAD-6015-FEAA8CB1B9C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11954" y="2529522"/>
            <a:ext cx="288000" cy="288000"/>
          </a:xfrm>
          <a:prstGeom prst="rect">
            <a:avLst/>
          </a:prstGeom>
        </p:spPr>
      </p:pic>
      <p:pic>
        <p:nvPicPr>
          <p:cNvPr id="82" name="Graphic 81" descr="Table with solid fill">
            <a:extLst>
              <a:ext uri="{FF2B5EF4-FFF2-40B4-BE49-F238E27FC236}">
                <a16:creationId xmlns:a16="http://schemas.microsoft.com/office/drawing/2014/main" id="{EAC6A25E-CD22-B9DC-F549-57B6E6871B19}"/>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5972499" y="2494335"/>
            <a:ext cx="323187" cy="323187"/>
          </a:xfrm>
          <a:prstGeom prst="rect">
            <a:avLst/>
          </a:prstGeom>
        </p:spPr>
      </p:pic>
      <p:pic>
        <p:nvPicPr>
          <p:cNvPr id="84" name="Graphic 83" descr="Compass with solid fill">
            <a:extLst>
              <a:ext uri="{FF2B5EF4-FFF2-40B4-BE49-F238E27FC236}">
                <a16:creationId xmlns:a16="http://schemas.microsoft.com/office/drawing/2014/main" id="{BD0B85E5-836E-8622-46FB-52E9720C9953}"/>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3542717" y="2485914"/>
            <a:ext cx="344908" cy="344908"/>
          </a:xfrm>
          <a:prstGeom prst="rect">
            <a:avLst/>
          </a:prstGeom>
        </p:spPr>
      </p:pic>
      <p:sp>
        <p:nvSpPr>
          <p:cNvPr id="3" name="Arrow: Chevron 2">
            <a:extLst>
              <a:ext uri="{FF2B5EF4-FFF2-40B4-BE49-F238E27FC236}">
                <a16:creationId xmlns:a16="http://schemas.microsoft.com/office/drawing/2014/main" id="{07A4D7DA-B8BB-1970-D9F1-55EADD623E21}"/>
              </a:ext>
            </a:extLst>
          </p:cNvPr>
          <p:cNvSpPr/>
          <p:nvPr/>
        </p:nvSpPr>
        <p:spPr>
          <a:xfrm>
            <a:off x="8113996"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10" name="Arrow: Chevron 9">
            <a:extLst>
              <a:ext uri="{FF2B5EF4-FFF2-40B4-BE49-F238E27FC236}">
                <a16:creationId xmlns:a16="http://schemas.microsoft.com/office/drawing/2014/main" id="{323BF02D-B4A4-7BFF-A38B-3ED82C594F4B}"/>
              </a:ext>
            </a:extLst>
          </p:cNvPr>
          <p:cNvSpPr/>
          <p:nvPr/>
        </p:nvSpPr>
        <p:spPr>
          <a:xfrm>
            <a:off x="9076754"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11" name="Arrow: Chevron 10">
            <a:extLst>
              <a:ext uri="{FF2B5EF4-FFF2-40B4-BE49-F238E27FC236}">
                <a16:creationId xmlns:a16="http://schemas.microsoft.com/office/drawing/2014/main" id="{AACB5384-BAFA-7704-9517-4AC110D60C45}"/>
              </a:ext>
            </a:extLst>
          </p:cNvPr>
          <p:cNvSpPr/>
          <p:nvPr/>
        </p:nvSpPr>
        <p:spPr>
          <a:xfrm>
            <a:off x="10039512"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12" name="Arrow: Chevron 11">
            <a:extLst>
              <a:ext uri="{FF2B5EF4-FFF2-40B4-BE49-F238E27FC236}">
                <a16:creationId xmlns:a16="http://schemas.microsoft.com/office/drawing/2014/main" id="{7F581161-B90A-937C-8782-71EF00F1CAC0}"/>
              </a:ext>
            </a:extLst>
          </p:cNvPr>
          <p:cNvSpPr/>
          <p:nvPr/>
        </p:nvSpPr>
        <p:spPr>
          <a:xfrm>
            <a:off x="1099963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8550288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A1DE61-59E3-D35F-F0A6-DB1F96FFA32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54824BD-B99F-2BD6-5509-0D307FF99AF9}"/>
              </a:ext>
            </a:extLst>
          </p:cNvPr>
          <p:cNvGraphicFramePr>
            <a:graphicFrameLocks noChangeAspect="1"/>
          </p:cNvGraphicFramePr>
          <p:nvPr>
            <p:custDataLst>
              <p:tags r:id="rId1"/>
            </p:custDataLst>
            <p:extLst>
              <p:ext uri="{D42A27DB-BD31-4B8C-83A1-F6EECF244321}">
                <p14:modId xmlns:p14="http://schemas.microsoft.com/office/powerpoint/2010/main" val="763109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E54824BD-B99F-2BD6-5509-0D307FF99A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D75EDB-C26C-5E85-6919-4F573E343713}"/>
              </a:ext>
            </a:extLst>
          </p:cNvPr>
          <p:cNvSpPr>
            <a:spLocks noGrp="1"/>
          </p:cNvSpPr>
          <p:nvPr>
            <p:ph type="title"/>
          </p:nvPr>
        </p:nvSpPr>
        <p:spPr>
          <a:xfrm>
            <a:off x="137786" y="125260"/>
            <a:ext cx="6646735" cy="806754"/>
          </a:xfrm>
        </p:spPr>
        <p:txBody>
          <a:bodyPr vert="horz">
            <a:normAutofit/>
          </a:bodyPr>
          <a:lstStyle/>
          <a:p>
            <a:r>
              <a:rPr lang="en-GB" b="1" noProof="0"/>
              <a:t>Diagnostic Questions (3/3)</a:t>
            </a:r>
          </a:p>
        </p:txBody>
      </p:sp>
      <p:graphicFrame>
        <p:nvGraphicFramePr>
          <p:cNvPr id="17" name="Table 16">
            <a:extLst>
              <a:ext uri="{FF2B5EF4-FFF2-40B4-BE49-F238E27FC236}">
                <a16:creationId xmlns:a16="http://schemas.microsoft.com/office/drawing/2014/main" id="{98D2C585-8ABB-60EE-0A31-671C866F91CC}"/>
              </a:ext>
            </a:extLst>
          </p:cNvPr>
          <p:cNvGraphicFramePr>
            <a:graphicFrameLocks noGrp="1"/>
          </p:cNvGraphicFramePr>
          <p:nvPr>
            <p:extLst>
              <p:ext uri="{D42A27DB-BD31-4B8C-83A1-F6EECF244321}">
                <p14:modId xmlns:p14="http://schemas.microsoft.com/office/powerpoint/2010/main" val="3037430397"/>
              </p:ext>
            </p:extLst>
          </p:nvPr>
        </p:nvGraphicFramePr>
        <p:xfrm>
          <a:off x="197946" y="3304356"/>
          <a:ext cx="11796108" cy="3294699"/>
        </p:xfrm>
        <a:graphic>
          <a:graphicData uri="http://schemas.openxmlformats.org/drawingml/2006/table">
            <a:tbl>
              <a:tblPr/>
              <a:tblGrid>
                <a:gridCol w="3364172">
                  <a:extLst>
                    <a:ext uri="{9D8B030D-6E8A-4147-A177-3AD203B41FA5}">
                      <a16:colId xmlns:a16="http://schemas.microsoft.com/office/drawing/2014/main" val="136738683"/>
                    </a:ext>
                  </a:extLst>
                </a:gridCol>
                <a:gridCol w="1053992">
                  <a:extLst>
                    <a:ext uri="{9D8B030D-6E8A-4147-A177-3AD203B41FA5}">
                      <a16:colId xmlns:a16="http://schemas.microsoft.com/office/drawing/2014/main" val="1096640527"/>
                    </a:ext>
                  </a:extLst>
                </a:gridCol>
                <a:gridCol w="1053992">
                  <a:extLst>
                    <a:ext uri="{9D8B030D-6E8A-4147-A177-3AD203B41FA5}">
                      <a16:colId xmlns:a16="http://schemas.microsoft.com/office/drawing/2014/main" val="609523105"/>
                    </a:ext>
                  </a:extLst>
                </a:gridCol>
                <a:gridCol w="1053992">
                  <a:extLst>
                    <a:ext uri="{9D8B030D-6E8A-4147-A177-3AD203B41FA5}">
                      <a16:colId xmlns:a16="http://schemas.microsoft.com/office/drawing/2014/main" val="3535507555"/>
                    </a:ext>
                  </a:extLst>
                </a:gridCol>
                <a:gridCol w="1053992">
                  <a:extLst>
                    <a:ext uri="{9D8B030D-6E8A-4147-A177-3AD203B41FA5}">
                      <a16:colId xmlns:a16="http://schemas.microsoft.com/office/drawing/2014/main" val="3882249571"/>
                    </a:ext>
                  </a:extLst>
                </a:gridCol>
                <a:gridCol w="1053992">
                  <a:extLst>
                    <a:ext uri="{9D8B030D-6E8A-4147-A177-3AD203B41FA5}">
                      <a16:colId xmlns:a16="http://schemas.microsoft.com/office/drawing/2014/main" val="1007820904"/>
                    </a:ext>
                  </a:extLst>
                </a:gridCol>
                <a:gridCol w="1053992">
                  <a:extLst>
                    <a:ext uri="{9D8B030D-6E8A-4147-A177-3AD203B41FA5}">
                      <a16:colId xmlns:a16="http://schemas.microsoft.com/office/drawing/2014/main" val="3999937779"/>
                    </a:ext>
                  </a:extLst>
                </a:gridCol>
                <a:gridCol w="1053992">
                  <a:extLst>
                    <a:ext uri="{9D8B030D-6E8A-4147-A177-3AD203B41FA5}">
                      <a16:colId xmlns:a16="http://schemas.microsoft.com/office/drawing/2014/main" val="1600309353"/>
                    </a:ext>
                  </a:extLst>
                </a:gridCol>
                <a:gridCol w="1053992">
                  <a:extLst>
                    <a:ext uri="{9D8B030D-6E8A-4147-A177-3AD203B41FA5}">
                      <a16:colId xmlns:a16="http://schemas.microsoft.com/office/drawing/2014/main" val="716613308"/>
                    </a:ext>
                  </a:extLst>
                </a:gridCol>
              </a:tblGrid>
              <a:tr h="418441">
                <a:tc>
                  <a:txBody>
                    <a:bodyPr/>
                    <a:lstStyle/>
                    <a:p>
                      <a:pPr algn="l" rtl="0" fontAlgn="ctr">
                        <a:buNone/>
                      </a:pPr>
                      <a:r>
                        <a:rPr lang="en-GB" sz="1000" b="1" i="0" u="none" strike="noStrike" noProof="0">
                          <a:solidFill>
                            <a:srgbClr val="FFFFFF"/>
                          </a:solidFill>
                          <a:effectLst/>
                          <a:latin typeface="Avenir Next LT Pro" panose="020B0504020202020204" pitchFamily="34" charset="0"/>
                        </a:rPr>
                        <a:t>Question 3 Data Sourc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tc>
                  <a:txBody>
                    <a:bodyPr/>
                    <a:lstStyle/>
                    <a:p>
                      <a:pPr algn="l" rtl="0" fontAlgn="ctr">
                        <a:buNone/>
                      </a:pPr>
                      <a:r>
                        <a:rPr lang="en-GB" sz="1000" b="1" i="0" u="none" strike="noStrike" noProof="0">
                          <a:solidFill>
                            <a:srgbClr val="FFFFFF"/>
                          </a:solidFill>
                          <a:effectLst/>
                          <a:latin typeface="Avenir Next LT Pro" panose="020B0504020202020204" pitchFamily="34" charset="0"/>
                        </a:rPr>
                        <a:t>Interviews with customer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tc>
                  <a:txBody>
                    <a:bodyPr/>
                    <a:lstStyle/>
                    <a:p>
                      <a:pPr algn="l" rtl="0" fontAlgn="ctr">
                        <a:buNone/>
                      </a:pPr>
                      <a:r>
                        <a:rPr lang="en-GB" sz="1000" b="1" i="0" u="none" strike="noStrike" noProof="0">
                          <a:solidFill>
                            <a:srgbClr val="FFFFFF"/>
                          </a:solidFill>
                          <a:effectLst/>
                          <a:latin typeface="Avenir Next LT Pro" panose="020B0504020202020204" pitchFamily="34" charset="0"/>
                        </a:rPr>
                        <a:t>Interviews with Product team</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tc>
                  <a:txBody>
                    <a:bodyPr/>
                    <a:lstStyle/>
                    <a:p>
                      <a:pPr algn="l" rtl="0" fontAlgn="ctr">
                        <a:buNone/>
                      </a:pPr>
                      <a:r>
                        <a:rPr lang="en-GB" sz="1000" b="1" i="0" u="none" strike="noStrike" noProof="0">
                          <a:solidFill>
                            <a:srgbClr val="FFFFFF"/>
                          </a:solidFill>
                          <a:effectLst/>
                          <a:latin typeface="Avenir Next LT Pro" panose="020B0504020202020204" pitchFamily="34" charset="0"/>
                        </a:rPr>
                        <a:t>Interviews with Sales team</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tc>
                  <a:txBody>
                    <a:bodyPr/>
                    <a:lstStyle/>
                    <a:p>
                      <a:pPr algn="l" rtl="0" fontAlgn="ctr">
                        <a:buNone/>
                      </a:pPr>
                      <a:r>
                        <a:rPr lang="en-GB" sz="1000" b="1" i="0" u="none" strike="noStrike" noProof="0">
                          <a:solidFill>
                            <a:srgbClr val="FFFFFF"/>
                          </a:solidFill>
                          <a:effectLst/>
                          <a:latin typeface="Avenir Next LT Pro" panose="020B0504020202020204" pitchFamily="34" charset="0"/>
                        </a:rPr>
                        <a:t>VOIC studi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tc>
                  <a:txBody>
                    <a:bodyPr/>
                    <a:lstStyle/>
                    <a:p>
                      <a:pPr algn="l" rtl="0" fontAlgn="ctr">
                        <a:buNone/>
                      </a:pPr>
                      <a:r>
                        <a:rPr lang="en-GB" sz="1000" b="1" i="0" u="none" strike="noStrike" noProof="0" err="1">
                          <a:solidFill>
                            <a:srgbClr val="FFFFFF"/>
                          </a:solidFill>
                          <a:effectLst/>
                          <a:latin typeface="Avenir Next LT Pro" panose="020B0504020202020204" pitchFamily="34" charset="0"/>
                        </a:rPr>
                        <a:t>Mgt</a:t>
                      </a:r>
                      <a:r>
                        <a:rPr lang="en-GB" sz="1000" b="1" i="0" u="none" strike="noStrike" noProof="0">
                          <a:solidFill>
                            <a:srgbClr val="FFFFFF"/>
                          </a:solidFill>
                          <a:effectLst/>
                          <a:latin typeface="Avenir Next LT Pro" panose="020B0504020202020204" pitchFamily="34" charset="0"/>
                        </a:rPr>
                        <a:t> Control/CRM System</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tc>
                  <a:txBody>
                    <a:bodyPr/>
                    <a:lstStyle/>
                    <a:p>
                      <a:pPr algn="l" rtl="0" fontAlgn="ctr">
                        <a:buNone/>
                      </a:pPr>
                      <a:r>
                        <a:rPr lang="en-GB" sz="1000" b="1" i="0" u="none" strike="noStrike" noProof="0">
                          <a:solidFill>
                            <a:srgbClr val="FFFFFF"/>
                          </a:solidFill>
                          <a:effectLst/>
                          <a:latin typeface="Avenir Next LT Pro" panose="020B0504020202020204" pitchFamily="34" charset="0"/>
                        </a:rPr>
                        <a:t>Price Benchmark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tc>
                  <a:txBody>
                    <a:bodyPr/>
                    <a:lstStyle/>
                    <a:p>
                      <a:pPr algn="l" rtl="0" fontAlgn="ctr">
                        <a:buNone/>
                      </a:pPr>
                      <a:r>
                        <a:rPr lang="en-GB" sz="1000" b="1" i="0" u="none" strike="noStrike" noProof="0">
                          <a:solidFill>
                            <a:srgbClr val="FFFFFF"/>
                          </a:solidFill>
                          <a:effectLst/>
                          <a:latin typeface="Avenir Next LT Pro" panose="020B0504020202020204" pitchFamily="34" charset="0"/>
                        </a:rPr>
                        <a:t>Interviews with KOL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tc>
                  <a:txBody>
                    <a:bodyPr/>
                    <a:lstStyle/>
                    <a:p>
                      <a:pPr algn="l" rtl="0" fontAlgn="ctr">
                        <a:buNone/>
                      </a:pPr>
                      <a:r>
                        <a:rPr lang="en-GB" sz="1000" b="1" i="0" u="none" strike="noStrike" noProof="0">
                          <a:solidFill>
                            <a:srgbClr val="FFFFFF"/>
                          </a:solidFill>
                          <a:effectLst/>
                          <a:latin typeface="Avenir Next LT Pro" panose="020B0504020202020204" pitchFamily="34" charset="0"/>
                        </a:rPr>
                        <a:t>Competitors research</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8700"/>
                    </a:solidFill>
                  </a:tcPr>
                </a:tc>
                <a:extLst>
                  <a:ext uri="{0D108BD9-81ED-4DB2-BD59-A6C34878D82A}">
                    <a16:rowId xmlns:a16="http://schemas.microsoft.com/office/drawing/2014/main" val="2917339543"/>
                  </a:ext>
                </a:extLst>
              </a:tr>
              <a:tr h="314431">
                <a:tc>
                  <a:txBody>
                    <a:bodyPr/>
                    <a:lstStyle/>
                    <a:p>
                      <a:pPr algn="l" rtl="0" fontAlgn="ctr">
                        <a:buNone/>
                      </a:pPr>
                      <a:r>
                        <a:rPr lang="en-GB" sz="1000" b="1" i="0" u="none" strike="noStrike" noProof="0">
                          <a:solidFill>
                            <a:srgbClr val="000000"/>
                          </a:solidFill>
                          <a:effectLst/>
                          <a:latin typeface="Avenir Next LT Pro" panose="020B0504020202020204" pitchFamily="34" charset="0"/>
                        </a:rPr>
                        <a:t>Who are our most significant competitor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937851682"/>
                  </a:ext>
                </a:extLst>
              </a:tr>
              <a:tr h="314431">
                <a:tc>
                  <a:txBody>
                    <a:bodyPr/>
                    <a:lstStyle/>
                    <a:p>
                      <a:pPr algn="l" rtl="0" fontAlgn="ctr">
                        <a:buNone/>
                      </a:pPr>
                      <a:r>
                        <a:rPr lang="en-GB" sz="1000" b="1" i="0" u="none" strike="noStrike" noProof="0">
                          <a:solidFill>
                            <a:srgbClr val="000000"/>
                          </a:solidFill>
                          <a:effectLst/>
                          <a:latin typeface="Avenir Next LT Pro" panose="020B0504020202020204" pitchFamily="34" charset="0"/>
                        </a:rPr>
                        <a:t>How do customers compare our VP to competitor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866780298"/>
                  </a:ext>
                </a:extLst>
              </a:tr>
              <a:tr h="314431">
                <a:tc>
                  <a:txBody>
                    <a:bodyPr/>
                    <a:lstStyle/>
                    <a:p>
                      <a:pPr algn="l" rtl="0" fontAlgn="ctr">
                        <a:buNone/>
                      </a:pPr>
                      <a:r>
                        <a:rPr lang="en-GB" sz="1000" b="1" i="0" u="none" strike="noStrike" noProof="0">
                          <a:solidFill>
                            <a:srgbClr val="000000"/>
                          </a:solidFill>
                          <a:effectLst/>
                          <a:latin typeface="Avenir Next LT Pro" panose="020B0504020202020204" pitchFamily="34" charset="0"/>
                        </a:rPr>
                        <a:t>Which value attributes do we outperform competitors on?</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45563506"/>
                  </a:ext>
                </a:extLst>
              </a:tr>
              <a:tr h="314431">
                <a:tc>
                  <a:txBody>
                    <a:bodyPr/>
                    <a:lstStyle/>
                    <a:p>
                      <a:pPr algn="l" rtl="0" fontAlgn="ctr">
                        <a:buNone/>
                      </a:pPr>
                      <a:r>
                        <a:rPr lang="en-GB" sz="1000" b="1" i="0" u="none" strike="noStrike" noProof="0">
                          <a:solidFill>
                            <a:srgbClr val="000000"/>
                          </a:solidFill>
                          <a:effectLst/>
                          <a:latin typeface="Avenir Next LT Pro" panose="020B0504020202020204" pitchFamily="34" charset="0"/>
                        </a:rPr>
                        <a:t>Where do competitors outperform us on key attribut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230786051"/>
                  </a:ext>
                </a:extLst>
              </a:tr>
              <a:tr h="314431">
                <a:tc>
                  <a:txBody>
                    <a:bodyPr/>
                    <a:lstStyle/>
                    <a:p>
                      <a:pPr algn="l" rtl="0" fontAlgn="ctr">
                        <a:buNone/>
                      </a:pPr>
                      <a:r>
                        <a:rPr lang="en-GB" sz="1000" b="1" i="0" u="none" strike="noStrike" noProof="0">
                          <a:solidFill>
                            <a:srgbClr val="000000"/>
                          </a:solidFill>
                          <a:effectLst/>
                          <a:latin typeface="Avenir Next LT Pro" panose="020B0504020202020204" pitchFamily="34" charset="0"/>
                        </a:rPr>
                        <a:t>What attributes have the biggest impact on our cost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499895568"/>
                  </a:ext>
                </a:extLst>
              </a:tr>
              <a:tr h="314431">
                <a:tc>
                  <a:txBody>
                    <a:bodyPr/>
                    <a:lstStyle/>
                    <a:p>
                      <a:pPr algn="l" rtl="0" fontAlgn="ctr">
                        <a:buNone/>
                      </a:pPr>
                      <a:r>
                        <a:rPr lang="en-GB" sz="1000" b="1" i="0" u="none" strike="noStrike" noProof="0">
                          <a:solidFill>
                            <a:srgbClr val="000000"/>
                          </a:solidFill>
                          <a:effectLst/>
                          <a:latin typeface="Avenir Next LT Pro" panose="020B0504020202020204" pitchFamily="34" charset="0"/>
                        </a:rPr>
                        <a:t>How does our actual price compare to competitor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398821761"/>
                  </a:ext>
                </a:extLst>
              </a:tr>
              <a:tr h="314431">
                <a:tc>
                  <a:txBody>
                    <a:bodyPr/>
                    <a:lstStyle/>
                    <a:p>
                      <a:pPr algn="l" rtl="0" fontAlgn="ctr">
                        <a:buNone/>
                      </a:pPr>
                      <a:r>
                        <a:rPr lang="en-GB" sz="1000" b="1" i="0" u="none" strike="noStrike" noProof="0">
                          <a:solidFill>
                            <a:srgbClr val="000000"/>
                          </a:solidFill>
                          <a:effectLst/>
                          <a:latin typeface="Avenir Next LT Pro" panose="020B0504020202020204" pitchFamily="34" charset="0"/>
                        </a:rPr>
                        <a:t>Which competitors have the highest customer WTP?</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4103573276"/>
                  </a:ext>
                </a:extLst>
              </a:tr>
              <a:tr h="314431">
                <a:tc>
                  <a:txBody>
                    <a:bodyPr/>
                    <a:lstStyle/>
                    <a:p>
                      <a:pPr algn="l" rtl="0" fontAlgn="ctr">
                        <a:buNone/>
                      </a:pPr>
                      <a:r>
                        <a:rPr lang="en-GB" sz="1000" b="1" i="0" u="none" strike="noStrike" noProof="0">
                          <a:solidFill>
                            <a:srgbClr val="000000"/>
                          </a:solidFill>
                          <a:effectLst/>
                          <a:latin typeface="Avenir Next LT Pro" panose="020B0504020202020204" pitchFamily="34" charset="0"/>
                        </a:rPr>
                        <a:t>What value attributes are underserved by all competitor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77051896"/>
                  </a:ext>
                </a:extLst>
              </a:tr>
              <a:tr h="314431">
                <a:tc>
                  <a:txBody>
                    <a:bodyPr/>
                    <a:lstStyle/>
                    <a:p>
                      <a:pPr algn="l" rtl="0" fontAlgn="ctr">
                        <a:buNone/>
                      </a:pPr>
                      <a:r>
                        <a:rPr lang="en-GB" sz="1000" b="1" i="0" u="none" strike="noStrike" noProof="0">
                          <a:solidFill>
                            <a:srgbClr val="000000"/>
                          </a:solidFill>
                          <a:effectLst/>
                          <a:latin typeface="Avenir Next LT Pro" panose="020B0504020202020204" pitchFamily="34" charset="0"/>
                        </a:rPr>
                        <a:t>How sustainable are our advantages vs competitor threat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buNone/>
                      </a:pPr>
                      <a:r>
                        <a:rPr lang="en-GB" sz="1000" b="0" i="0" u="none" strike="noStrike" noProof="0">
                          <a:solidFill>
                            <a:srgbClr val="000000"/>
                          </a:solidFill>
                          <a:effectLst/>
                          <a:latin typeface="Avenir Next LT Pro" panose="020B0504020202020204" pitchFamily="34" charset="0"/>
                        </a:rPr>
                        <a:t>Y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912131696"/>
                  </a:ext>
                </a:extLst>
              </a:tr>
            </a:tbl>
          </a:graphicData>
        </a:graphic>
      </p:graphicFrame>
      <p:grpSp>
        <p:nvGrpSpPr>
          <p:cNvPr id="18" name="Group 17">
            <a:extLst>
              <a:ext uri="{FF2B5EF4-FFF2-40B4-BE49-F238E27FC236}">
                <a16:creationId xmlns:a16="http://schemas.microsoft.com/office/drawing/2014/main" id="{EBF935B5-3890-1726-88AB-8BF3429D85E8}"/>
              </a:ext>
            </a:extLst>
          </p:cNvPr>
          <p:cNvGrpSpPr/>
          <p:nvPr/>
        </p:nvGrpSpPr>
        <p:grpSpPr>
          <a:xfrm>
            <a:off x="3408404" y="1235222"/>
            <a:ext cx="1220538" cy="1914495"/>
            <a:chOff x="433575" y="1192333"/>
            <a:chExt cx="1517514" cy="2269658"/>
          </a:xfrm>
          <a:solidFill>
            <a:srgbClr val="7F7F7F"/>
          </a:solidFill>
        </p:grpSpPr>
        <p:sp>
          <p:nvSpPr>
            <p:cNvPr id="58" name="Rounded Rectangle 1">
              <a:extLst>
                <a:ext uri="{FF2B5EF4-FFF2-40B4-BE49-F238E27FC236}">
                  <a16:creationId xmlns:a16="http://schemas.microsoft.com/office/drawing/2014/main" id="{E405FCE2-280D-F386-790D-49A954295CA0}"/>
                </a:ext>
              </a:extLst>
            </p:cNvPr>
            <p:cNvSpPr/>
            <p:nvPr/>
          </p:nvSpPr>
          <p:spPr>
            <a:xfrm>
              <a:off x="433575" y="1192333"/>
              <a:ext cx="1517514" cy="2269658"/>
            </a:xfrm>
            <a:custGeom>
              <a:avLst/>
              <a:gdLst/>
              <a:ahLst/>
              <a:cxnLst/>
              <a:rect l="0" t="0" r="0" b="0"/>
              <a:pathLst>
                <a:path w="1517514" h="2269658">
                  <a:moveTo>
                    <a:pt x="1517514" y="108393"/>
                  </a:moveTo>
                  <a:lnTo>
                    <a:pt x="0" y="108393"/>
                  </a:lnTo>
                  <a:cubicBezTo>
                    <a:pt x="0" y="48529"/>
                    <a:pt x="48529" y="0"/>
                    <a:pt x="108393" y="0"/>
                  </a:cubicBezTo>
                  <a:lnTo>
                    <a:pt x="1409120" y="0"/>
                  </a:lnTo>
                  <a:cubicBezTo>
                    <a:pt x="1468981" y="0"/>
                    <a:pt x="1517514" y="48529"/>
                    <a:pt x="1517514" y="108393"/>
                  </a:cubicBezTo>
                  <a:close/>
                  <a:moveTo>
                    <a:pt x="0" y="1842696"/>
                  </a:moveTo>
                  <a:lnTo>
                    <a:pt x="0" y="108394"/>
                  </a:lnTo>
                  <a:lnTo>
                    <a:pt x="1517514" y="108393"/>
                  </a:lnTo>
                  <a:lnTo>
                    <a:pt x="1517514" y="1842696"/>
                  </a:lnTo>
                  <a:close/>
                  <a:moveTo>
                    <a:pt x="0" y="1842696"/>
                  </a:moveTo>
                  <a:lnTo>
                    <a:pt x="1517514" y="1842696"/>
                  </a:lnTo>
                  <a:lnTo>
                    <a:pt x="1517514" y="1879616"/>
                  </a:lnTo>
                  <a:cubicBezTo>
                    <a:pt x="1517514" y="1922976"/>
                    <a:pt x="1491671" y="1962164"/>
                    <a:pt x="1451819" y="1979245"/>
                  </a:cubicBezTo>
                  <a:lnTo>
                    <a:pt x="801455" y="2257972"/>
                  </a:lnTo>
                  <a:cubicBezTo>
                    <a:pt x="774190" y="2269658"/>
                    <a:pt x="743325" y="2269658"/>
                    <a:pt x="716059" y="2257972"/>
                  </a:cubicBezTo>
                  <a:lnTo>
                    <a:pt x="65695" y="1979245"/>
                  </a:lnTo>
                  <a:cubicBezTo>
                    <a:pt x="25841" y="1962164"/>
                    <a:pt x="0" y="1922976"/>
                    <a:pt x="0" y="1879616"/>
                  </a:cubicBezTo>
                  <a:close/>
                </a:path>
              </a:pathLst>
            </a:custGeom>
            <a:grp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59" name="Rounded Rectangle 2">
              <a:extLst>
                <a:ext uri="{FF2B5EF4-FFF2-40B4-BE49-F238E27FC236}">
                  <a16:creationId xmlns:a16="http://schemas.microsoft.com/office/drawing/2014/main" id="{BA35F57E-3C29-6F04-B178-263912D9F4D5}"/>
                </a:ext>
              </a:extLst>
            </p:cNvPr>
            <p:cNvSpPr/>
            <p:nvPr/>
          </p:nvSpPr>
          <p:spPr>
            <a:xfrm>
              <a:off x="433575" y="1192333"/>
              <a:ext cx="1517514" cy="2269658"/>
            </a:xfrm>
            <a:custGeom>
              <a:avLst/>
              <a:gdLst/>
              <a:ahLst/>
              <a:cxnLst/>
              <a:rect l="0" t="0" r="0" b="0"/>
              <a:pathLst>
                <a:path w="1517514" h="2269658">
                  <a:moveTo>
                    <a:pt x="0" y="108393"/>
                  </a:moveTo>
                  <a:cubicBezTo>
                    <a:pt x="0" y="48529"/>
                    <a:pt x="48529" y="0"/>
                    <a:pt x="108393" y="0"/>
                  </a:cubicBezTo>
                  <a:lnTo>
                    <a:pt x="1409120" y="0"/>
                  </a:lnTo>
                  <a:cubicBezTo>
                    <a:pt x="1468985" y="0"/>
                    <a:pt x="1517514" y="48529"/>
                    <a:pt x="1517514" y="108393"/>
                  </a:cubicBezTo>
                  <a:moveTo>
                    <a:pt x="1517514" y="1842693"/>
                  </a:moveTo>
                  <a:lnTo>
                    <a:pt x="1517514" y="108393"/>
                  </a:lnTo>
                  <a:moveTo>
                    <a:pt x="0" y="1842693"/>
                  </a:moveTo>
                  <a:lnTo>
                    <a:pt x="0" y="108393"/>
                  </a:lnTo>
                  <a:moveTo>
                    <a:pt x="1517514" y="1842696"/>
                  </a:moveTo>
                  <a:lnTo>
                    <a:pt x="1517514" y="1879615"/>
                  </a:lnTo>
                  <a:cubicBezTo>
                    <a:pt x="1517514" y="1922976"/>
                    <a:pt x="1491673" y="1962164"/>
                    <a:pt x="1451819" y="1979245"/>
                  </a:cubicBezTo>
                  <a:lnTo>
                    <a:pt x="801455" y="2257972"/>
                  </a:lnTo>
                  <a:cubicBezTo>
                    <a:pt x="774190" y="2269658"/>
                    <a:pt x="743325" y="2269658"/>
                    <a:pt x="716059" y="2257972"/>
                  </a:cubicBezTo>
                  <a:lnTo>
                    <a:pt x="65695" y="1979245"/>
                  </a:lnTo>
                  <a:cubicBezTo>
                    <a:pt x="25841" y="1962164"/>
                    <a:pt x="0" y="1922976"/>
                    <a:pt x="0" y="1879615"/>
                  </a:cubicBezTo>
                  <a:lnTo>
                    <a:pt x="0" y="1842696"/>
                  </a:lnTo>
                </a:path>
              </a:pathLst>
            </a:custGeom>
            <a:grpFill/>
            <a:ln w="6774">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grpSp>
        <p:nvGrpSpPr>
          <p:cNvPr id="19" name="Group 18">
            <a:extLst>
              <a:ext uri="{FF2B5EF4-FFF2-40B4-BE49-F238E27FC236}">
                <a16:creationId xmlns:a16="http://schemas.microsoft.com/office/drawing/2014/main" id="{50F30B07-5AB6-2362-EA38-34D523613CB1}"/>
              </a:ext>
            </a:extLst>
          </p:cNvPr>
          <p:cNvGrpSpPr/>
          <p:nvPr/>
        </p:nvGrpSpPr>
        <p:grpSpPr>
          <a:xfrm>
            <a:off x="8246248" y="1235646"/>
            <a:ext cx="1220538" cy="1914495"/>
            <a:chOff x="2167878" y="1192333"/>
            <a:chExt cx="1517514" cy="2269658"/>
          </a:xfrm>
          <a:solidFill>
            <a:srgbClr val="F98700"/>
          </a:solidFill>
        </p:grpSpPr>
        <p:sp>
          <p:nvSpPr>
            <p:cNvPr id="56" name="Rounded Rectangle 4">
              <a:extLst>
                <a:ext uri="{FF2B5EF4-FFF2-40B4-BE49-F238E27FC236}">
                  <a16:creationId xmlns:a16="http://schemas.microsoft.com/office/drawing/2014/main" id="{AF625B78-2843-E78E-CB87-6A923F52C575}"/>
                </a:ext>
              </a:extLst>
            </p:cNvPr>
            <p:cNvSpPr/>
            <p:nvPr/>
          </p:nvSpPr>
          <p:spPr>
            <a:xfrm>
              <a:off x="2167878" y="1192333"/>
              <a:ext cx="1517514" cy="2269658"/>
            </a:xfrm>
            <a:custGeom>
              <a:avLst/>
              <a:gdLst/>
              <a:ahLst/>
              <a:cxnLst/>
              <a:rect l="0" t="0" r="0" b="0"/>
              <a:pathLst>
                <a:path w="1517514" h="2269658">
                  <a:moveTo>
                    <a:pt x="1517514" y="108393"/>
                  </a:moveTo>
                  <a:lnTo>
                    <a:pt x="0" y="108393"/>
                  </a:lnTo>
                  <a:cubicBezTo>
                    <a:pt x="0" y="48529"/>
                    <a:pt x="48529" y="0"/>
                    <a:pt x="108393" y="0"/>
                  </a:cubicBezTo>
                  <a:lnTo>
                    <a:pt x="1409120" y="0"/>
                  </a:lnTo>
                  <a:cubicBezTo>
                    <a:pt x="1468981" y="0"/>
                    <a:pt x="1517514" y="48529"/>
                    <a:pt x="1517514" y="108393"/>
                  </a:cubicBezTo>
                  <a:close/>
                  <a:moveTo>
                    <a:pt x="0" y="1842696"/>
                  </a:moveTo>
                  <a:lnTo>
                    <a:pt x="0" y="108394"/>
                  </a:lnTo>
                  <a:lnTo>
                    <a:pt x="1517514" y="108393"/>
                  </a:lnTo>
                  <a:lnTo>
                    <a:pt x="1517514" y="1842696"/>
                  </a:lnTo>
                  <a:close/>
                  <a:moveTo>
                    <a:pt x="0" y="1842696"/>
                  </a:moveTo>
                  <a:lnTo>
                    <a:pt x="1517514" y="1842696"/>
                  </a:lnTo>
                  <a:lnTo>
                    <a:pt x="1517514" y="1879616"/>
                  </a:lnTo>
                  <a:cubicBezTo>
                    <a:pt x="1517514" y="1922976"/>
                    <a:pt x="1491671" y="1962164"/>
                    <a:pt x="1451819" y="1979245"/>
                  </a:cubicBezTo>
                  <a:lnTo>
                    <a:pt x="801455" y="2257972"/>
                  </a:lnTo>
                  <a:cubicBezTo>
                    <a:pt x="774190" y="2269658"/>
                    <a:pt x="743325" y="2269658"/>
                    <a:pt x="716059" y="2257972"/>
                  </a:cubicBezTo>
                  <a:lnTo>
                    <a:pt x="65695" y="1979245"/>
                  </a:lnTo>
                  <a:cubicBezTo>
                    <a:pt x="25841" y="1962164"/>
                    <a:pt x="0" y="1922976"/>
                    <a:pt x="0" y="1879616"/>
                  </a:cubicBezTo>
                  <a:close/>
                </a:path>
              </a:pathLst>
            </a:custGeom>
            <a:grp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57" name="Rounded Rectangle 5">
              <a:extLst>
                <a:ext uri="{FF2B5EF4-FFF2-40B4-BE49-F238E27FC236}">
                  <a16:creationId xmlns:a16="http://schemas.microsoft.com/office/drawing/2014/main" id="{C919F718-275B-97D5-CB73-462F70D311FD}"/>
                </a:ext>
              </a:extLst>
            </p:cNvPr>
            <p:cNvSpPr/>
            <p:nvPr/>
          </p:nvSpPr>
          <p:spPr>
            <a:xfrm>
              <a:off x="2167878" y="1192333"/>
              <a:ext cx="1517514" cy="2269658"/>
            </a:xfrm>
            <a:custGeom>
              <a:avLst/>
              <a:gdLst/>
              <a:ahLst/>
              <a:cxnLst/>
              <a:rect l="0" t="0" r="0" b="0"/>
              <a:pathLst>
                <a:path w="1517514" h="2269658">
                  <a:moveTo>
                    <a:pt x="0" y="108393"/>
                  </a:moveTo>
                  <a:cubicBezTo>
                    <a:pt x="0" y="48529"/>
                    <a:pt x="48529" y="0"/>
                    <a:pt x="108393" y="0"/>
                  </a:cubicBezTo>
                  <a:lnTo>
                    <a:pt x="1409120" y="0"/>
                  </a:lnTo>
                  <a:cubicBezTo>
                    <a:pt x="1468985" y="0"/>
                    <a:pt x="1517514" y="48529"/>
                    <a:pt x="1517514" y="108393"/>
                  </a:cubicBezTo>
                  <a:moveTo>
                    <a:pt x="1517514" y="1842693"/>
                  </a:moveTo>
                  <a:lnTo>
                    <a:pt x="1517514" y="108393"/>
                  </a:lnTo>
                  <a:moveTo>
                    <a:pt x="0" y="1842693"/>
                  </a:moveTo>
                  <a:lnTo>
                    <a:pt x="0" y="108393"/>
                  </a:lnTo>
                  <a:moveTo>
                    <a:pt x="1517514" y="1842696"/>
                  </a:moveTo>
                  <a:lnTo>
                    <a:pt x="1517514" y="1879615"/>
                  </a:lnTo>
                  <a:cubicBezTo>
                    <a:pt x="1517514" y="1922976"/>
                    <a:pt x="1491673" y="1962164"/>
                    <a:pt x="1451819" y="1979245"/>
                  </a:cubicBezTo>
                  <a:lnTo>
                    <a:pt x="801455" y="2257972"/>
                  </a:lnTo>
                  <a:cubicBezTo>
                    <a:pt x="774190" y="2269658"/>
                    <a:pt x="743325" y="2269658"/>
                    <a:pt x="716059" y="2257972"/>
                  </a:cubicBezTo>
                  <a:lnTo>
                    <a:pt x="65695" y="1979245"/>
                  </a:lnTo>
                  <a:cubicBezTo>
                    <a:pt x="25841" y="1962164"/>
                    <a:pt x="0" y="1922976"/>
                    <a:pt x="0" y="1879615"/>
                  </a:cubicBezTo>
                  <a:lnTo>
                    <a:pt x="0" y="1842696"/>
                  </a:lnTo>
                </a:path>
              </a:pathLst>
            </a:custGeom>
            <a:grpFill/>
            <a:ln w="6774">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grpSp>
        <p:nvGrpSpPr>
          <p:cNvPr id="22" name="Group 21">
            <a:extLst>
              <a:ext uri="{FF2B5EF4-FFF2-40B4-BE49-F238E27FC236}">
                <a16:creationId xmlns:a16="http://schemas.microsoft.com/office/drawing/2014/main" id="{71BC6C11-25C9-31C4-9C9D-D389C4DE7C22}"/>
              </a:ext>
            </a:extLst>
          </p:cNvPr>
          <p:cNvGrpSpPr/>
          <p:nvPr/>
        </p:nvGrpSpPr>
        <p:grpSpPr>
          <a:xfrm flipV="1">
            <a:off x="5827326" y="1220389"/>
            <a:ext cx="1220538" cy="1914921"/>
            <a:chOff x="1300727" y="3330191"/>
            <a:chExt cx="1517514" cy="2270160"/>
          </a:xfrm>
          <a:solidFill>
            <a:srgbClr val="7F7F7F"/>
          </a:solidFill>
        </p:grpSpPr>
        <p:sp>
          <p:nvSpPr>
            <p:cNvPr id="50" name="Rounded Rectangle 13">
              <a:extLst>
                <a:ext uri="{FF2B5EF4-FFF2-40B4-BE49-F238E27FC236}">
                  <a16:creationId xmlns:a16="http://schemas.microsoft.com/office/drawing/2014/main" id="{46730C31-5336-8E66-BBE7-AB053353951E}"/>
                </a:ext>
              </a:extLst>
            </p:cNvPr>
            <p:cNvSpPr/>
            <p:nvPr/>
          </p:nvSpPr>
          <p:spPr>
            <a:xfrm>
              <a:off x="1300727" y="3330191"/>
              <a:ext cx="1517514" cy="2270160"/>
            </a:xfrm>
            <a:custGeom>
              <a:avLst/>
              <a:gdLst/>
              <a:ahLst/>
              <a:cxnLst/>
              <a:rect l="0" t="0" r="0" b="0"/>
              <a:pathLst>
                <a:path w="1517514" h="2270160">
                  <a:moveTo>
                    <a:pt x="0" y="2161766"/>
                  </a:moveTo>
                  <a:lnTo>
                    <a:pt x="1517514" y="2161766"/>
                  </a:lnTo>
                  <a:cubicBezTo>
                    <a:pt x="1517514" y="2221631"/>
                    <a:pt x="1468981" y="2270160"/>
                    <a:pt x="1409120" y="2270160"/>
                  </a:cubicBezTo>
                  <a:lnTo>
                    <a:pt x="108393" y="2270160"/>
                  </a:lnTo>
                  <a:cubicBezTo>
                    <a:pt x="48529" y="2270160"/>
                    <a:pt x="0" y="2221630"/>
                    <a:pt x="0" y="2161766"/>
                  </a:cubicBezTo>
                  <a:close/>
                  <a:moveTo>
                    <a:pt x="0" y="2161766"/>
                  </a:moveTo>
                  <a:lnTo>
                    <a:pt x="0" y="427464"/>
                  </a:lnTo>
                  <a:lnTo>
                    <a:pt x="1517514" y="427464"/>
                  </a:lnTo>
                  <a:lnTo>
                    <a:pt x="1517514" y="2161766"/>
                  </a:lnTo>
                  <a:close/>
                  <a:moveTo>
                    <a:pt x="1517514" y="426961"/>
                  </a:moveTo>
                  <a:lnTo>
                    <a:pt x="0" y="426961"/>
                  </a:lnTo>
                  <a:lnTo>
                    <a:pt x="0" y="390041"/>
                  </a:lnTo>
                  <a:cubicBezTo>
                    <a:pt x="0" y="346681"/>
                    <a:pt x="25841" y="307492"/>
                    <a:pt x="65695" y="290412"/>
                  </a:cubicBezTo>
                  <a:lnTo>
                    <a:pt x="716059" y="11685"/>
                  </a:lnTo>
                  <a:cubicBezTo>
                    <a:pt x="743324" y="0"/>
                    <a:pt x="774190" y="0"/>
                    <a:pt x="801455" y="11685"/>
                  </a:cubicBezTo>
                  <a:lnTo>
                    <a:pt x="1451819" y="290412"/>
                  </a:lnTo>
                  <a:cubicBezTo>
                    <a:pt x="1491671" y="307492"/>
                    <a:pt x="1517514" y="346681"/>
                    <a:pt x="1517514" y="390041"/>
                  </a:cubicBezTo>
                  <a:close/>
                </a:path>
              </a:pathLst>
            </a:custGeom>
            <a:grp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51" name="Rounded Rectangle 14">
              <a:extLst>
                <a:ext uri="{FF2B5EF4-FFF2-40B4-BE49-F238E27FC236}">
                  <a16:creationId xmlns:a16="http://schemas.microsoft.com/office/drawing/2014/main" id="{601EEF4C-6F6B-3E78-768C-32E7B7FF8919}"/>
                </a:ext>
              </a:extLst>
            </p:cNvPr>
            <p:cNvSpPr/>
            <p:nvPr/>
          </p:nvSpPr>
          <p:spPr>
            <a:xfrm>
              <a:off x="1300727" y="3330191"/>
              <a:ext cx="1517514" cy="2270160"/>
            </a:xfrm>
            <a:custGeom>
              <a:avLst/>
              <a:gdLst/>
              <a:ahLst/>
              <a:cxnLst/>
              <a:rect l="0" t="0" r="0" b="0"/>
              <a:pathLst>
                <a:path w="1517514" h="2270160">
                  <a:moveTo>
                    <a:pt x="1517514" y="2161766"/>
                  </a:moveTo>
                  <a:cubicBezTo>
                    <a:pt x="1517514" y="2221630"/>
                    <a:pt x="1468985" y="2270160"/>
                    <a:pt x="1409120" y="2270160"/>
                  </a:cubicBezTo>
                  <a:lnTo>
                    <a:pt x="108393" y="2270160"/>
                  </a:lnTo>
                  <a:cubicBezTo>
                    <a:pt x="48529" y="2270160"/>
                    <a:pt x="0" y="2221630"/>
                    <a:pt x="0" y="2161766"/>
                  </a:cubicBezTo>
                  <a:moveTo>
                    <a:pt x="1517514" y="2161763"/>
                  </a:moveTo>
                  <a:lnTo>
                    <a:pt x="1517514" y="427464"/>
                  </a:lnTo>
                  <a:moveTo>
                    <a:pt x="0" y="2161763"/>
                  </a:moveTo>
                  <a:lnTo>
                    <a:pt x="0" y="427464"/>
                  </a:lnTo>
                  <a:moveTo>
                    <a:pt x="0" y="426961"/>
                  </a:moveTo>
                  <a:lnTo>
                    <a:pt x="0" y="390041"/>
                  </a:lnTo>
                  <a:cubicBezTo>
                    <a:pt x="0" y="346681"/>
                    <a:pt x="25841" y="307492"/>
                    <a:pt x="65695" y="290412"/>
                  </a:cubicBezTo>
                  <a:lnTo>
                    <a:pt x="716059" y="11685"/>
                  </a:lnTo>
                  <a:cubicBezTo>
                    <a:pt x="743324" y="0"/>
                    <a:pt x="774190" y="0"/>
                    <a:pt x="801455" y="11685"/>
                  </a:cubicBezTo>
                  <a:lnTo>
                    <a:pt x="1451819" y="290412"/>
                  </a:lnTo>
                  <a:cubicBezTo>
                    <a:pt x="1491673" y="307492"/>
                    <a:pt x="1517514" y="346681"/>
                    <a:pt x="1517514" y="390041"/>
                  </a:cubicBezTo>
                  <a:lnTo>
                    <a:pt x="1517514" y="426961"/>
                  </a:lnTo>
                </a:path>
              </a:pathLst>
            </a:custGeom>
            <a:grpFill/>
            <a:ln w="6774">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sp>
        <p:nvSpPr>
          <p:cNvPr id="25" name="TextBox 22">
            <a:extLst>
              <a:ext uri="{FF2B5EF4-FFF2-40B4-BE49-F238E27FC236}">
                <a16:creationId xmlns:a16="http://schemas.microsoft.com/office/drawing/2014/main" id="{17DDE111-A293-16DA-8CE5-FC06060C0747}"/>
              </a:ext>
            </a:extLst>
          </p:cNvPr>
          <p:cNvSpPr txBox="1"/>
          <p:nvPr/>
        </p:nvSpPr>
        <p:spPr>
          <a:xfrm>
            <a:off x="8446152" y="1341892"/>
            <a:ext cx="820738" cy="33855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100" b="1" noProof="0">
                <a:solidFill>
                  <a:srgbClr val="EBEBEB"/>
                </a:solidFill>
                <a:latin typeface="Avenir LT Pro 45Book"/>
              </a:rPr>
              <a:t>Differences vs</a:t>
            </a:r>
          </a:p>
          <a:p>
            <a:pPr algn="ctr"/>
            <a:r>
              <a:rPr lang="en-GB" sz="1100" b="1" noProof="0">
                <a:solidFill>
                  <a:srgbClr val="EBEBEB"/>
                </a:solidFill>
                <a:latin typeface="Avenir LT Pro 45Book"/>
              </a:rPr>
              <a:t>Competitors</a:t>
            </a:r>
          </a:p>
        </p:txBody>
      </p:sp>
      <p:sp>
        <p:nvSpPr>
          <p:cNvPr id="27" name="TextBox 24">
            <a:extLst>
              <a:ext uri="{FF2B5EF4-FFF2-40B4-BE49-F238E27FC236}">
                <a16:creationId xmlns:a16="http://schemas.microsoft.com/office/drawing/2014/main" id="{9B5187C6-3203-213C-1758-6C5CB3D20A5E}"/>
              </a:ext>
            </a:extLst>
          </p:cNvPr>
          <p:cNvSpPr txBox="1"/>
          <p:nvPr/>
        </p:nvSpPr>
        <p:spPr>
          <a:xfrm>
            <a:off x="3473658" y="2004362"/>
            <a:ext cx="1090043" cy="36933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800" b="0" noProof="0">
                <a:solidFill>
                  <a:srgbClr val="EBEBEB"/>
                </a:solidFill>
                <a:latin typeface="Avenir LT Pro 45Book"/>
              </a:rPr>
              <a:t>Understand how</a:t>
            </a:r>
          </a:p>
          <a:p>
            <a:pPr algn="ctr"/>
            <a:r>
              <a:rPr lang="en-GB" sz="800" noProof="0">
                <a:solidFill>
                  <a:srgbClr val="EBEBEB"/>
                </a:solidFill>
                <a:latin typeface="Avenir LT Pro 45Book"/>
              </a:rPr>
              <a:t>customers and</a:t>
            </a:r>
          </a:p>
          <a:p>
            <a:pPr algn="ctr"/>
            <a:r>
              <a:rPr lang="en-GB" sz="800" noProof="0">
                <a:solidFill>
                  <a:srgbClr val="EBEBEB"/>
                </a:solidFill>
                <a:latin typeface="Avenir LT Pro 45Book"/>
              </a:rPr>
              <a:t>competitors perceive you.</a:t>
            </a:r>
            <a:endParaRPr lang="en-GB" sz="800" b="0" noProof="0">
              <a:solidFill>
                <a:srgbClr val="EBEBEB"/>
              </a:solidFill>
              <a:latin typeface="Avenir LT Pro 45Book"/>
            </a:endParaRPr>
          </a:p>
        </p:txBody>
      </p:sp>
      <p:sp>
        <p:nvSpPr>
          <p:cNvPr id="28" name="TextBox 25">
            <a:extLst>
              <a:ext uri="{FF2B5EF4-FFF2-40B4-BE49-F238E27FC236}">
                <a16:creationId xmlns:a16="http://schemas.microsoft.com/office/drawing/2014/main" id="{D0B6E0EF-5480-14F7-3BBF-3AE0C3F97806}"/>
              </a:ext>
            </a:extLst>
          </p:cNvPr>
          <p:cNvSpPr txBox="1"/>
          <p:nvPr/>
        </p:nvSpPr>
        <p:spPr>
          <a:xfrm>
            <a:off x="8341961" y="1979014"/>
            <a:ext cx="1029128" cy="36933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800" b="0" noProof="0">
                <a:solidFill>
                  <a:srgbClr val="EBEBEB"/>
                </a:solidFill>
                <a:latin typeface="Avenir LT Pro 45Book"/>
              </a:rPr>
              <a:t>Identify your </a:t>
            </a:r>
            <a:r>
              <a:rPr lang="en-GB" sz="800" noProof="0">
                <a:solidFill>
                  <a:srgbClr val="EBEBEB"/>
                </a:solidFill>
                <a:latin typeface="Avenir LT Pro 45Book"/>
              </a:rPr>
              <a:t>position in</a:t>
            </a:r>
          </a:p>
          <a:p>
            <a:pPr algn="ctr"/>
            <a:r>
              <a:rPr lang="en-GB" sz="800" noProof="0">
                <a:solidFill>
                  <a:srgbClr val="EBEBEB"/>
                </a:solidFill>
                <a:latin typeface="Avenir LT Pro 45Book"/>
              </a:rPr>
              <a:t>relation to competitors</a:t>
            </a:r>
          </a:p>
          <a:p>
            <a:pPr algn="ctr"/>
            <a:r>
              <a:rPr lang="en-GB" sz="800" b="0" noProof="0">
                <a:solidFill>
                  <a:srgbClr val="EBEBEB"/>
                </a:solidFill>
                <a:latin typeface="Avenir LT Pro 45Book"/>
              </a:rPr>
              <a:t>and what sets you apart.</a:t>
            </a:r>
          </a:p>
        </p:txBody>
      </p:sp>
      <p:sp>
        <p:nvSpPr>
          <p:cNvPr id="32" name="TextBox 29">
            <a:extLst>
              <a:ext uri="{FF2B5EF4-FFF2-40B4-BE49-F238E27FC236}">
                <a16:creationId xmlns:a16="http://schemas.microsoft.com/office/drawing/2014/main" id="{CDB3CA1F-50C6-77EE-AF4D-1E6981B1E041}"/>
              </a:ext>
            </a:extLst>
          </p:cNvPr>
          <p:cNvSpPr txBox="1"/>
          <p:nvPr/>
        </p:nvSpPr>
        <p:spPr>
          <a:xfrm>
            <a:off x="3690867" y="1341892"/>
            <a:ext cx="655628" cy="50783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100" b="1" noProof="0">
                <a:solidFill>
                  <a:srgbClr val="EBEBEB"/>
                </a:solidFill>
                <a:latin typeface="Avenir LT Pro 45Book"/>
              </a:rPr>
              <a:t>Current</a:t>
            </a:r>
          </a:p>
          <a:p>
            <a:pPr algn="ctr"/>
            <a:r>
              <a:rPr lang="en-GB" sz="1100" b="1" noProof="0">
                <a:solidFill>
                  <a:srgbClr val="EBEBEB"/>
                </a:solidFill>
                <a:latin typeface="Avenir LT Pro 45Book"/>
              </a:rPr>
              <a:t>Strategic</a:t>
            </a:r>
          </a:p>
          <a:p>
            <a:pPr algn="ctr"/>
            <a:r>
              <a:rPr lang="en-GB" sz="1100" b="1" noProof="0">
                <a:solidFill>
                  <a:srgbClr val="EBEBEB"/>
                </a:solidFill>
                <a:latin typeface="Avenir LT Pro 45Book"/>
              </a:rPr>
              <a:t>Positioning</a:t>
            </a:r>
          </a:p>
        </p:txBody>
      </p:sp>
      <p:sp>
        <p:nvSpPr>
          <p:cNvPr id="33" name="TextBox 31">
            <a:extLst>
              <a:ext uri="{FF2B5EF4-FFF2-40B4-BE49-F238E27FC236}">
                <a16:creationId xmlns:a16="http://schemas.microsoft.com/office/drawing/2014/main" id="{B0C3A501-D16A-5B84-D300-70CF1CCD7EA4}"/>
              </a:ext>
            </a:extLst>
          </p:cNvPr>
          <p:cNvSpPr txBox="1"/>
          <p:nvPr/>
        </p:nvSpPr>
        <p:spPr>
          <a:xfrm>
            <a:off x="6058700" y="1341892"/>
            <a:ext cx="820739" cy="50783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100" b="1" noProof="0">
                <a:solidFill>
                  <a:srgbClr val="EBEBEB"/>
                </a:solidFill>
                <a:latin typeface="Avenir LT Pro 45Book"/>
              </a:rPr>
              <a:t>Value</a:t>
            </a:r>
          </a:p>
          <a:p>
            <a:pPr algn="ctr"/>
            <a:r>
              <a:rPr lang="en-GB" sz="1100" b="1" noProof="0">
                <a:solidFill>
                  <a:srgbClr val="EBEBEB"/>
                </a:solidFill>
                <a:latin typeface="Avenir LT Pro 45Book"/>
              </a:rPr>
              <a:t>Propositions</a:t>
            </a:r>
          </a:p>
          <a:p>
            <a:pPr algn="ctr"/>
            <a:r>
              <a:rPr lang="en-GB" sz="1100" b="1" noProof="0">
                <a:solidFill>
                  <a:srgbClr val="EBEBEB"/>
                </a:solidFill>
                <a:latin typeface="Avenir LT Pro 45Book"/>
              </a:rPr>
              <a:t>Segmentation</a:t>
            </a:r>
          </a:p>
        </p:txBody>
      </p:sp>
      <p:sp>
        <p:nvSpPr>
          <p:cNvPr id="36" name="TextBox 34">
            <a:extLst>
              <a:ext uri="{FF2B5EF4-FFF2-40B4-BE49-F238E27FC236}">
                <a16:creationId xmlns:a16="http://schemas.microsoft.com/office/drawing/2014/main" id="{061DCC9F-8C38-5B24-DB64-DF1EF19E3C37}"/>
              </a:ext>
            </a:extLst>
          </p:cNvPr>
          <p:cNvSpPr txBox="1"/>
          <p:nvPr/>
        </p:nvSpPr>
        <p:spPr>
          <a:xfrm>
            <a:off x="5929211" y="1931627"/>
            <a:ext cx="1030730" cy="36933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800" b="0" noProof="0">
                <a:solidFill>
                  <a:srgbClr val="EBEBEB"/>
                </a:solidFill>
                <a:latin typeface="Avenir LT Pro 45Book"/>
              </a:rPr>
              <a:t>How many you have</a:t>
            </a:r>
          </a:p>
          <a:p>
            <a:pPr algn="ctr"/>
            <a:r>
              <a:rPr lang="en-GB" sz="800" noProof="0">
                <a:solidFill>
                  <a:srgbClr val="EBEBEB"/>
                </a:solidFill>
                <a:latin typeface="Avenir LT Pro 45Book"/>
              </a:rPr>
              <a:t>and how effectively they</a:t>
            </a:r>
          </a:p>
          <a:p>
            <a:pPr algn="ctr"/>
            <a:r>
              <a:rPr lang="en-GB" sz="800" noProof="0">
                <a:solidFill>
                  <a:srgbClr val="EBEBEB"/>
                </a:solidFill>
                <a:latin typeface="Avenir LT Pro 45Book"/>
              </a:rPr>
              <a:t>d</a:t>
            </a:r>
            <a:r>
              <a:rPr lang="en-GB" sz="800" b="0" noProof="0">
                <a:solidFill>
                  <a:srgbClr val="EBEBEB"/>
                </a:solidFill>
                <a:latin typeface="Avenir LT Pro 45Book"/>
              </a:rPr>
              <a:t>eliver value</a:t>
            </a:r>
            <a:r>
              <a:rPr lang="en-GB" sz="800" noProof="0">
                <a:solidFill>
                  <a:srgbClr val="EBEBEB"/>
                </a:solidFill>
                <a:latin typeface="Avenir LT Pro 45Book"/>
              </a:rPr>
              <a:t>.</a:t>
            </a:r>
            <a:endParaRPr lang="en-GB" sz="800" b="0" noProof="0">
              <a:solidFill>
                <a:srgbClr val="EBEBEB"/>
              </a:solidFill>
              <a:latin typeface="Avenir LT Pro 45Book"/>
            </a:endParaRPr>
          </a:p>
        </p:txBody>
      </p:sp>
      <p:pic>
        <p:nvPicPr>
          <p:cNvPr id="80" name="Graphic 79">
            <a:extLst>
              <a:ext uri="{FF2B5EF4-FFF2-40B4-BE49-F238E27FC236}">
                <a16:creationId xmlns:a16="http://schemas.microsoft.com/office/drawing/2014/main" id="{DEEF7F4D-EFBC-E449-10FF-F816AE74B4C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715456" y="2548382"/>
            <a:ext cx="288000" cy="288000"/>
          </a:xfrm>
          <a:prstGeom prst="rect">
            <a:avLst/>
          </a:prstGeom>
        </p:spPr>
      </p:pic>
      <p:pic>
        <p:nvPicPr>
          <p:cNvPr id="82" name="Graphic 81" descr="Table with solid fill">
            <a:extLst>
              <a:ext uri="{FF2B5EF4-FFF2-40B4-BE49-F238E27FC236}">
                <a16:creationId xmlns:a16="http://schemas.microsoft.com/office/drawing/2014/main" id="{DF7E3F9C-CCE9-6AFA-21FB-1384ECF330D5}"/>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276001" y="2513195"/>
            <a:ext cx="323187" cy="323187"/>
          </a:xfrm>
          <a:prstGeom prst="rect">
            <a:avLst/>
          </a:prstGeom>
        </p:spPr>
      </p:pic>
      <p:pic>
        <p:nvPicPr>
          <p:cNvPr id="84" name="Graphic 83" descr="Compass with solid fill">
            <a:extLst>
              <a:ext uri="{FF2B5EF4-FFF2-40B4-BE49-F238E27FC236}">
                <a16:creationId xmlns:a16="http://schemas.microsoft.com/office/drawing/2014/main" id="{0A27D45F-ADD1-C0F0-7CEB-15AF5445A054}"/>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3846219" y="2504774"/>
            <a:ext cx="344908" cy="344908"/>
          </a:xfrm>
          <a:prstGeom prst="rect">
            <a:avLst/>
          </a:prstGeom>
        </p:spPr>
      </p:pic>
      <p:sp>
        <p:nvSpPr>
          <p:cNvPr id="3" name="Arrow: Chevron 2">
            <a:extLst>
              <a:ext uri="{FF2B5EF4-FFF2-40B4-BE49-F238E27FC236}">
                <a16:creationId xmlns:a16="http://schemas.microsoft.com/office/drawing/2014/main" id="{96E0C039-7393-1B73-CF69-AC836180DAC2}"/>
              </a:ext>
            </a:extLst>
          </p:cNvPr>
          <p:cNvSpPr/>
          <p:nvPr/>
        </p:nvSpPr>
        <p:spPr>
          <a:xfrm>
            <a:off x="8113996"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10" name="Arrow: Chevron 9">
            <a:extLst>
              <a:ext uri="{FF2B5EF4-FFF2-40B4-BE49-F238E27FC236}">
                <a16:creationId xmlns:a16="http://schemas.microsoft.com/office/drawing/2014/main" id="{38D57F46-0864-C85E-30FD-8106ACDE1EC5}"/>
              </a:ext>
            </a:extLst>
          </p:cNvPr>
          <p:cNvSpPr/>
          <p:nvPr/>
        </p:nvSpPr>
        <p:spPr>
          <a:xfrm>
            <a:off x="9076754"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11" name="Arrow: Chevron 10">
            <a:extLst>
              <a:ext uri="{FF2B5EF4-FFF2-40B4-BE49-F238E27FC236}">
                <a16:creationId xmlns:a16="http://schemas.microsoft.com/office/drawing/2014/main" id="{FC9E1353-B775-DEE7-9670-5EB14EE121D8}"/>
              </a:ext>
            </a:extLst>
          </p:cNvPr>
          <p:cNvSpPr/>
          <p:nvPr/>
        </p:nvSpPr>
        <p:spPr>
          <a:xfrm>
            <a:off x="10039512"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12" name="Arrow: Chevron 11">
            <a:extLst>
              <a:ext uri="{FF2B5EF4-FFF2-40B4-BE49-F238E27FC236}">
                <a16:creationId xmlns:a16="http://schemas.microsoft.com/office/drawing/2014/main" id="{C9992725-8957-9487-F614-3CE6DC8A4DBD}"/>
              </a:ext>
            </a:extLst>
          </p:cNvPr>
          <p:cNvSpPr/>
          <p:nvPr/>
        </p:nvSpPr>
        <p:spPr>
          <a:xfrm>
            <a:off x="1099963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35860713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59D967-33C2-C83A-53C3-4C679EAE3EF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51D1A0C-292C-F53F-2F4D-D0DCD22C226C}"/>
              </a:ext>
            </a:extLst>
          </p:cNvPr>
          <p:cNvGraphicFramePr>
            <a:graphicFrameLocks noChangeAspect="1"/>
          </p:cNvGraphicFramePr>
          <p:nvPr>
            <p:custDataLst>
              <p:tags r:id="rId1"/>
            </p:custDataLst>
            <p:extLst>
              <p:ext uri="{D42A27DB-BD31-4B8C-83A1-F6EECF244321}">
                <p14:modId xmlns:p14="http://schemas.microsoft.com/office/powerpoint/2010/main" val="312837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451D1A0C-292C-F53F-2F4D-D0DCD22C22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7" name="Rounded Rectangle 1">
            <a:extLst>
              <a:ext uri="{FF2B5EF4-FFF2-40B4-BE49-F238E27FC236}">
                <a16:creationId xmlns:a16="http://schemas.microsoft.com/office/drawing/2014/main" id="{1DD36243-F599-0539-34C0-5A9085D354D3}"/>
              </a:ext>
            </a:extLst>
          </p:cNvPr>
          <p:cNvSpPr/>
          <p:nvPr/>
        </p:nvSpPr>
        <p:spPr>
          <a:xfrm>
            <a:off x="1358984" y="3329081"/>
            <a:ext cx="1142195" cy="1142196"/>
          </a:xfrm>
          <a:custGeom>
            <a:avLst/>
            <a:gdLst/>
            <a:ahLst/>
            <a:cxnLst/>
            <a:rect l="0" t="0" r="0" b="0"/>
            <a:pathLst>
              <a:path w="2124769" h="2124769">
                <a:moveTo>
                  <a:pt x="2124769" y="1062385"/>
                </a:moveTo>
                <a:cubicBezTo>
                  <a:pt x="2124769" y="1649123"/>
                  <a:pt x="1649123" y="2124769"/>
                  <a:pt x="1062385" y="2124769"/>
                </a:cubicBezTo>
                <a:cubicBezTo>
                  <a:pt x="475645" y="2124769"/>
                  <a:pt x="0" y="1649123"/>
                  <a:pt x="0" y="1062385"/>
                </a:cubicBezTo>
                <a:cubicBezTo>
                  <a:pt x="0" y="475645"/>
                  <a:pt x="475645" y="0"/>
                  <a:pt x="1062385" y="0"/>
                </a:cubicBezTo>
                <a:cubicBezTo>
                  <a:pt x="1649123" y="0"/>
                  <a:pt x="2124769" y="475645"/>
                  <a:pt x="2124769" y="1062385"/>
                </a:cubicBezTo>
                <a:close/>
              </a:path>
            </a:pathLst>
          </a:custGeom>
          <a:noFill/>
          <a:ln w="4037">
            <a:solidFill>
              <a:srgbClr val="464646"/>
            </a:solidFill>
          </a:ln>
        </p:spPr>
        <p:txBody>
          <a:bodyPr rtlCol="0" anchor="ctr"/>
          <a:lstStyle/>
          <a:p>
            <a:pPr algn="ctr"/>
            <a:endParaRPr lang="en-GB" sz="4000" noProof="0"/>
          </a:p>
        </p:txBody>
      </p:sp>
      <p:sp>
        <p:nvSpPr>
          <p:cNvPr id="62" name="Rectangle 61">
            <a:extLst>
              <a:ext uri="{FF2B5EF4-FFF2-40B4-BE49-F238E27FC236}">
                <a16:creationId xmlns:a16="http://schemas.microsoft.com/office/drawing/2014/main" id="{BF57F8C4-3B58-FE09-F023-8D0C0FCE7449}"/>
              </a:ext>
            </a:extLst>
          </p:cNvPr>
          <p:cNvSpPr/>
          <p:nvPr/>
        </p:nvSpPr>
        <p:spPr>
          <a:xfrm>
            <a:off x="5472748" y="6615977"/>
            <a:ext cx="1251929" cy="242023"/>
          </a:xfrm>
          <a:prstGeom prst="rect">
            <a:avLst/>
          </a:prstGeom>
          <a:solidFill>
            <a:srgbClr val="F1F1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 name="Title 1">
            <a:extLst>
              <a:ext uri="{FF2B5EF4-FFF2-40B4-BE49-F238E27FC236}">
                <a16:creationId xmlns:a16="http://schemas.microsoft.com/office/drawing/2014/main" id="{2028ADD9-8B65-9C83-46DF-A7AC27CE986D}"/>
              </a:ext>
            </a:extLst>
          </p:cNvPr>
          <p:cNvSpPr>
            <a:spLocks noGrp="1"/>
          </p:cNvSpPr>
          <p:nvPr>
            <p:ph type="title"/>
          </p:nvPr>
        </p:nvSpPr>
        <p:spPr>
          <a:xfrm>
            <a:off x="137786" y="125260"/>
            <a:ext cx="7888614" cy="806754"/>
          </a:xfrm>
        </p:spPr>
        <p:txBody>
          <a:bodyPr vert="horz"/>
          <a:lstStyle/>
          <a:p>
            <a:r>
              <a:rPr lang="en-GB" b="1" noProof="0"/>
              <a:t>Five Value Proposition Frameworks</a:t>
            </a:r>
          </a:p>
        </p:txBody>
      </p:sp>
      <p:sp>
        <p:nvSpPr>
          <p:cNvPr id="4" name="Arrow: Chevron 3">
            <a:extLst>
              <a:ext uri="{FF2B5EF4-FFF2-40B4-BE49-F238E27FC236}">
                <a16:creationId xmlns:a16="http://schemas.microsoft.com/office/drawing/2014/main" id="{EFC311B5-B6D4-9F21-8CB9-01834E2CCC5F}"/>
              </a:ext>
            </a:extLst>
          </p:cNvPr>
          <p:cNvSpPr/>
          <p:nvPr/>
        </p:nvSpPr>
        <p:spPr>
          <a:xfrm>
            <a:off x="8113996"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5" name="Arrow: Chevron 4">
            <a:extLst>
              <a:ext uri="{FF2B5EF4-FFF2-40B4-BE49-F238E27FC236}">
                <a16:creationId xmlns:a16="http://schemas.microsoft.com/office/drawing/2014/main" id="{35D1541A-9D29-2F01-9CC0-C69610B4B0CA}"/>
              </a:ext>
            </a:extLst>
          </p:cNvPr>
          <p:cNvSpPr/>
          <p:nvPr/>
        </p:nvSpPr>
        <p:spPr>
          <a:xfrm>
            <a:off x="9076754"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6" name="Arrow: Chevron 5">
            <a:extLst>
              <a:ext uri="{FF2B5EF4-FFF2-40B4-BE49-F238E27FC236}">
                <a16:creationId xmlns:a16="http://schemas.microsoft.com/office/drawing/2014/main" id="{D5C520BB-2A31-3A20-D1E5-1EB2FFFD582E}"/>
              </a:ext>
            </a:extLst>
          </p:cNvPr>
          <p:cNvSpPr/>
          <p:nvPr/>
        </p:nvSpPr>
        <p:spPr>
          <a:xfrm>
            <a:off x="1003951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9" name="Arrow: Chevron 8">
            <a:extLst>
              <a:ext uri="{FF2B5EF4-FFF2-40B4-BE49-F238E27FC236}">
                <a16:creationId xmlns:a16="http://schemas.microsoft.com/office/drawing/2014/main" id="{79910AFD-2C3D-4AE1-DB4F-D90732491AC6}"/>
              </a:ext>
            </a:extLst>
          </p:cNvPr>
          <p:cNvSpPr/>
          <p:nvPr/>
        </p:nvSpPr>
        <p:spPr>
          <a:xfrm>
            <a:off x="10999632"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
        <p:nvSpPr>
          <p:cNvPr id="10" name="Rectangle 9">
            <a:extLst>
              <a:ext uri="{FF2B5EF4-FFF2-40B4-BE49-F238E27FC236}">
                <a16:creationId xmlns:a16="http://schemas.microsoft.com/office/drawing/2014/main" id="{45410E3D-AACA-664B-D441-B779845FF821}"/>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400" noProof="0">
                <a:solidFill>
                  <a:schemeClr val="tx1"/>
                </a:solidFill>
                <a:latin typeface="Avenir Next LT Pro" panose="020B0504020202020204" pitchFamily="34" charset="0"/>
              </a:rPr>
              <a:t>These concepts help you understand the mechanics of value creation and guide your strategic choices about how to win in your chosen markets.</a:t>
            </a:r>
          </a:p>
          <a:p>
            <a:pPr marL="285750" indent="-285750">
              <a:spcAft>
                <a:spcPts val="600"/>
              </a:spcAft>
              <a:buFont typeface="Arial" panose="020B0604020202020204" pitchFamily="34" charset="0"/>
              <a:buChar char="•"/>
            </a:pPr>
            <a:r>
              <a:rPr lang="en-GB" sz="1400" noProof="0">
                <a:solidFill>
                  <a:schemeClr val="tx1"/>
                </a:solidFill>
                <a:latin typeface="Avenir Next LT Pro" panose="020B0504020202020204" pitchFamily="34" charset="0"/>
              </a:rPr>
              <a:t>Together, they form a comprehensive foundation for creating winning value propositions that customers find compelling and competitors find difficult to imitate.</a:t>
            </a:r>
          </a:p>
        </p:txBody>
      </p:sp>
      <p:grpSp>
        <p:nvGrpSpPr>
          <p:cNvPr id="27" name="Group 26">
            <a:extLst>
              <a:ext uri="{FF2B5EF4-FFF2-40B4-BE49-F238E27FC236}">
                <a16:creationId xmlns:a16="http://schemas.microsoft.com/office/drawing/2014/main" id="{94B605C9-DE5F-4395-80B1-FC5562DE6DD1}"/>
              </a:ext>
            </a:extLst>
          </p:cNvPr>
          <p:cNvGrpSpPr/>
          <p:nvPr/>
        </p:nvGrpSpPr>
        <p:grpSpPr>
          <a:xfrm rot="5400000">
            <a:off x="1815525" y="4465464"/>
            <a:ext cx="1205191" cy="975274"/>
            <a:chOff x="4450551" y="3255224"/>
            <a:chExt cx="1205191" cy="975274"/>
          </a:xfrm>
        </p:grpSpPr>
        <p:sp>
          <p:nvSpPr>
            <p:cNvPr id="81" name="Rounded Rectangle 1">
              <a:extLst>
                <a:ext uri="{FF2B5EF4-FFF2-40B4-BE49-F238E27FC236}">
                  <a16:creationId xmlns:a16="http://schemas.microsoft.com/office/drawing/2014/main" id="{8A6B150A-7D80-015F-A4FB-7694251EB788}"/>
                </a:ext>
              </a:extLst>
            </p:cNvPr>
            <p:cNvSpPr/>
            <p:nvPr/>
          </p:nvSpPr>
          <p:spPr>
            <a:xfrm>
              <a:off x="4450551" y="3255224"/>
              <a:ext cx="1205188" cy="975274"/>
            </a:xfrm>
            <a:custGeom>
              <a:avLst/>
              <a:gdLst/>
              <a:ahLst/>
              <a:cxnLst/>
              <a:rect l="0" t="0" r="0" b="0"/>
              <a:pathLst>
                <a:path w="1205188" h="975274">
                  <a:moveTo>
                    <a:pt x="108247" y="974712"/>
                  </a:moveTo>
                  <a:cubicBezTo>
                    <a:pt x="98679" y="854457"/>
                    <a:pt x="60295" y="742324"/>
                    <a:pt x="0" y="645215"/>
                  </a:cubicBezTo>
                  <a:lnTo>
                    <a:pt x="889026" y="0"/>
                  </a:lnTo>
                  <a:cubicBezTo>
                    <a:pt x="1079563" y="279324"/>
                    <a:pt x="1194711" y="614176"/>
                    <a:pt x="1205188" y="975274"/>
                  </a:cubicBez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82" name="Rounded Rectangle 2">
              <a:extLst>
                <a:ext uri="{FF2B5EF4-FFF2-40B4-BE49-F238E27FC236}">
                  <a16:creationId xmlns:a16="http://schemas.microsoft.com/office/drawing/2014/main" id="{6D88245A-87B2-DF56-B1E6-4FB9C6F5D94A}"/>
                </a:ext>
              </a:extLst>
            </p:cNvPr>
            <p:cNvSpPr/>
            <p:nvPr/>
          </p:nvSpPr>
          <p:spPr>
            <a:xfrm>
              <a:off x="4450551" y="3255224"/>
              <a:ext cx="1205191" cy="975272"/>
            </a:xfrm>
            <a:custGeom>
              <a:avLst/>
              <a:gdLst/>
              <a:ahLst/>
              <a:cxnLst/>
              <a:rect l="0" t="0" r="0" b="0"/>
              <a:pathLst>
                <a:path w="1205191" h="975272">
                  <a:moveTo>
                    <a:pt x="108247" y="974708"/>
                  </a:moveTo>
                  <a:cubicBezTo>
                    <a:pt x="98679" y="854457"/>
                    <a:pt x="60295" y="742324"/>
                    <a:pt x="0" y="645215"/>
                  </a:cubicBezTo>
                  <a:lnTo>
                    <a:pt x="889026" y="0"/>
                  </a:lnTo>
                  <a:cubicBezTo>
                    <a:pt x="1079564" y="279324"/>
                    <a:pt x="1194715" y="614176"/>
                    <a:pt x="1205191" y="975272"/>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48" name="Group 47">
            <a:extLst>
              <a:ext uri="{FF2B5EF4-FFF2-40B4-BE49-F238E27FC236}">
                <a16:creationId xmlns:a16="http://schemas.microsoft.com/office/drawing/2014/main" id="{1A99F779-6615-025C-CDCB-A3610363BEA8}"/>
              </a:ext>
            </a:extLst>
          </p:cNvPr>
          <p:cNvGrpSpPr/>
          <p:nvPr/>
        </p:nvGrpSpPr>
        <p:grpSpPr>
          <a:xfrm rot="5400000">
            <a:off x="2291272" y="4030675"/>
            <a:ext cx="1169650" cy="1249384"/>
            <a:chOff x="4105275" y="2562225"/>
            <a:chExt cx="1169650" cy="1249384"/>
          </a:xfrm>
        </p:grpSpPr>
        <p:sp>
          <p:nvSpPr>
            <p:cNvPr id="79" name="Rounded Rectangle 4">
              <a:extLst>
                <a:ext uri="{FF2B5EF4-FFF2-40B4-BE49-F238E27FC236}">
                  <a16:creationId xmlns:a16="http://schemas.microsoft.com/office/drawing/2014/main" id="{9001C03B-A306-0779-BEA3-DED8DBABF163}"/>
                </a:ext>
              </a:extLst>
            </p:cNvPr>
            <p:cNvSpPr/>
            <p:nvPr/>
          </p:nvSpPr>
          <p:spPr>
            <a:xfrm>
              <a:off x="4105275" y="2562225"/>
              <a:ext cx="1169650" cy="1249384"/>
            </a:xfrm>
            <a:custGeom>
              <a:avLst/>
              <a:gdLst/>
              <a:ahLst/>
              <a:cxnLst/>
              <a:rect l="0" t="0" r="0" b="0"/>
              <a:pathLst>
                <a:path w="1169650" h="1249384">
                  <a:moveTo>
                    <a:pt x="280496" y="1249384"/>
                  </a:moveTo>
                  <a:cubicBezTo>
                    <a:pt x="205132" y="1160678"/>
                    <a:pt x="109168" y="1090012"/>
                    <a:pt x="0" y="1044787"/>
                  </a:cubicBezTo>
                  <a:lnTo>
                    <a:pt x="338879" y="0"/>
                  </a:lnTo>
                  <a:cubicBezTo>
                    <a:pt x="670603" y="118740"/>
                    <a:pt x="958024" y="330597"/>
                    <a:pt x="1169650" y="604075"/>
                  </a:cubicBezTo>
                  <a:close/>
                </a:path>
              </a:pathLst>
            </a:custGeom>
            <a:solidFill>
              <a:srgbClr val="FFA02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80" name="Rounded Rectangle 5">
              <a:extLst>
                <a:ext uri="{FF2B5EF4-FFF2-40B4-BE49-F238E27FC236}">
                  <a16:creationId xmlns:a16="http://schemas.microsoft.com/office/drawing/2014/main" id="{4DC9E869-E624-FAB0-DDE3-666172FA0507}"/>
                </a:ext>
              </a:extLst>
            </p:cNvPr>
            <p:cNvSpPr/>
            <p:nvPr/>
          </p:nvSpPr>
          <p:spPr>
            <a:xfrm>
              <a:off x="4105275" y="2562225"/>
              <a:ext cx="1169647" cy="1249381"/>
            </a:xfrm>
            <a:custGeom>
              <a:avLst/>
              <a:gdLst/>
              <a:ahLst/>
              <a:cxnLst/>
              <a:rect l="0" t="0" r="0" b="0"/>
              <a:pathLst>
                <a:path w="1169647" h="1249381">
                  <a:moveTo>
                    <a:pt x="280496" y="1249381"/>
                  </a:moveTo>
                  <a:cubicBezTo>
                    <a:pt x="205132" y="1160675"/>
                    <a:pt x="109168" y="1090014"/>
                    <a:pt x="0" y="1044791"/>
                  </a:cubicBezTo>
                  <a:lnTo>
                    <a:pt x="338879" y="0"/>
                  </a:lnTo>
                  <a:cubicBezTo>
                    <a:pt x="670603" y="118740"/>
                    <a:pt x="958024" y="330597"/>
                    <a:pt x="1169647" y="604075"/>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56" name="Group 55">
            <a:extLst>
              <a:ext uri="{FF2B5EF4-FFF2-40B4-BE49-F238E27FC236}">
                <a16:creationId xmlns:a16="http://schemas.microsoft.com/office/drawing/2014/main" id="{F30AAD47-8083-48E5-C8F4-8B9E8C4C4158}"/>
              </a:ext>
            </a:extLst>
          </p:cNvPr>
          <p:cNvGrpSpPr/>
          <p:nvPr/>
        </p:nvGrpSpPr>
        <p:grpSpPr>
          <a:xfrm rot="5400000">
            <a:off x="2501691" y="3348408"/>
            <a:ext cx="1025480" cy="1116949"/>
            <a:chOff x="3314579" y="2457450"/>
            <a:chExt cx="1025480" cy="1116949"/>
          </a:xfrm>
        </p:grpSpPr>
        <p:sp>
          <p:nvSpPr>
            <p:cNvPr id="77" name="Rounded Rectangle 7">
              <a:extLst>
                <a:ext uri="{FF2B5EF4-FFF2-40B4-BE49-F238E27FC236}">
                  <a16:creationId xmlns:a16="http://schemas.microsoft.com/office/drawing/2014/main" id="{79D7D030-032B-F004-7C9A-75E5A499792F}"/>
                </a:ext>
              </a:extLst>
            </p:cNvPr>
            <p:cNvSpPr/>
            <p:nvPr/>
          </p:nvSpPr>
          <p:spPr>
            <a:xfrm>
              <a:off x="3314579" y="2457450"/>
              <a:ext cx="1025480" cy="1116949"/>
            </a:xfrm>
            <a:custGeom>
              <a:avLst/>
              <a:gdLst/>
              <a:ahLst/>
              <a:cxnLst/>
              <a:rect l="0" t="0" r="0" b="0"/>
              <a:pathLst>
                <a:path w="1025480" h="1116949">
                  <a:moveTo>
                    <a:pt x="686740" y="1116949"/>
                  </a:moveTo>
                  <a:cubicBezTo>
                    <a:pt x="629772" y="1102852"/>
                    <a:pt x="570196" y="1095375"/>
                    <a:pt x="508873" y="1095375"/>
                  </a:cubicBezTo>
                  <a:cubicBezTo>
                    <a:pt x="450454" y="1095375"/>
                    <a:pt x="393621" y="1102156"/>
                    <a:pt x="339117" y="1114986"/>
                  </a:cubicBezTo>
                  <a:lnTo>
                    <a:pt x="0" y="73114"/>
                  </a:lnTo>
                  <a:cubicBezTo>
                    <a:pt x="162947" y="25523"/>
                    <a:pt x="335311" y="0"/>
                    <a:pt x="513635" y="0"/>
                  </a:cubicBezTo>
                  <a:cubicBezTo>
                    <a:pt x="691305" y="0"/>
                    <a:pt x="863057" y="25335"/>
                    <a:pt x="1025480" y="72591"/>
                  </a:cubicBezTo>
                  <a:close/>
                </a:path>
              </a:pathLst>
            </a:custGeom>
            <a:solidFill>
              <a:srgbClr val="FF900C"/>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78" name="Rounded Rectangle 8">
              <a:extLst>
                <a:ext uri="{FF2B5EF4-FFF2-40B4-BE49-F238E27FC236}">
                  <a16:creationId xmlns:a16="http://schemas.microsoft.com/office/drawing/2014/main" id="{4D924C63-F773-CB3B-EDD8-E0CB2BCD49AC}"/>
                </a:ext>
              </a:extLst>
            </p:cNvPr>
            <p:cNvSpPr/>
            <p:nvPr/>
          </p:nvSpPr>
          <p:spPr>
            <a:xfrm>
              <a:off x="3314579" y="2457450"/>
              <a:ext cx="1025476" cy="1116945"/>
            </a:xfrm>
            <a:custGeom>
              <a:avLst/>
              <a:gdLst/>
              <a:ahLst/>
              <a:cxnLst/>
              <a:rect l="0" t="0" r="0" b="0"/>
              <a:pathLst>
                <a:path w="1025476" h="1116945">
                  <a:moveTo>
                    <a:pt x="686740" y="1116945"/>
                  </a:moveTo>
                  <a:cubicBezTo>
                    <a:pt x="629772" y="1102852"/>
                    <a:pt x="570196" y="1095375"/>
                    <a:pt x="508873" y="1095375"/>
                  </a:cubicBezTo>
                  <a:cubicBezTo>
                    <a:pt x="450454" y="1095375"/>
                    <a:pt x="393621" y="1102160"/>
                    <a:pt x="339117" y="1114987"/>
                  </a:cubicBezTo>
                  <a:lnTo>
                    <a:pt x="0" y="73114"/>
                  </a:lnTo>
                  <a:cubicBezTo>
                    <a:pt x="162947" y="25523"/>
                    <a:pt x="335311" y="0"/>
                    <a:pt x="513635" y="0"/>
                  </a:cubicBezTo>
                  <a:cubicBezTo>
                    <a:pt x="691305" y="0"/>
                    <a:pt x="863057" y="25335"/>
                    <a:pt x="1025476" y="72591"/>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57" name="Group 56">
            <a:extLst>
              <a:ext uri="{FF2B5EF4-FFF2-40B4-BE49-F238E27FC236}">
                <a16:creationId xmlns:a16="http://schemas.microsoft.com/office/drawing/2014/main" id="{995B78E0-BE59-DA61-A022-506399F249EA}"/>
              </a:ext>
            </a:extLst>
          </p:cNvPr>
          <p:cNvGrpSpPr/>
          <p:nvPr/>
        </p:nvGrpSpPr>
        <p:grpSpPr>
          <a:xfrm rot="5400000">
            <a:off x="2292283" y="2536559"/>
            <a:ext cx="1167841" cy="1244479"/>
            <a:chOff x="2381017" y="2564569"/>
            <a:chExt cx="1167841" cy="1244479"/>
          </a:xfrm>
        </p:grpSpPr>
        <p:sp>
          <p:nvSpPr>
            <p:cNvPr id="75" name="Rounded Rectangle 10">
              <a:extLst>
                <a:ext uri="{FF2B5EF4-FFF2-40B4-BE49-F238E27FC236}">
                  <a16:creationId xmlns:a16="http://schemas.microsoft.com/office/drawing/2014/main" id="{4F4631B0-5677-2989-CE30-425D25E430A3}"/>
                </a:ext>
              </a:extLst>
            </p:cNvPr>
            <p:cNvSpPr/>
            <p:nvPr/>
          </p:nvSpPr>
          <p:spPr>
            <a:xfrm>
              <a:off x="2381017" y="2564569"/>
              <a:ext cx="1167841" cy="1244479"/>
            </a:xfrm>
            <a:custGeom>
              <a:avLst/>
              <a:gdLst/>
              <a:ahLst/>
              <a:cxnLst/>
              <a:rect l="0" t="0" r="0" b="0"/>
              <a:pathLst>
                <a:path w="1167841" h="1244479">
                  <a:moveTo>
                    <a:pt x="1167841" y="1041015"/>
                  </a:moveTo>
                  <a:cubicBezTo>
                    <a:pt x="1057236" y="1085364"/>
                    <a:pt x="959862" y="1155696"/>
                    <a:pt x="883276" y="1244479"/>
                  </a:cubicBezTo>
                  <a:lnTo>
                    <a:pt x="0" y="603432"/>
                  </a:lnTo>
                  <a:cubicBezTo>
                    <a:pt x="211247" y="330444"/>
                    <a:pt x="498022" y="118857"/>
                    <a:pt x="828998" y="0"/>
                  </a:cubicBezTo>
                  <a:close/>
                </a:path>
              </a:pathLst>
            </a:custGeom>
            <a:solidFill>
              <a:srgbClr val="D77C0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76" name="Rounded Rectangle 11">
              <a:extLst>
                <a:ext uri="{FF2B5EF4-FFF2-40B4-BE49-F238E27FC236}">
                  <a16:creationId xmlns:a16="http://schemas.microsoft.com/office/drawing/2014/main" id="{E4EAF1B3-C2D1-BEF2-1913-0637293A76D6}"/>
                </a:ext>
              </a:extLst>
            </p:cNvPr>
            <p:cNvSpPr/>
            <p:nvPr/>
          </p:nvSpPr>
          <p:spPr>
            <a:xfrm>
              <a:off x="2381017" y="2564569"/>
              <a:ext cx="1167837" cy="1244476"/>
            </a:xfrm>
            <a:custGeom>
              <a:avLst/>
              <a:gdLst/>
              <a:ahLst/>
              <a:cxnLst/>
              <a:rect l="0" t="0" r="0" b="0"/>
              <a:pathLst>
                <a:path w="1167837" h="1244476">
                  <a:moveTo>
                    <a:pt x="1167837" y="1041012"/>
                  </a:moveTo>
                  <a:cubicBezTo>
                    <a:pt x="1057238" y="1085360"/>
                    <a:pt x="959865" y="1155700"/>
                    <a:pt x="883276" y="1244476"/>
                  </a:cubicBezTo>
                  <a:lnTo>
                    <a:pt x="0" y="603432"/>
                  </a:lnTo>
                  <a:cubicBezTo>
                    <a:pt x="211247" y="330444"/>
                    <a:pt x="498022" y="118857"/>
                    <a:pt x="828998" y="0"/>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58" name="Group 57">
            <a:extLst>
              <a:ext uri="{FF2B5EF4-FFF2-40B4-BE49-F238E27FC236}">
                <a16:creationId xmlns:a16="http://schemas.microsoft.com/office/drawing/2014/main" id="{CB962062-57BF-4579-8528-F8C61391CB1C}"/>
              </a:ext>
            </a:extLst>
          </p:cNvPr>
          <p:cNvGrpSpPr/>
          <p:nvPr/>
        </p:nvGrpSpPr>
        <p:grpSpPr>
          <a:xfrm rot="5400000">
            <a:off x="1817765" y="2363575"/>
            <a:ext cx="1198597" cy="973962"/>
            <a:chOff x="2000249" y="3256936"/>
            <a:chExt cx="1198597" cy="973962"/>
          </a:xfrm>
        </p:grpSpPr>
        <p:sp>
          <p:nvSpPr>
            <p:cNvPr id="73" name="Rounded Rectangle 13">
              <a:extLst>
                <a:ext uri="{FF2B5EF4-FFF2-40B4-BE49-F238E27FC236}">
                  <a16:creationId xmlns:a16="http://schemas.microsoft.com/office/drawing/2014/main" id="{AB55460A-2704-7A54-A9CA-0F24B05D3DA9}"/>
                </a:ext>
              </a:extLst>
            </p:cNvPr>
            <p:cNvSpPr/>
            <p:nvPr/>
          </p:nvSpPr>
          <p:spPr>
            <a:xfrm>
              <a:off x="2000249" y="3256936"/>
              <a:ext cx="1198597" cy="973959"/>
            </a:xfrm>
            <a:custGeom>
              <a:avLst/>
              <a:gdLst/>
              <a:ahLst/>
              <a:cxnLst/>
              <a:rect l="0" t="0" r="0" b="0"/>
              <a:pathLst>
                <a:path w="1198597" h="973959">
                  <a:moveTo>
                    <a:pt x="1198597" y="640462"/>
                  </a:moveTo>
                  <a:cubicBezTo>
                    <a:pt x="1136713" y="738458"/>
                    <a:pt x="1097251" y="852026"/>
                    <a:pt x="1087421" y="973959"/>
                  </a:cubicBezTo>
                  <a:lnTo>
                    <a:pt x="0" y="973407"/>
                  </a:lnTo>
                  <a:cubicBezTo>
                    <a:pt x="10821" y="613020"/>
                    <a:pt x="125905" y="278841"/>
                    <a:pt x="316118" y="0"/>
                  </a:cubicBezTo>
                  <a:close/>
                </a:path>
              </a:pathLst>
            </a:custGeom>
            <a:solidFill>
              <a:srgbClr val="865A25"/>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74" name="Rounded Rectangle 14">
              <a:extLst>
                <a:ext uri="{FF2B5EF4-FFF2-40B4-BE49-F238E27FC236}">
                  <a16:creationId xmlns:a16="http://schemas.microsoft.com/office/drawing/2014/main" id="{2F9294C2-DEB7-25C2-7802-54B6349583D1}"/>
                </a:ext>
              </a:extLst>
            </p:cNvPr>
            <p:cNvSpPr/>
            <p:nvPr/>
          </p:nvSpPr>
          <p:spPr>
            <a:xfrm>
              <a:off x="2000250" y="3256936"/>
              <a:ext cx="1198594" cy="973962"/>
            </a:xfrm>
            <a:custGeom>
              <a:avLst/>
              <a:gdLst/>
              <a:ahLst/>
              <a:cxnLst/>
              <a:rect l="0" t="0" r="0" b="0"/>
              <a:pathLst>
                <a:path w="1198594" h="973962">
                  <a:moveTo>
                    <a:pt x="1198594" y="640462"/>
                  </a:moveTo>
                  <a:cubicBezTo>
                    <a:pt x="1136710" y="738458"/>
                    <a:pt x="1097251" y="852026"/>
                    <a:pt x="1087424" y="973962"/>
                  </a:cubicBezTo>
                  <a:lnTo>
                    <a:pt x="0" y="973403"/>
                  </a:lnTo>
                  <a:cubicBezTo>
                    <a:pt x="10821" y="613020"/>
                    <a:pt x="125905" y="278841"/>
                    <a:pt x="316118" y="0"/>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sp>
        <p:nvSpPr>
          <p:cNvPr id="63" name="TextBox 17">
            <a:extLst>
              <a:ext uri="{FF2B5EF4-FFF2-40B4-BE49-F238E27FC236}">
                <a16:creationId xmlns:a16="http://schemas.microsoft.com/office/drawing/2014/main" id="{E65B3EFE-8300-CD91-70A5-5F94076F0943}"/>
              </a:ext>
            </a:extLst>
          </p:cNvPr>
          <p:cNvSpPr txBox="1"/>
          <p:nvPr/>
        </p:nvSpPr>
        <p:spPr>
          <a:xfrm>
            <a:off x="3680141" y="3690704"/>
            <a:ext cx="1829027" cy="23083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500" b="1" noProof="0">
                <a:solidFill>
                  <a:srgbClr val="464646"/>
                </a:solidFill>
                <a:latin typeface="Avenir LT Pro 45Book"/>
              </a:rPr>
              <a:t>Three Value Disciplines</a:t>
            </a:r>
          </a:p>
        </p:txBody>
      </p:sp>
      <p:sp>
        <p:nvSpPr>
          <p:cNvPr id="65" name="TextBox 19">
            <a:extLst>
              <a:ext uri="{FF2B5EF4-FFF2-40B4-BE49-F238E27FC236}">
                <a16:creationId xmlns:a16="http://schemas.microsoft.com/office/drawing/2014/main" id="{EC532C86-06B8-56A7-DDE0-DC7366769B92}"/>
              </a:ext>
            </a:extLst>
          </p:cNvPr>
          <p:cNvSpPr txBox="1"/>
          <p:nvPr/>
        </p:nvSpPr>
        <p:spPr>
          <a:xfrm>
            <a:off x="3677334" y="3951528"/>
            <a:ext cx="3909725" cy="16927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100" b="0" noProof="0">
                <a:solidFill>
                  <a:srgbClr val="464646"/>
                </a:solidFill>
                <a:latin typeface="Avenir LT Pro 45Book"/>
              </a:rPr>
              <a:t>Focuses on achieving market leadership through focused excellence.</a:t>
            </a:r>
          </a:p>
        </p:txBody>
      </p:sp>
      <p:sp>
        <p:nvSpPr>
          <p:cNvPr id="64" name="TextBox 18">
            <a:extLst>
              <a:ext uri="{FF2B5EF4-FFF2-40B4-BE49-F238E27FC236}">
                <a16:creationId xmlns:a16="http://schemas.microsoft.com/office/drawing/2014/main" id="{BEE83261-63E2-E39A-5B1D-8720CDF01050}"/>
              </a:ext>
            </a:extLst>
          </p:cNvPr>
          <p:cNvSpPr txBox="1"/>
          <p:nvPr/>
        </p:nvSpPr>
        <p:spPr>
          <a:xfrm>
            <a:off x="3291276" y="2619686"/>
            <a:ext cx="2380460" cy="23083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500" b="1" noProof="0">
                <a:solidFill>
                  <a:srgbClr val="464646"/>
                </a:solidFill>
                <a:latin typeface="Avenir LT Pro 45Book"/>
              </a:rPr>
              <a:t>Elements of Value Framework</a:t>
            </a:r>
          </a:p>
        </p:txBody>
      </p:sp>
      <p:sp>
        <p:nvSpPr>
          <p:cNvPr id="67" name="TextBox 21">
            <a:extLst>
              <a:ext uri="{FF2B5EF4-FFF2-40B4-BE49-F238E27FC236}">
                <a16:creationId xmlns:a16="http://schemas.microsoft.com/office/drawing/2014/main" id="{E66556F0-5E00-4703-8205-287846586058}"/>
              </a:ext>
            </a:extLst>
          </p:cNvPr>
          <p:cNvSpPr txBox="1"/>
          <p:nvPr/>
        </p:nvSpPr>
        <p:spPr>
          <a:xfrm>
            <a:off x="3399121" y="2867141"/>
            <a:ext cx="3677289" cy="16927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100" b="0" noProof="0">
                <a:solidFill>
                  <a:srgbClr val="464646"/>
                </a:solidFill>
                <a:latin typeface="Avenir LT Pro 45Book"/>
              </a:rPr>
              <a:t>Identifies and measures value elements driving customer loyalty.</a:t>
            </a:r>
          </a:p>
        </p:txBody>
      </p:sp>
      <p:sp>
        <p:nvSpPr>
          <p:cNvPr id="66" name="TextBox 20">
            <a:extLst>
              <a:ext uri="{FF2B5EF4-FFF2-40B4-BE49-F238E27FC236}">
                <a16:creationId xmlns:a16="http://schemas.microsoft.com/office/drawing/2014/main" id="{D6E31B0D-F1D6-13A6-7C55-3B87C91D9265}"/>
              </a:ext>
            </a:extLst>
          </p:cNvPr>
          <p:cNvSpPr txBox="1"/>
          <p:nvPr/>
        </p:nvSpPr>
        <p:spPr>
          <a:xfrm>
            <a:off x="3439661" y="4651577"/>
            <a:ext cx="2224968" cy="23083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500" b="1" noProof="0">
                <a:solidFill>
                  <a:srgbClr val="464646"/>
                </a:solidFill>
                <a:latin typeface="Avenir LT Pro 45Book"/>
              </a:rPr>
              <a:t>Jobs to Be Done Framework</a:t>
            </a:r>
          </a:p>
        </p:txBody>
      </p:sp>
      <p:sp>
        <p:nvSpPr>
          <p:cNvPr id="68" name="TextBox 22">
            <a:extLst>
              <a:ext uri="{FF2B5EF4-FFF2-40B4-BE49-F238E27FC236}">
                <a16:creationId xmlns:a16="http://schemas.microsoft.com/office/drawing/2014/main" id="{CC3BFD84-7EE8-5D0F-7480-75C3931D8A0D}"/>
              </a:ext>
            </a:extLst>
          </p:cNvPr>
          <p:cNvSpPr txBox="1"/>
          <p:nvPr/>
        </p:nvSpPr>
        <p:spPr>
          <a:xfrm>
            <a:off x="3278092" y="4914426"/>
            <a:ext cx="4017125" cy="16927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100" b="0" noProof="0">
                <a:solidFill>
                  <a:srgbClr val="464646"/>
                </a:solidFill>
                <a:latin typeface="Avenir LT Pro 45Book"/>
              </a:rPr>
              <a:t>Shifts focus to the progress customers seek in specific circumstances.</a:t>
            </a:r>
          </a:p>
        </p:txBody>
      </p:sp>
      <p:sp>
        <p:nvSpPr>
          <p:cNvPr id="69" name="TextBox 23">
            <a:extLst>
              <a:ext uri="{FF2B5EF4-FFF2-40B4-BE49-F238E27FC236}">
                <a16:creationId xmlns:a16="http://schemas.microsoft.com/office/drawing/2014/main" id="{E31DCF4A-5353-A01E-DE2B-6E975072E80C}"/>
              </a:ext>
            </a:extLst>
          </p:cNvPr>
          <p:cNvSpPr txBox="1"/>
          <p:nvPr/>
        </p:nvSpPr>
        <p:spPr>
          <a:xfrm>
            <a:off x="2316194" y="1847995"/>
            <a:ext cx="1814792" cy="23083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500" b="1" noProof="0">
                <a:solidFill>
                  <a:srgbClr val="464646"/>
                </a:solidFill>
                <a:latin typeface="Avenir LT Pro 45Book"/>
              </a:rPr>
              <a:t>Value Stick Framework</a:t>
            </a:r>
          </a:p>
        </p:txBody>
      </p:sp>
      <p:sp>
        <p:nvSpPr>
          <p:cNvPr id="71" name="TextBox 25">
            <a:extLst>
              <a:ext uri="{FF2B5EF4-FFF2-40B4-BE49-F238E27FC236}">
                <a16:creationId xmlns:a16="http://schemas.microsoft.com/office/drawing/2014/main" id="{7FE6D3FD-FCE0-CBE3-1C16-59ED21E9D177}"/>
              </a:ext>
            </a:extLst>
          </p:cNvPr>
          <p:cNvSpPr txBox="1"/>
          <p:nvPr/>
        </p:nvSpPr>
        <p:spPr>
          <a:xfrm>
            <a:off x="2312527" y="2102882"/>
            <a:ext cx="4578275" cy="169277"/>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100" b="0" noProof="0">
                <a:solidFill>
                  <a:srgbClr val="464646"/>
                </a:solidFill>
                <a:latin typeface="Avenir LT Pro 45Book"/>
              </a:rPr>
              <a:t>Provides an economic model for understanding value creation and capture.</a:t>
            </a:r>
          </a:p>
        </p:txBody>
      </p:sp>
      <p:sp>
        <p:nvSpPr>
          <p:cNvPr id="70" name="TextBox 24">
            <a:extLst>
              <a:ext uri="{FF2B5EF4-FFF2-40B4-BE49-F238E27FC236}">
                <a16:creationId xmlns:a16="http://schemas.microsoft.com/office/drawing/2014/main" id="{603A21B5-0E15-2109-A60B-0C69A57594DB}"/>
              </a:ext>
            </a:extLst>
          </p:cNvPr>
          <p:cNvSpPr txBox="1"/>
          <p:nvPr/>
        </p:nvSpPr>
        <p:spPr>
          <a:xfrm>
            <a:off x="2316425" y="5480690"/>
            <a:ext cx="1949701" cy="23083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500" b="1" noProof="0">
                <a:solidFill>
                  <a:srgbClr val="464646"/>
                </a:solidFill>
                <a:latin typeface="Avenir LT Pro 45Book"/>
              </a:rPr>
              <a:t>Four Actions Framework</a:t>
            </a:r>
          </a:p>
        </p:txBody>
      </p:sp>
      <p:sp>
        <p:nvSpPr>
          <p:cNvPr id="72" name="TextBox 26">
            <a:extLst>
              <a:ext uri="{FF2B5EF4-FFF2-40B4-BE49-F238E27FC236}">
                <a16:creationId xmlns:a16="http://schemas.microsoft.com/office/drawing/2014/main" id="{E056B111-82F2-E0B6-E0B7-7CA2463B332F}"/>
              </a:ext>
            </a:extLst>
          </p:cNvPr>
          <p:cNvSpPr txBox="1"/>
          <p:nvPr/>
        </p:nvSpPr>
        <p:spPr>
          <a:xfrm>
            <a:off x="2299530" y="5738799"/>
            <a:ext cx="3457678" cy="16927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100" b="0" noProof="0">
                <a:solidFill>
                  <a:srgbClr val="464646"/>
                </a:solidFill>
                <a:latin typeface="Avenir LT Pro 45Book"/>
              </a:rPr>
              <a:t>Creates uncontested market space through value innovation.</a:t>
            </a:r>
          </a:p>
        </p:txBody>
      </p:sp>
      <p:sp>
        <p:nvSpPr>
          <p:cNvPr id="91" name="TextBox 90">
            <a:extLst>
              <a:ext uri="{FF2B5EF4-FFF2-40B4-BE49-F238E27FC236}">
                <a16:creationId xmlns:a16="http://schemas.microsoft.com/office/drawing/2014/main" id="{1C3B618A-C492-C8FB-984C-D2058FE285AB}"/>
              </a:ext>
            </a:extLst>
          </p:cNvPr>
          <p:cNvSpPr txBox="1"/>
          <p:nvPr/>
        </p:nvSpPr>
        <p:spPr>
          <a:xfrm>
            <a:off x="2852461" y="3117143"/>
            <a:ext cx="117021" cy="276999"/>
          </a:xfrm>
          <a:prstGeom prst="rect">
            <a:avLst/>
          </a:prstGeom>
          <a:noFill/>
          <a:ln>
            <a:noFill/>
          </a:ln>
        </p:spPr>
        <p:txBody>
          <a:bodyPr wrap="none" lIns="0" tIns="0" rIns="0" bIns="0" anchor="t">
            <a:spAutoFit/>
          </a:bodyPr>
          <a:lstStyle/>
          <a:p>
            <a:pPr algn="ctr"/>
            <a:r>
              <a:rPr lang="en-GB" b="1" noProof="0">
                <a:solidFill>
                  <a:srgbClr val="EBEBEB"/>
                </a:solidFill>
                <a:latin typeface="Avenir LT Pro 45Book"/>
              </a:rPr>
              <a:t>2</a:t>
            </a:r>
          </a:p>
        </p:txBody>
      </p:sp>
      <p:sp>
        <p:nvSpPr>
          <p:cNvPr id="92" name="TextBox 91">
            <a:extLst>
              <a:ext uri="{FF2B5EF4-FFF2-40B4-BE49-F238E27FC236}">
                <a16:creationId xmlns:a16="http://schemas.microsoft.com/office/drawing/2014/main" id="{B4317FA4-CC59-B322-970B-00849F2148F0}"/>
              </a:ext>
            </a:extLst>
          </p:cNvPr>
          <p:cNvSpPr txBox="1"/>
          <p:nvPr/>
        </p:nvSpPr>
        <p:spPr>
          <a:xfrm>
            <a:off x="2787024" y="4471277"/>
            <a:ext cx="117021" cy="276999"/>
          </a:xfrm>
          <a:prstGeom prst="rect">
            <a:avLst/>
          </a:prstGeom>
          <a:noFill/>
          <a:ln>
            <a:noFill/>
          </a:ln>
        </p:spPr>
        <p:txBody>
          <a:bodyPr wrap="none" lIns="0" tIns="0" rIns="0" bIns="0" anchor="t">
            <a:spAutoFit/>
          </a:bodyPr>
          <a:lstStyle/>
          <a:p>
            <a:pPr algn="ctr"/>
            <a:r>
              <a:rPr lang="en-GB" b="1" noProof="0">
                <a:solidFill>
                  <a:srgbClr val="EBEBEB"/>
                </a:solidFill>
                <a:latin typeface="Avenir LT Pro 45Book"/>
              </a:rPr>
              <a:t>4</a:t>
            </a:r>
          </a:p>
        </p:txBody>
      </p:sp>
      <p:sp>
        <p:nvSpPr>
          <p:cNvPr id="93" name="TextBox 92">
            <a:extLst>
              <a:ext uri="{FF2B5EF4-FFF2-40B4-BE49-F238E27FC236}">
                <a16:creationId xmlns:a16="http://schemas.microsoft.com/office/drawing/2014/main" id="{97C59B86-F181-B744-E8B6-30E4DF69CE1F}"/>
              </a:ext>
            </a:extLst>
          </p:cNvPr>
          <p:cNvSpPr txBox="1"/>
          <p:nvPr/>
        </p:nvSpPr>
        <p:spPr>
          <a:xfrm>
            <a:off x="2195506" y="4874986"/>
            <a:ext cx="117021" cy="276999"/>
          </a:xfrm>
          <a:prstGeom prst="rect">
            <a:avLst/>
          </a:prstGeom>
          <a:noFill/>
          <a:ln>
            <a:noFill/>
          </a:ln>
        </p:spPr>
        <p:txBody>
          <a:bodyPr wrap="none" lIns="0" tIns="0" rIns="0" bIns="0" anchor="t">
            <a:spAutoFit/>
          </a:bodyPr>
          <a:lstStyle/>
          <a:p>
            <a:pPr algn="ctr"/>
            <a:r>
              <a:rPr lang="en-GB" b="1" noProof="0">
                <a:solidFill>
                  <a:srgbClr val="EBEBEB"/>
                </a:solidFill>
                <a:latin typeface="Avenir LT Pro 45Book"/>
              </a:rPr>
              <a:t>5</a:t>
            </a:r>
          </a:p>
        </p:txBody>
      </p:sp>
      <p:sp>
        <p:nvSpPr>
          <p:cNvPr id="94" name="TextBox 93">
            <a:extLst>
              <a:ext uri="{FF2B5EF4-FFF2-40B4-BE49-F238E27FC236}">
                <a16:creationId xmlns:a16="http://schemas.microsoft.com/office/drawing/2014/main" id="{C4AD73C8-ECD7-1043-2286-19C24BF8F034}"/>
              </a:ext>
            </a:extLst>
          </p:cNvPr>
          <p:cNvSpPr txBox="1"/>
          <p:nvPr/>
        </p:nvSpPr>
        <p:spPr>
          <a:xfrm>
            <a:off x="2195506" y="2700759"/>
            <a:ext cx="117021" cy="276999"/>
          </a:xfrm>
          <a:prstGeom prst="rect">
            <a:avLst/>
          </a:prstGeom>
          <a:noFill/>
          <a:ln>
            <a:noFill/>
          </a:ln>
        </p:spPr>
        <p:txBody>
          <a:bodyPr wrap="none" lIns="0" tIns="0" rIns="0" bIns="0" anchor="t">
            <a:spAutoFit/>
          </a:bodyPr>
          <a:lstStyle/>
          <a:p>
            <a:pPr algn="ctr"/>
            <a:r>
              <a:rPr lang="en-GB" b="1" noProof="0">
                <a:solidFill>
                  <a:srgbClr val="EBEBEB"/>
                </a:solidFill>
                <a:latin typeface="Avenir LT Pro 45Book"/>
              </a:rPr>
              <a:t>1</a:t>
            </a:r>
          </a:p>
        </p:txBody>
      </p:sp>
      <p:sp>
        <p:nvSpPr>
          <p:cNvPr id="95" name="TextBox 94">
            <a:extLst>
              <a:ext uri="{FF2B5EF4-FFF2-40B4-BE49-F238E27FC236}">
                <a16:creationId xmlns:a16="http://schemas.microsoft.com/office/drawing/2014/main" id="{FC147160-40CD-B70F-E0D3-D1A8C842C139}"/>
              </a:ext>
            </a:extLst>
          </p:cNvPr>
          <p:cNvSpPr txBox="1"/>
          <p:nvPr/>
        </p:nvSpPr>
        <p:spPr>
          <a:xfrm>
            <a:off x="2983757" y="3789336"/>
            <a:ext cx="117021" cy="276999"/>
          </a:xfrm>
          <a:prstGeom prst="rect">
            <a:avLst/>
          </a:prstGeom>
          <a:noFill/>
          <a:ln>
            <a:noFill/>
          </a:ln>
        </p:spPr>
        <p:txBody>
          <a:bodyPr wrap="none" lIns="0" tIns="0" rIns="0" bIns="0" anchor="t">
            <a:spAutoFit/>
          </a:bodyPr>
          <a:lstStyle/>
          <a:p>
            <a:pPr algn="ctr"/>
            <a:r>
              <a:rPr lang="en-GB" b="1" noProof="0">
                <a:solidFill>
                  <a:srgbClr val="EBEBEB"/>
                </a:solidFill>
                <a:latin typeface="Avenir LT Pro 45Book"/>
              </a:rPr>
              <a:t>3</a:t>
            </a:r>
          </a:p>
        </p:txBody>
      </p:sp>
      <p:sp>
        <p:nvSpPr>
          <p:cNvPr id="97" name="TextBox 96">
            <a:extLst>
              <a:ext uri="{FF2B5EF4-FFF2-40B4-BE49-F238E27FC236}">
                <a16:creationId xmlns:a16="http://schemas.microsoft.com/office/drawing/2014/main" id="{A9D31ED1-73C6-D3C1-1028-57E9B91B99ED}"/>
              </a:ext>
            </a:extLst>
          </p:cNvPr>
          <p:cNvSpPr txBox="1"/>
          <p:nvPr/>
        </p:nvSpPr>
        <p:spPr>
          <a:xfrm>
            <a:off x="1196316" y="3682313"/>
            <a:ext cx="1467530" cy="507831"/>
          </a:xfrm>
          <a:prstGeom prst="rect">
            <a:avLst/>
          </a:prstGeom>
          <a:noFill/>
        </p:spPr>
        <p:txBody>
          <a:bodyPr wrap="square">
            <a:spAutoFit/>
          </a:bodyPr>
          <a:lstStyle/>
          <a:p>
            <a:pPr algn="ctr"/>
            <a:r>
              <a:rPr lang="en-GB" sz="900" b="0" noProof="0">
                <a:solidFill>
                  <a:srgbClr val="87848C"/>
                </a:solidFill>
                <a:latin typeface="Avenir LT Pro 45Book"/>
              </a:rPr>
              <a:t>Frameworks for value proposition strategic decision-making </a:t>
            </a:r>
            <a:endParaRPr lang="en-GB" sz="900" noProof="0"/>
          </a:p>
        </p:txBody>
      </p:sp>
    </p:spTree>
    <p:extLst>
      <p:ext uri="{BB962C8B-B14F-4D97-AF65-F5344CB8AC3E}">
        <p14:creationId xmlns:p14="http://schemas.microsoft.com/office/powerpoint/2010/main" val="459378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596357-7E32-7A53-0AAA-BDC3A58E229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3D37026-7075-63DE-8596-49AC89094FB1}"/>
              </a:ext>
            </a:extLst>
          </p:cNvPr>
          <p:cNvGraphicFramePr>
            <a:graphicFrameLocks noChangeAspect="1"/>
          </p:cNvGraphicFramePr>
          <p:nvPr>
            <p:custDataLst>
              <p:tags r:id="rId1"/>
            </p:custDataLst>
            <p:extLst>
              <p:ext uri="{D42A27DB-BD31-4B8C-83A1-F6EECF244321}">
                <p14:modId xmlns:p14="http://schemas.microsoft.com/office/powerpoint/2010/main" val="3671095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D3D37026-7075-63DE-8596-49AC89094F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4AF38A8F-7B25-7C3C-4C98-DE23B1CD9824}"/>
              </a:ext>
            </a:extLst>
          </p:cNvPr>
          <p:cNvSpPr/>
          <p:nvPr/>
        </p:nvSpPr>
        <p:spPr>
          <a:xfrm>
            <a:off x="5494564" y="6606627"/>
            <a:ext cx="1654035" cy="251373"/>
          </a:xfrm>
          <a:prstGeom prst="rect">
            <a:avLst/>
          </a:prstGeom>
          <a:solidFill>
            <a:srgbClr val="F1F1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 name="Title 1">
            <a:extLst>
              <a:ext uri="{FF2B5EF4-FFF2-40B4-BE49-F238E27FC236}">
                <a16:creationId xmlns:a16="http://schemas.microsoft.com/office/drawing/2014/main" id="{8A87C2FC-705B-BDE4-0F25-D5018E16EC69}"/>
              </a:ext>
            </a:extLst>
          </p:cNvPr>
          <p:cNvSpPr>
            <a:spLocks noGrp="1"/>
          </p:cNvSpPr>
          <p:nvPr>
            <p:ph type="title"/>
          </p:nvPr>
        </p:nvSpPr>
        <p:spPr>
          <a:xfrm>
            <a:off x="137786" y="125260"/>
            <a:ext cx="7888614" cy="806754"/>
          </a:xfrm>
        </p:spPr>
        <p:txBody>
          <a:bodyPr vert="horz"/>
          <a:lstStyle/>
          <a:p>
            <a:r>
              <a:rPr lang="en-GB" b="1" noProof="0"/>
              <a:t>The Value Stick Framework</a:t>
            </a:r>
          </a:p>
        </p:txBody>
      </p:sp>
      <p:sp>
        <p:nvSpPr>
          <p:cNvPr id="10" name="Rectangle 9">
            <a:extLst>
              <a:ext uri="{FF2B5EF4-FFF2-40B4-BE49-F238E27FC236}">
                <a16:creationId xmlns:a16="http://schemas.microsoft.com/office/drawing/2014/main" id="{2CF3BFC7-3F8E-0FBD-46C1-C44955BC484A}"/>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400" b="1" noProof="0">
                <a:solidFill>
                  <a:schemeClr val="tx1"/>
                </a:solidFill>
                <a:latin typeface="Avenir Next LT Pro" panose="020B0504020202020204" pitchFamily="34" charset="0"/>
              </a:rPr>
              <a:t>Value Created</a:t>
            </a:r>
            <a:r>
              <a:rPr lang="en-GB" sz="1400" noProof="0">
                <a:solidFill>
                  <a:schemeClr val="tx1"/>
                </a:solidFill>
                <a:latin typeface="Avenir Next LT Pro" panose="020B0504020202020204" pitchFamily="34" charset="0"/>
              </a:rPr>
              <a:t>: the total economic value created, measured as the difference between WTP and WTS (the length of the stick).</a:t>
            </a:r>
          </a:p>
          <a:p>
            <a:pPr marL="285750" indent="-285750">
              <a:spcAft>
                <a:spcPts val="600"/>
              </a:spcAft>
              <a:buFont typeface="Arial" panose="020B0604020202020204" pitchFamily="34" charset="0"/>
              <a:buChar char="•"/>
            </a:pPr>
            <a:r>
              <a:rPr lang="en-GB" sz="1400" b="1" noProof="0">
                <a:solidFill>
                  <a:schemeClr val="tx1"/>
                </a:solidFill>
                <a:latin typeface="Avenir Next LT Pro" panose="020B0504020202020204" pitchFamily="34" charset="0"/>
              </a:rPr>
              <a:t>Value Captured</a:t>
            </a:r>
            <a:r>
              <a:rPr lang="en-GB" sz="1400" noProof="0">
                <a:solidFill>
                  <a:schemeClr val="tx1"/>
                </a:solidFill>
                <a:latin typeface="Avenir Next LT Pro" panose="020B0504020202020204" pitchFamily="34" charset="0"/>
              </a:rPr>
              <a:t>: how created value is distributed (to customer, firm and supplier).</a:t>
            </a:r>
          </a:p>
          <a:p>
            <a:pPr marL="285750" indent="-285750">
              <a:spcAft>
                <a:spcPts val="600"/>
              </a:spcAft>
              <a:buFont typeface="Arial" panose="020B0604020202020204" pitchFamily="34" charset="0"/>
              <a:buChar char="•"/>
            </a:pPr>
            <a:r>
              <a:rPr lang="en-GB" sz="1400" noProof="0">
                <a:solidFill>
                  <a:schemeClr val="tx1"/>
                </a:solidFill>
                <a:latin typeface="Avenir Next LT Pro" panose="020B0504020202020204" pitchFamily="34" charset="0"/>
              </a:rPr>
              <a:t>Every strategic choice must ultimately contribute to </a:t>
            </a:r>
            <a:r>
              <a:rPr lang="en-GB" sz="1400" b="1" noProof="0">
                <a:solidFill>
                  <a:schemeClr val="tx1"/>
                </a:solidFill>
                <a:latin typeface="Avenir Next LT Pro" panose="020B0504020202020204" pitchFamily="34" charset="0"/>
              </a:rPr>
              <a:t>increasing WTP or lowering WTS </a:t>
            </a:r>
            <a:r>
              <a:rPr lang="en-GB" sz="1400" noProof="0">
                <a:solidFill>
                  <a:schemeClr val="tx1"/>
                </a:solidFill>
                <a:latin typeface="Avenir Next LT Pro" panose="020B0504020202020204" pitchFamily="34" charset="0"/>
              </a:rPr>
              <a:t>to create sustainable competitive advantage.</a:t>
            </a:r>
          </a:p>
          <a:p>
            <a:pPr marL="285750" indent="-285750">
              <a:spcAft>
                <a:spcPts val="600"/>
              </a:spcAft>
              <a:buFont typeface="Arial" panose="020B0604020202020204" pitchFamily="34" charset="0"/>
              <a:buChar char="•"/>
            </a:pPr>
            <a:endParaRPr lang="en-GB" sz="1400" noProof="0">
              <a:solidFill>
                <a:schemeClr val="tx1"/>
              </a:solidFill>
              <a:latin typeface="Avenir Next LT Pro" panose="020B0504020202020204" pitchFamily="34" charset="0"/>
            </a:endParaRPr>
          </a:p>
        </p:txBody>
      </p:sp>
      <p:sp>
        <p:nvSpPr>
          <p:cNvPr id="27" name="TextBox 26">
            <a:extLst>
              <a:ext uri="{FF2B5EF4-FFF2-40B4-BE49-F238E27FC236}">
                <a16:creationId xmlns:a16="http://schemas.microsoft.com/office/drawing/2014/main" id="{F7377075-7606-F282-734C-AB12561FAE0F}"/>
              </a:ext>
            </a:extLst>
          </p:cNvPr>
          <p:cNvSpPr txBox="1"/>
          <p:nvPr/>
        </p:nvSpPr>
        <p:spPr>
          <a:xfrm>
            <a:off x="9357085" y="6466114"/>
            <a:ext cx="2571750" cy="338554"/>
          </a:xfrm>
          <a:prstGeom prst="rect">
            <a:avLst/>
          </a:prstGeom>
          <a:noFill/>
        </p:spPr>
        <p:txBody>
          <a:bodyPr wrap="square" rtlCol="0">
            <a:spAutoFit/>
          </a:bodyPr>
          <a:lstStyle/>
          <a:p>
            <a:r>
              <a:rPr lang="en-GB" sz="800" i="1" noProof="0">
                <a:latin typeface="Avenir LT Pro 45Book"/>
              </a:rPr>
              <a:t>Source: Better Simpler Strategy, Felix Oberholzer-Gee, 2019</a:t>
            </a:r>
          </a:p>
        </p:txBody>
      </p:sp>
      <p:grpSp>
        <p:nvGrpSpPr>
          <p:cNvPr id="54" name="Group 53">
            <a:extLst>
              <a:ext uri="{FF2B5EF4-FFF2-40B4-BE49-F238E27FC236}">
                <a16:creationId xmlns:a16="http://schemas.microsoft.com/office/drawing/2014/main" id="{6110DEBF-B6A5-AFF1-2780-ED9E3D0A0925}"/>
              </a:ext>
            </a:extLst>
          </p:cNvPr>
          <p:cNvGrpSpPr/>
          <p:nvPr/>
        </p:nvGrpSpPr>
        <p:grpSpPr>
          <a:xfrm>
            <a:off x="2595968" y="1356563"/>
            <a:ext cx="3725613" cy="2169869"/>
            <a:chOff x="80636" y="2492780"/>
            <a:chExt cx="4921728" cy="2933711"/>
          </a:xfrm>
        </p:grpSpPr>
        <p:pic>
          <p:nvPicPr>
            <p:cNvPr id="11" name="Picture 2" descr="Value stick and its four components">
              <a:extLst>
                <a:ext uri="{FF2B5EF4-FFF2-40B4-BE49-F238E27FC236}">
                  <a16:creationId xmlns:a16="http://schemas.microsoft.com/office/drawing/2014/main" id="{9B9B8D3F-DA4E-99EA-0766-6FCF31C6C0DB}"/>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sharpenSoften amount="12000"/>
                      </a14:imgEffect>
                      <a14:imgEffect>
                        <a14:brightnessContrast contrast="-40000"/>
                      </a14:imgEffect>
                    </a14:imgLayer>
                  </a14:imgProps>
                </a:ext>
                <a:ext uri="{28A0092B-C50C-407E-A947-70E740481C1C}">
                  <a14:useLocalDpi xmlns:a14="http://schemas.microsoft.com/office/drawing/2010/main" val="0"/>
                </a:ext>
              </a:extLst>
            </a:blip>
            <a:srcRect l="15634" t="14917" r="18811" b="14605"/>
            <a:stretch>
              <a:fillRect/>
            </a:stretch>
          </p:blipFill>
          <p:spPr bwMode="auto">
            <a:xfrm>
              <a:off x="1597110" y="2492780"/>
              <a:ext cx="3405254" cy="2933711"/>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D60AF66B-609B-DD8F-C8D7-A71A3DAD3CB8}"/>
                </a:ext>
              </a:extLst>
            </p:cNvPr>
            <p:cNvSpPr txBox="1"/>
            <p:nvPr/>
          </p:nvSpPr>
          <p:spPr>
            <a:xfrm>
              <a:off x="80636" y="2967336"/>
              <a:ext cx="1731836" cy="457733"/>
            </a:xfrm>
            <a:prstGeom prst="homePlate">
              <a:avLst/>
            </a:prstGeom>
            <a:solidFill>
              <a:schemeClr val="accent2"/>
            </a:solidFill>
          </p:spPr>
          <p:txBody>
            <a:bodyPr wrap="square" rtlCol="0">
              <a:spAutoFit/>
            </a:bodyPr>
            <a:lstStyle/>
            <a:p>
              <a:r>
                <a:rPr lang="en-GB" sz="800" noProof="0">
                  <a:solidFill>
                    <a:schemeClr val="bg1"/>
                  </a:solidFill>
                  <a:latin typeface="Avenir LT Pro 45Book"/>
                </a:rPr>
                <a:t>Maximum customer price perception</a:t>
              </a:r>
            </a:p>
          </p:txBody>
        </p:sp>
        <p:sp>
          <p:nvSpPr>
            <p:cNvPr id="13" name="TextBox 12">
              <a:extLst>
                <a:ext uri="{FF2B5EF4-FFF2-40B4-BE49-F238E27FC236}">
                  <a16:creationId xmlns:a16="http://schemas.microsoft.com/office/drawing/2014/main" id="{82CE8F5B-6725-9FBB-88CA-E2F5DEFC569B}"/>
                </a:ext>
              </a:extLst>
            </p:cNvPr>
            <p:cNvSpPr txBox="1"/>
            <p:nvPr/>
          </p:nvSpPr>
          <p:spPr>
            <a:xfrm>
              <a:off x="80636" y="3594838"/>
              <a:ext cx="1731836" cy="291285"/>
            </a:xfrm>
            <a:prstGeom prst="homePlate">
              <a:avLst/>
            </a:prstGeom>
            <a:solidFill>
              <a:schemeClr val="accent2"/>
            </a:solidFill>
          </p:spPr>
          <p:txBody>
            <a:bodyPr wrap="square" rtlCol="0">
              <a:spAutoFit/>
            </a:bodyPr>
            <a:lstStyle/>
            <a:p>
              <a:r>
                <a:rPr lang="en-GB" sz="800" noProof="0">
                  <a:solidFill>
                    <a:schemeClr val="bg1"/>
                  </a:solidFill>
                  <a:latin typeface="Avenir LT Pro 45Book"/>
                </a:rPr>
                <a:t>Actual amount charged</a:t>
              </a:r>
            </a:p>
          </p:txBody>
        </p:sp>
        <p:sp>
          <p:nvSpPr>
            <p:cNvPr id="14" name="TextBox 13">
              <a:extLst>
                <a:ext uri="{FF2B5EF4-FFF2-40B4-BE49-F238E27FC236}">
                  <a16:creationId xmlns:a16="http://schemas.microsoft.com/office/drawing/2014/main" id="{30F46AF2-6C71-9528-1B36-6530D7E6D331}"/>
                </a:ext>
              </a:extLst>
            </p:cNvPr>
            <p:cNvSpPr txBox="1"/>
            <p:nvPr/>
          </p:nvSpPr>
          <p:spPr>
            <a:xfrm>
              <a:off x="80636" y="4313039"/>
              <a:ext cx="1731836" cy="457733"/>
            </a:xfrm>
            <a:prstGeom prst="homePlate">
              <a:avLst/>
            </a:prstGeom>
            <a:solidFill>
              <a:schemeClr val="accent2"/>
            </a:solidFill>
          </p:spPr>
          <p:txBody>
            <a:bodyPr wrap="square" rtlCol="0">
              <a:spAutoFit/>
            </a:bodyPr>
            <a:lstStyle/>
            <a:p>
              <a:r>
                <a:rPr lang="en-GB" sz="800" noProof="0">
                  <a:solidFill>
                    <a:schemeClr val="bg1"/>
                  </a:solidFill>
                  <a:latin typeface="Avenir LT Pro 45Book"/>
                </a:rPr>
                <a:t>Total cost to produce a product/ service</a:t>
              </a:r>
            </a:p>
          </p:txBody>
        </p:sp>
        <p:sp>
          <p:nvSpPr>
            <p:cNvPr id="15" name="TextBox 14">
              <a:extLst>
                <a:ext uri="{FF2B5EF4-FFF2-40B4-BE49-F238E27FC236}">
                  <a16:creationId xmlns:a16="http://schemas.microsoft.com/office/drawing/2014/main" id="{E797292D-8DE9-39B7-36B8-BDD5BE3C4AA1}"/>
                </a:ext>
              </a:extLst>
            </p:cNvPr>
            <p:cNvSpPr txBox="1"/>
            <p:nvPr/>
          </p:nvSpPr>
          <p:spPr>
            <a:xfrm>
              <a:off x="80636" y="4925356"/>
              <a:ext cx="1731836" cy="457733"/>
            </a:xfrm>
            <a:prstGeom prst="homePlate">
              <a:avLst/>
            </a:prstGeom>
            <a:solidFill>
              <a:schemeClr val="accent2"/>
            </a:solidFill>
          </p:spPr>
          <p:txBody>
            <a:bodyPr wrap="square" rtlCol="0">
              <a:spAutoFit/>
            </a:bodyPr>
            <a:lstStyle/>
            <a:p>
              <a:r>
                <a:rPr lang="en-GB" sz="800" noProof="0">
                  <a:solidFill>
                    <a:schemeClr val="bg1"/>
                  </a:solidFill>
                  <a:latin typeface="Avenir LT Pro 45Book"/>
                </a:rPr>
                <a:t>Minimum compensation for suppliers</a:t>
              </a:r>
            </a:p>
          </p:txBody>
        </p:sp>
      </p:grpSp>
      <p:grpSp>
        <p:nvGrpSpPr>
          <p:cNvPr id="18" name="Group 17">
            <a:extLst>
              <a:ext uri="{FF2B5EF4-FFF2-40B4-BE49-F238E27FC236}">
                <a16:creationId xmlns:a16="http://schemas.microsoft.com/office/drawing/2014/main" id="{C5C95268-8C1B-C05E-6287-99F75EDBFE5D}"/>
              </a:ext>
            </a:extLst>
          </p:cNvPr>
          <p:cNvGrpSpPr/>
          <p:nvPr/>
        </p:nvGrpSpPr>
        <p:grpSpPr>
          <a:xfrm>
            <a:off x="1746917" y="4489461"/>
            <a:ext cx="6022781" cy="1927654"/>
            <a:chOff x="167331" y="2168610"/>
            <a:chExt cx="6022781" cy="1927654"/>
          </a:xfrm>
        </p:grpSpPr>
        <p:sp>
          <p:nvSpPr>
            <p:cNvPr id="52" name="Rounded Rectangle 1">
              <a:extLst>
                <a:ext uri="{FF2B5EF4-FFF2-40B4-BE49-F238E27FC236}">
                  <a16:creationId xmlns:a16="http://schemas.microsoft.com/office/drawing/2014/main" id="{77BA0669-76E3-218B-2DBB-D75465173B47}"/>
                </a:ext>
              </a:extLst>
            </p:cNvPr>
            <p:cNvSpPr/>
            <p:nvPr/>
          </p:nvSpPr>
          <p:spPr>
            <a:xfrm>
              <a:off x="167331" y="2168610"/>
              <a:ext cx="6022781" cy="1927654"/>
            </a:xfrm>
            <a:custGeom>
              <a:avLst/>
              <a:gdLst/>
              <a:ahLst/>
              <a:cxnLst/>
              <a:rect l="0" t="0" r="0" b="0"/>
              <a:pathLst>
                <a:path w="6022781" h="1927654">
                  <a:moveTo>
                    <a:pt x="6022781" y="522072"/>
                  </a:moveTo>
                  <a:cubicBezTo>
                    <a:pt x="6022781" y="560023"/>
                    <a:pt x="6004910" y="595698"/>
                    <a:pt x="5974589" y="618455"/>
                  </a:cubicBezTo>
                  <a:lnTo>
                    <a:pt x="5492676" y="979890"/>
                  </a:lnTo>
                  <a:cubicBezTo>
                    <a:pt x="5439441" y="1019816"/>
                    <a:pt x="5363987" y="1009103"/>
                    <a:pt x="5324006" y="955795"/>
                  </a:cubicBezTo>
                  <a:cubicBezTo>
                    <a:pt x="5284114" y="902583"/>
                    <a:pt x="5294890" y="827017"/>
                    <a:pt x="5348102" y="787125"/>
                  </a:cubicBezTo>
                  <a:lnTo>
                    <a:pt x="5540867" y="642551"/>
                  </a:lnTo>
                  <a:lnTo>
                    <a:pt x="4979772" y="642551"/>
                  </a:lnTo>
                  <a:cubicBezTo>
                    <a:pt x="4891221" y="642551"/>
                    <a:pt x="4819135" y="714637"/>
                    <a:pt x="4819135" y="803189"/>
                  </a:cubicBezTo>
                  <a:lnTo>
                    <a:pt x="4819135" y="1204783"/>
                  </a:lnTo>
                  <a:cubicBezTo>
                    <a:pt x="4819135" y="1426196"/>
                    <a:pt x="4638953" y="1606378"/>
                    <a:pt x="4417540" y="1606378"/>
                  </a:cubicBezTo>
                  <a:cubicBezTo>
                    <a:pt x="4196128" y="1606378"/>
                    <a:pt x="4015945" y="1426196"/>
                    <a:pt x="4015945" y="1204783"/>
                  </a:cubicBezTo>
                  <a:lnTo>
                    <a:pt x="4015945" y="401594"/>
                  </a:lnTo>
                  <a:cubicBezTo>
                    <a:pt x="4015945" y="313042"/>
                    <a:pt x="3943859" y="240956"/>
                    <a:pt x="3855308" y="240956"/>
                  </a:cubicBezTo>
                  <a:cubicBezTo>
                    <a:pt x="3766756" y="240956"/>
                    <a:pt x="3694670" y="313042"/>
                    <a:pt x="3694670" y="401594"/>
                  </a:cubicBezTo>
                  <a:lnTo>
                    <a:pt x="3694670" y="1365421"/>
                  </a:lnTo>
                  <a:cubicBezTo>
                    <a:pt x="3694670" y="1586834"/>
                    <a:pt x="3514488" y="1767016"/>
                    <a:pt x="3293075" y="1767016"/>
                  </a:cubicBezTo>
                  <a:cubicBezTo>
                    <a:pt x="3071663" y="1767016"/>
                    <a:pt x="2891481" y="1586834"/>
                    <a:pt x="2891481" y="1365421"/>
                  </a:cubicBezTo>
                  <a:lnTo>
                    <a:pt x="2891481" y="562232"/>
                  </a:lnTo>
                  <a:cubicBezTo>
                    <a:pt x="2891481" y="473680"/>
                    <a:pt x="2819394" y="401594"/>
                    <a:pt x="2730843" y="401594"/>
                  </a:cubicBezTo>
                  <a:cubicBezTo>
                    <a:pt x="2642291" y="401594"/>
                    <a:pt x="2570205" y="473680"/>
                    <a:pt x="2570205" y="562232"/>
                  </a:cubicBezTo>
                  <a:lnTo>
                    <a:pt x="2570205" y="1526059"/>
                  </a:lnTo>
                  <a:cubicBezTo>
                    <a:pt x="2570205" y="1747471"/>
                    <a:pt x="2390023" y="1927654"/>
                    <a:pt x="2168610" y="1927654"/>
                  </a:cubicBezTo>
                  <a:cubicBezTo>
                    <a:pt x="1947198" y="1927654"/>
                    <a:pt x="1767016" y="1747471"/>
                    <a:pt x="1767016" y="1526059"/>
                  </a:cubicBezTo>
                  <a:lnTo>
                    <a:pt x="1767016" y="722870"/>
                  </a:lnTo>
                  <a:cubicBezTo>
                    <a:pt x="1767016" y="634318"/>
                    <a:pt x="1694929" y="562232"/>
                    <a:pt x="1606378" y="562232"/>
                  </a:cubicBezTo>
                  <a:cubicBezTo>
                    <a:pt x="1517826" y="562232"/>
                    <a:pt x="1445740" y="634318"/>
                    <a:pt x="1445740" y="722870"/>
                  </a:cubicBezTo>
                  <a:lnTo>
                    <a:pt x="1445740" y="1044145"/>
                  </a:lnTo>
                  <a:cubicBezTo>
                    <a:pt x="1445740" y="1265558"/>
                    <a:pt x="1265558" y="1445740"/>
                    <a:pt x="1044145" y="1445740"/>
                  </a:cubicBezTo>
                  <a:lnTo>
                    <a:pt x="0" y="1445740"/>
                  </a:lnTo>
                  <a:lnTo>
                    <a:pt x="0" y="1204783"/>
                  </a:lnTo>
                  <a:lnTo>
                    <a:pt x="1044145" y="1204783"/>
                  </a:lnTo>
                  <a:cubicBezTo>
                    <a:pt x="1132697" y="1204783"/>
                    <a:pt x="1204783" y="1132697"/>
                    <a:pt x="1204783" y="1044145"/>
                  </a:cubicBezTo>
                  <a:lnTo>
                    <a:pt x="1204783" y="722870"/>
                  </a:lnTo>
                  <a:cubicBezTo>
                    <a:pt x="1204783" y="501457"/>
                    <a:pt x="1384965" y="321275"/>
                    <a:pt x="1606378" y="321275"/>
                  </a:cubicBezTo>
                  <a:cubicBezTo>
                    <a:pt x="1827790" y="321275"/>
                    <a:pt x="2007972" y="501457"/>
                    <a:pt x="2007972" y="722870"/>
                  </a:cubicBezTo>
                  <a:lnTo>
                    <a:pt x="2007972" y="1526059"/>
                  </a:lnTo>
                  <a:cubicBezTo>
                    <a:pt x="2007972" y="1614611"/>
                    <a:pt x="2080059" y="1686697"/>
                    <a:pt x="2168610" y="1686697"/>
                  </a:cubicBezTo>
                  <a:cubicBezTo>
                    <a:pt x="2257162" y="1686697"/>
                    <a:pt x="2329248" y="1614611"/>
                    <a:pt x="2329248" y="1526059"/>
                  </a:cubicBezTo>
                  <a:lnTo>
                    <a:pt x="2329248" y="562232"/>
                  </a:lnTo>
                  <a:cubicBezTo>
                    <a:pt x="2329248" y="340819"/>
                    <a:pt x="2509430" y="160637"/>
                    <a:pt x="2730843" y="160637"/>
                  </a:cubicBezTo>
                  <a:cubicBezTo>
                    <a:pt x="2952255" y="160637"/>
                    <a:pt x="3132437" y="340819"/>
                    <a:pt x="3132437" y="562232"/>
                  </a:cubicBezTo>
                  <a:lnTo>
                    <a:pt x="3132437" y="1365421"/>
                  </a:lnTo>
                  <a:cubicBezTo>
                    <a:pt x="3132437" y="1453973"/>
                    <a:pt x="3204524" y="1526059"/>
                    <a:pt x="3293075" y="1526059"/>
                  </a:cubicBezTo>
                  <a:cubicBezTo>
                    <a:pt x="3381627" y="1526059"/>
                    <a:pt x="3453713" y="1453973"/>
                    <a:pt x="3453713" y="1365421"/>
                  </a:cubicBezTo>
                  <a:lnTo>
                    <a:pt x="3453713" y="401594"/>
                  </a:lnTo>
                  <a:cubicBezTo>
                    <a:pt x="3453713" y="180182"/>
                    <a:pt x="3633895" y="0"/>
                    <a:pt x="3855308" y="0"/>
                  </a:cubicBezTo>
                  <a:cubicBezTo>
                    <a:pt x="4076720" y="0"/>
                    <a:pt x="4256902" y="180182"/>
                    <a:pt x="4256902" y="401594"/>
                  </a:cubicBezTo>
                  <a:lnTo>
                    <a:pt x="4256902" y="1204783"/>
                  </a:lnTo>
                  <a:cubicBezTo>
                    <a:pt x="4256902" y="1293335"/>
                    <a:pt x="4328988" y="1365421"/>
                    <a:pt x="4417540" y="1365421"/>
                  </a:cubicBezTo>
                  <a:cubicBezTo>
                    <a:pt x="4506092" y="1365421"/>
                    <a:pt x="4578178" y="1293335"/>
                    <a:pt x="4578178" y="1204783"/>
                  </a:cubicBezTo>
                  <a:lnTo>
                    <a:pt x="4578178" y="803189"/>
                  </a:lnTo>
                  <a:cubicBezTo>
                    <a:pt x="4578178" y="581776"/>
                    <a:pt x="4758360" y="401594"/>
                    <a:pt x="4979772" y="401594"/>
                  </a:cubicBezTo>
                  <a:lnTo>
                    <a:pt x="5540867" y="401594"/>
                  </a:lnTo>
                  <a:lnTo>
                    <a:pt x="5348102" y="257020"/>
                  </a:lnTo>
                  <a:cubicBezTo>
                    <a:pt x="5294890" y="217128"/>
                    <a:pt x="5284114" y="141562"/>
                    <a:pt x="5324006" y="88350"/>
                  </a:cubicBezTo>
                  <a:cubicBezTo>
                    <a:pt x="5363965" y="35139"/>
                    <a:pt x="5439464" y="24363"/>
                    <a:pt x="5492676" y="64255"/>
                  </a:cubicBezTo>
                  <a:lnTo>
                    <a:pt x="5974589" y="425690"/>
                  </a:lnTo>
                  <a:cubicBezTo>
                    <a:pt x="6004910" y="448447"/>
                    <a:pt x="6022781" y="484122"/>
                    <a:pt x="6022781" y="522072"/>
                  </a:cubicBezTo>
                  <a:close/>
                </a:path>
              </a:pathLst>
            </a:custGeom>
            <a:solidFill>
              <a:srgbClr val="464646"/>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53" name="Rounded Rectangle 2">
              <a:extLst>
                <a:ext uri="{FF2B5EF4-FFF2-40B4-BE49-F238E27FC236}">
                  <a16:creationId xmlns:a16="http://schemas.microsoft.com/office/drawing/2014/main" id="{699E778B-AC3B-6338-30E7-2CFF38A33D2A}"/>
                </a:ext>
              </a:extLst>
            </p:cNvPr>
            <p:cNvSpPr/>
            <p:nvPr/>
          </p:nvSpPr>
          <p:spPr>
            <a:xfrm>
              <a:off x="167331" y="2168610"/>
              <a:ext cx="6022781" cy="1927654"/>
            </a:xfrm>
            <a:custGeom>
              <a:avLst/>
              <a:gdLst/>
              <a:ahLst/>
              <a:cxnLst/>
              <a:rect l="0" t="0" r="0" b="0"/>
              <a:pathLst>
                <a:path w="6022781" h="1927654">
                  <a:moveTo>
                    <a:pt x="6022781" y="522072"/>
                  </a:moveTo>
                  <a:cubicBezTo>
                    <a:pt x="6022781" y="560023"/>
                    <a:pt x="6004910" y="595698"/>
                    <a:pt x="5974589" y="618455"/>
                  </a:cubicBezTo>
                  <a:lnTo>
                    <a:pt x="5492676" y="979890"/>
                  </a:lnTo>
                  <a:cubicBezTo>
                    <a:pt x="5439441" y="1019816"/>
                    <a:pt x="5363987" y="1009103"/>
                    <a:pt x="5324006" y="955795"/>
                  </a:cubicBezTo>
                  <a:cubicBezTo>
                    <a:pt x="5284114" y="902583"/>
                    <a:pt x="5294890" y="827017"/>
                    <a:pt x="5348102" y="787125"/>
                  </a:cubicBezTo>
                  <a:lnTo>
                    <a:pt x="5540867" y="642551"/>
                  </a:lnTo>
                  <a:lnTo>
                    <a:pt x="4979772" y="642551"/>
                  </a:lnTo>
                  <a:cubicBezTo>
                    <a:pt x="4891221" y="642551"/>
                    <a:pt x="4819135" y="714637"/>
                    <a:pt x="4819135" y="803189"/>
                  </a:cubicBezTo>
                  <a:lnTo>
                    <a:pt x="4819135" y="1204783"/>
                  </a:lnTo>
                  <a:cubicBezTo>
                    <a:pt x="4819135" y="1426196"/>
                    <a:pt x="4638953" y="1606378"/>
                    <a:pt x="4417540" y="1606378"/>
                  </a:cubicBezTo>
                  <a:cubicBezTo>
                    <a:pt x="4196128" y="1606378"/>
                    <a:pt x="4015945" y="1426196"/>
                    <a:pt x="4015945" y="1204783"/>
                  </a:cubicBezTo>
                  <a:lnTo>
                    <a:pt x="4015945" y="401594"/>
                  </a:lnTo>
                  <a:cubicBezTo>
                    <a:pt x="4015945" y="313042"/>
                    <a:pt x="3943859" y="240956"/>
                    <a:pt x="3855308" y="240956"/>
                  </a:cubicBezTo>
                  <a:cubicBezTo>
                    <a:pt x="3766756" y="240956"/>
                    <a:pt x="3694670" y="313042"/>
                    <a:pt x="3694670" y="401594"/>
                  </a:cubicBezTo>
                  <a:lnTo>
                    <a:pt x="3694670" y="1365421"/>
                  </a:lnTo>
                  <a:cubicBezTo>
                    <a:pt x="3694670" y="1586834"/>
                    <a:pt x="3514488" y="1767016"/>
                    <a:pt x="3293075" y="1767016"/>
                  </a:cubicBezTo>
                  <a:cubicBezTo>
                    <a:pt x="3071663" y="1767016"/>
                    <a:pt x="2891481" y="1586834"/>
                    <a:pt x="2891481" y="1365421"/>
                  </a:cubicBezTo>
                  <a:lnTo>
                    <a:pt x="2891481" y="562232"/>
                  </a:lnTo>
                  <a:cubicBezTo>
                    <a:pt x="2891481" y="473680"/>
                    <a:pt x="2819394" y="401594"/>
                    <a:pt x="2730843" y="401594"/>
                  </a:cubicBezTo>
                  <a:cubicBezTo>
                    <a:pt x="2642291" y="401594"/>
                    <a:pt x="2570205" y="473680"/>
                    <a:pt x="2570205" y="562232"/>
                  </a:cubicBezTo>
                  <a:lnTo>
                    <a:pt x="2570205" y="1526059"/>
                  </a:lnTo>
                  <a:cubicBezTo>
                    <a:pt x="2570205" y="1747471"/>
                    <a:pt x="2390023" y="1927654"/>
                    <a:pt x="2168610" y="1927654"/>
                  </a:cubicBezTo>
                  <a:cubicBezTo>
                    <a:pt x="1947198" y="1927654"/>
                    <a:pt x="1767016" y="1747471"/>
                    <a:pt x="1767016" y="1526059"/>
                  </a:cubicBezTo>
                  <a:lnTo>
                    <a:pt x="1767016" y="722870"/>
                  </a:lnTo>
                  <a:cubicBezTo>
                    <a:pt x="1767016" y="634318"/>
                    <a:pt x="1694929" y="562232"/>
                    <a:pt x="1606378" y="562232"/>
                  </a:cubicBezTo>
                  <a:cubicBezTo>
                    <a:pt x="1517826" y="562232"/>
                    <a:pt x="1445740" y="634318"/>
                    <a:pt x="1445740" y="722870"/>
                  </a:cubicBezTo>
                  <a:lnTo>
                    <a:pt x="1445740" y="1044145"/>
                  </a:lnTo>
                  <a:cubicBezTo>
                    <a:pt x="1445740" y="1265558"/>
                    <a:pt x="1265558" y="1445740"/>
                    <a:pt x="1044145" y="1445740"/>
                  </a:cubicBezTo>
                  <a:lnTo>
                    <a:pt x="0" y="1445740"/>
                  </a:lnTo>
                  <a:lnTo>
                    <a:pt x="0" y="1204783"/>
                  </a:lnTo>
                  <a:lnTo>
                    <a:pt x="1044145" y="1204783"/>
                  </a:lnTo>
                  <a:cubicBezTo>
                    <a:pt x="1132697" y="1204783"/>
                    <a:pt x="1204783" y="1132697"/>
                    <a:pt x="1204783" y="1044145"/>
                  </a:cubicBezTo>
                  <a:lnTo>
                    <a:pt x="1204783" y="722870"/>
                  </a:lnTo>
                  <a:cubicBezTo>
                    <a:pt x="1204783" y="501457"/>
                    <a:pt x="1384965" y="321275"/>
                    <a:pt x="1606378" y="321275"/>
                  </a:cubicBezTo>
                  <a:cubicBezTo>
                    <a:pt x="1827790" y="321275"/>
                    <a:pt x="2007972" y="501457"/>
                    <a:pt x="2007972" y="722870"/>
                  </a:cubicBezTo>
                  <a:lnTo>
                    <a:pt x="2007972" y="1526059"/>
                  </a:lnTo>
                  <a:cubicBezTo>
                    <a:pt x="2007972" y="1614611"/>
                    <a:pt x="2080059" y="1686697"/>
                    <a:pt x="2168610" y="1686697"/>
                  </a:cubicBezTo>
                  <a:cubicBezTo>
                    <a:pt x="2257162" y="1686697"/>
                    <a:pt x="2329248" y="1614611"/>
                    <a:pt x="2329248" y="1526059"/>
                  </a:cubicBezTo>
                  <a:lnTo>
                    <a:pt x="2329248" y="562232"/>
                  </a:lnTo>
                  <a:cubicBezTo>
                    <a:pt x="2329248" y="340819"/>
                    <a:pt x="2509430" y="160637"/>
                    <a:pt x="2730843" y="160637"/>
                  </a:cubicBezTo>
                  <a:cubicBezTo>
                    <a:pt x="2952255" y="160637"/>
                    <a:pt x="3132437" y="340819"/>
                    <a:pt x="3132437" y="562232"/>
                  </a:cubicBezTo>
                  <a:lnTo>
                    <a:pt x="3132437" y="1365421"/>
                  </a:lnTo>
                  <a:cubicBezTo>
                    <a:pt x="3132437" y="1453973"/>
                    <a:pt x="3204524" y="1526059"/>
                    <a:pt x="3293075" y="1526059"/>
                  </a:cubicBezTo>
                  <a:cubicBezTo>
                    <a:pt x="3381627" y="1526059"/>
                    <a:pt x="3453713" y="1453973"/>
                    <a:pt x="3453713" y="1365421"/>
                  </a:cubicBezTo>
                  <a:lnTo>
                    <a:pt x="3453713" y="401594"/>
                  </a:lnTo>
                  <a:cubicBezTo>
                    <a:pt x="3453713" y="180182"/>
                    <a:pt x="3633895" y="0"/>
                    <a:pt x="3855308" y="0"/>
                  </a:cubicBezTo>
                  <a:cubicBezTo>
                    <a:pt x="4076720" y="0"/>
                    <a:pt x="4256902" y="180182"/>
                    <a:pt x="4256902" y="401594"/>
                  </a:cubicBezTo>
                  <a:lnTo>
                    <a:pt x="4256902" y="1204783"/>
                  </a:lnTo>
                  <a:cubicBezTo>
                    <a:pt x="4256902" y="1293335"/>
                    <a:pt x="4328988" y="1365421"/>
                    <a:pt x="4417540" y="1365421"/>
                  </a:cubicBezTo>
                  <a:cubicBezTo>
                    <a:pt x="4506092" y="1365421"/>
                    <a:pt x="4578178" y="1293335"/>
                    <a:pt x="4578178" y="1204783"/>
                  </a:cubicBezTo>
                  <a:lnTo>
                    <a:pt x="4578178" y="803189"/>
                  </a:lnTo>
                  <a:cubicBezTo>
                    <a:pt x="4578178" y="581776"/>
                    <a:pt x="4758360" y="401594"/>
                    <a:pt x="4979772" y="401594"/>
                  </a:cubicBezTo>
                  <a:lnTo>
                    <a:pt x="5540867" y="401594"/>
                  </a:lnTo>
                  <a:lnTo>
                    <a:pt x="5348102" y="257020"/>
                  </a:lnTo>
                  <a:cubicBezTo>
                    <a:pt x="5294890" y="217128"/>
                    <a:pt x="5284114" y="141562"/>
                    <a:pt x="5324006" y="88350"/>
                  </a:cubicBezTo>
                  <a:cubicBezTo>
                    <a:pt x="5363965" y="35139"/>
                    <a:pt x="5439464" y="24363"/>
                    <a:pt x="5492676" y="64255"/>
                  </a:cubicBezTo>
                  <a:lnTo>
                    <a:pt x="5974589" y="425690"/>
                  </a:lnTo>
                  <a:cubicBezTo>
                    <a:pt x="6004910" y="448447"/>
                    <a:pt x="6022781" y="484122"/>
                    <a:pt x="6022781" y="522072"/>
                  </a:cubicBezTo>
                  <a:close/>
                </a:path>
              </a:pathLst>
            </a:custGeom>
            <a:noFill/>
            <a:ln w="5019">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sp>
        <p:nvSpPr>
          <p:cNvPr id="19" name="Rounded Rectangle 4">
            <a:extLst>
              <a:ext uri="{FF2B5EF4-FFF2-40B4-BE49-F238E27FC236}">
                <a16:creationId xmlns:a16="http://schemas.microsoft.com/office/drawing/2014/main" id="{96B8DC7F-E415-B018-9A7F-4382F3F3BD99}"/>
              </a:ext>
            </a:extLst>
          </p:cNvPr>
          <p:cNvSpPr/>
          <p:nvPr/>
        </p:nvSpPr>
        <p:spPr>
          <a:xfrm>
            <a:off x="1746917" y="4609940"/>
            <a:ext cx="5542005" cy="1686697"/>
          </a:xfrm>
          <a:custGeom>
            <a:avLst/>
            <a:gdLst/>
            <a:ahLst/>
            <a:cxnLst/>
            <a:rect l="0" t="0" r="0" b="0"/>
            <a:pathLst>
              <a:path w="5542005" h="1686697">
                <a:moveTo>
                  <a:pt x="5542005" y="401594"/>
                </a:moveTo>
                <a:lnTo>
                  <a:pt x="4979772" y="401594"/>
                </a:lnTo>
                <a:cubicBezTo>
                  <a:pt x="4824516" y="401594"/>
                  <a:pt x="4698656" y="527454"/>
                  <a:pt x="4698656" y="682710"/>
                </a:cubicBezTo>
                <a:lnTo>
                  <a:pt x="4698656" y="1084305"/>
                </a:lnTo>
                <a:cubicBezTo>
                  <a:pt x="4698656" y="1239561"/>
                  <a:pt x="4572797" y="1365421"/>
                  <a:pt x="4417540" y="1365421"/>
                </a:cubicBezTo>
                <a:cubicBezTo>
                  <a:pt x="4262284" y="1365421"/>
                  <a:pt x="4136424" y="1239561"/>
                  <a:pt x="4136424" y="1084305"/>
                </a:cubicBezTo>
                <a:lnTo>
                  <a:pt x="4136424" y="281116"/>
                </a:lnTo>
                <a:cubicBezTo>
                  <a:pt x="4136424" y="125859"/>
                  <a:pt x="4010564" y="0"/>
                  <a:pt x="3855308" y="0"/>
                </a:cubicBezTo>
                <a:cubicBezTo>
                  <a:pt x="3700051" y="0"/>
                  <a:pt x="3574191" y="125859"/>
                  <a:pt x="3574191" y="281116"/>
                </a:cubicBezTo>
                <a:lnTo>
                  <a:pt x="3574191" y="1244943"/>
                </a:lnTo>
                <a:cubicBezTo>
                  <a:pt x="3574191" y="1400199"/>
                  <a:pt x="3448332" y="1526059"/>
                  <a:pt x="3293075" y="1526059"/>
                </a:cubicBezTo>
                <a:cubicBezTo>
                  <a:pt x="3137819" y="1526059"/>
                  <a:pt x="3011959" y="1400199"/>
                  <a:pt x="3011959" y="1244943"/>
                </a:cubicBezTo>
                <a:lnTo>
                  <a:pt x="3011959" y="441754"/>
                </a:lnTo>
                <a:cubicBezTo>
                  <a:pt x="3011959" y="286497"/>
                  <a:pt x="2886099" y="160637"/>
                  <a:pt x="2730843" y="160637"/>
                </a:cubicBezTo>
                <a:cubicBezTo>
                  <a:pt x="2575586" y="160637"/>
                  <a:pt x="2449727" y="286497"/>
                  <a:pt x="2449727" y="441754"/>
                </a:cubicBezTo>
                <a:lnTo>
                  <a:pt x="2449727" y="1405581"/>
                </a:lnTo>
                <a:cubicBezTo>
                  <a:pt x="2449727" y="1560837"/>
                  <a:pt x="2323867" y="1686697"/>
                  <a:pt x="2168610" y="1686697"/>
                </a:cubicBezTo>
                <a:cubicBezTo>
                  <a:pt x="2013354" y="1686697"/>
                  <a:pt x="1887494" y="1560837"/>
                  <a:pt x="1887494" y="1405581"/>
                </a:cubicBezTo>
                <a:lnTo>
                  <a:pt x="1887494" y="602391"/>
                </a:lnTo>
                <a:cubicBezTo>
                  <a:pt x="1887494" y="447135"/>
                  <a:pt x="1761634" y="321275"/>
                  <a:pt x="1606378" y="321275"/>
                </a:cubicBezTo>
                <a:cubicBezTo>
                  <a:pt x="1451121" y="321275"/>
                  <a:pt x="1325262" y="447135"/>
                  <a:pt x="1325262" y="602391"/>
                </a:cubicBezTo>
                <a:lnTo>
                  <a:pt x="1325262" y="923667"/>
                </a:lnTo>
                <a:cubicBezTo>
                  <a:pt x="1325262" y="1078924"/>
                  <a:pt x="1199402" y="1204783"/>
                  <a:pt x="1044145" y="1204783"/>
                </a:cubicBezTo>
                <a:lnTo>
                  <a:pt x="0" y="1204783"/>
                </a:lnTo>
              </a:path>
            </a:pathLst>
          </a:custGeom>
          <a:noFill/>
          <a:ln w="5019">
            <a:solidFill>
              <a:srgbClr val="464646"/>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nvGrpSpPr>
          <p:cNvPr id="20" name="Group 19">
            <a:extLst>
              <a:ext uri="{FF2B5EF4-FFF2-40B4-BE49-F238E27FC236}">
                <a16:creationId xmlns:a16="http://schemas.microsoft.com/office/drawing/2014/main" id="{E1F894F2-6F51-1A63-620C-B0427E513067}"/>
              </a:ext>
            </a:extLst>
          </p:cNvPr>
          <p:cNvGrpSpPr/>
          <p:nvPr/>
        </p:nvGrpSpPr>
        <p:grpSpPr>
          <a:xfrm>
            <a:off x="6050672" y="5540301"/>
            <a:ext cx="227034" cy="299790"/>
            <a:chOff x="4471086" y="3219450"/>
            <a:chExt cx="227034" cy="299790"/>
          </a:xfrm>
        </p:grpSpPr>
        <p:sp>
          <p:nvSpPr>
            <p:cNvPr id="50" name="Rounded Rectangle 5">
              <a:extLst>
                <a:ext uri="{FF2B5EF4-FFF2-40B4-BE49-F238E27FC236}">
                  <a16:creationId xmlns:a16="http://schemas.microsoft.com/office/drawing/2014/main" id="{3AABA4CA-6160-931C-44D5-B22709D7E1E7}"/>
                </a:ext>
              </a:extLst>
            </p:cNvPr>
            <p:cNvSpPr/>
            <p:nvPr/>
          </p:nvSpPr>
          <p:spPr>
            <a:xfrm>
              <a:off x="4471086" y="3219450"/>
              <a:ext cx="227034" cy="299790"/>
            </a:xfrm>
            <a:custGeom>
              <a:avLst/>
              <a:gdLst/>
              <a:ahLst/>
              <a:cxnLst/>
              <a:rect l="0" t="0" r="0" b="0"/>
              <a:pathLst>
                <a:path w="227034" h="299790">
                  <a:moveTo>
                    <a:pt x="150999" y="113450"/>
                  </a:moveTo>
                  <a:cubicBezTo>
                    <a:pt x="150999" y="134199"/>
                    <a:pt x="134132" y="150999"/>
                    <a:pt x="113450" y="150999"/>
                  </a:cubicBezTo>
                  <a:cubicBezTo>
                    <a:pt x="92768" y="150999"/>
                    <a:pt x="75968" y="134199"/>
                    <a:pt x="75968" y="113450"/>
                  </a:cubicBezTo>
                  <a:cubicBezTo>
                    <a:pt x="75968" y="92701"/>
                    <a:pt x="92768" y="75901"/>
                    <a:pt x="113450" y="75901"/>
                  </a:cubicBezTo>
                  <a:cubicBezTo>
                    <a:pt x="134199" y="75901"/>
                    <a:pt x="150999" y="92701"/>
                    <a:pt x="150999" y="113450"/>
                  </a:cubicBezTo>
                  <a:close/>
                  <a:moveTo>
                    <a:pt x="227034" y="113383"/>
                  </a:moveTo>
                  <a:cubicBezTo>
                    <a:pt x="227034" y="160102"/>
                    <a:pt x="198789" y="200194"/>
                    <a:pt x="158496" y="217597"/>
                  </a:cubicBezTo>
                  <a:lnTo>
                    <a:pt x="113517" y="299790"/>
                  </a:lnTo>
                  <a:lnTo>
                    <a:pt x="68538" y="217664"/>
                  </a:lnTo>
                  <a:cubicBezTo>
                    <a:pt x="28245" y="200261"/>
                    <a:pt x="0" y="160169"/>
                    <a:pt x="0" y="113450"/>
                  </a:cubicBezTo>
                  <a:cubicBezTo>
                    <a:pt x="0" y="50801"/>
                    <a:pt x="50734" y="0"/>
                    <a:pt x="113450" y="0"/>
                  </a:cubicBezTo>
                  <a:cubicBezTo>
                    <a:pt x="176166" y="0"/>
                    <a:pt x="226967" y="50801"/>
                    <a:pt x="226967" y="113450"/>
                  </a:cubicBezTo>
                  <a:close/>
                  <a:moveTo>
                    <a:pt x="183997" y="113450"/>
                  </a:moveTo>
                  <a:cubicBezTo>
                    <a:pt x="183997" y="74495"/>
                    <a:pt x="152338" y="42970"/>
                    <a:pt x="113450" y="42970"/>
                  </a:cubicBezTo>
                  <a:cubicBezTo>
                    <a:pt x="74562" y="42970"/>
                    <a:pt x="42970" y="74495"/>
                    <a:pt x="42970" y="113450"/>
                  </a:cubicBezTo>
                  <a:cubicBezTo>
                    <a:pt x="42970" y="152405"/>
                    <a:pt x="74562" y="183997"/>
                    <a:pt x="113450" y="183997"/>
                  </a:cubicBezTo>
                  <a:cubicBezTo>
                    <a:pt x="152405" y="183997"/>
                    <a:pt x="183997" y="152405"/>
                    <a:pt x="183997" y="113450"/>
                  </a:cubicBez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51" name="Rounded Rectangle 6">
              <a:extLst>
                <a:ext uri="{FF2B5EF4-FFF2-40B4-BE49-F238E27FC236}">
                  <a16:creationId xmlns:a16="http://schemas.microsoft.com/office/drawing/2014/main" id="{1D101536-961B-0FFA-B8AC-D2662CEDF772}"/>
                </a:ext>
              </a:extLst>
            </p:cNvPr>
            <p:cNvSpPr/>
            <p:nvPr/>
          </p:nvSpPr>
          <p:spPr>
            <a:xfrm>
              <a:off x="4471086" y="3219450"/>
              <a:ext cx="227034" cy="299790"/>
            </a:xfrm>
            <a:custGeom>
              <a:avLst/>
              <a:gdLst/>
              <a:ahLst/>
              <a:cxnLst/>
              <a:rect l="0" t="0" r="0" b="0"/>
              <a:pathLst>
                <a:path w="227034" h="299790">
                  <a:moveTo>
                    <a:pt x="150999" y="113450"/>
                  </a:moveTo>
                  <a:cubicBezTo>
                    <a:pt x="150999" y="134199"/>
                    <a:pt x="134132" y="150999"/>
                    <a:pt x="113450" y="150999"/>
                  </a:cubicBezTo>
                  <a:cubicBezTo>
                    <a:pt x="92768" y="150999"/>
                    <a:pt x="75968" y="134199"/>
                    <a:pt x="75968" y="113450"/>
                  </a:cubicBezTo>
                  <a:cubicBezTo>
                    <a:pt x="75968" y="92701"/>
                    <a:pt x="92768" y="75901"/>
                    <a:pt x="113450" y="75901"/>
                  </a:cubicBezTo>
                  <a:cubicBezTo>
                    <a:pt x="134199" y="75901"/>
                    <a:pt x="150999" y="92701"/>
                    <a:pt x="150999" y="113450"/>
                  </a:cubicBezTo>
                  <a:close/>
                  <a:moveTo>
                    <a:pt x="227034" y="113383"/>
                  </a:moveTo>
                  <a:cubicBezTo>
                    <a:pt x="227034" y="160102"/>
                    <a:pt x="198789" y="200194"/>
                    <a:pt x="158496" y="217597"/>
                  </a:cubicBezTo>
                  <a:lnTo>
                    <a:pt x="113517" y="299790"/>
                  </a:lnTo>
                  <a:lnTo>
                    <a:pt x="68538" y="217664"/>
                  </a:lnTo>
                  <a:cubicBezTo>
                    <a:pt x="28245" y="200261"/>
                    <a:pt x="0" y="160169"/>
                    <a:pt x="0" y="113450"/>
                  </a:cubicBezTo>
                  <a:cubicBezTo>
                    <a:pt x="0" y="50801"/>
                    <a:pt x="50734" y="0"/>
                    <a:pt x="113450" y="0"/>
                  </a:cubicBezTo>
                  <a:cubicBezTo>
                    <a:pt x="176166" y="0"/>
                    <a:pt x="226967" y="50801"/>
                    <a:pt x="226967" y="113450"/>
                  </a:cubicBezTo>
                  <a:close/>
                  <a:moveTo>
                    <a:pt x="183997" y="113450"/>
                  </a:moveTo>
                  <a:cubicBezTo>
                    <a:pt x="183997" y="74495"/>
                    <a:pt x="152338" y="42970"/>
                    <a:pt x="113450" y="42970"/>
                  </a:cubicBezTo>
                  <a:cubicBezTo>
                    <a:pt x="74562" y="42970"/>
                    <a:pt x="42970" y="74495"/>
                    <a:pt x="42970" y="113450"/>
                  </a:cubicBezTo>
                  <a:cubicBezTo>
                    <a:pt x="42970" y="152405"/>
                    <a:pt x="74562" y="183997"/>
                    <a:pt x="113450" y="183997"/>
                  </a:cubicBezTo>
                  <a:cubicBezTo>
                    <a:pt x="152405" y="183997"/>
                    <a:pt x="183997" y="152405"/>
                    <a:pt x="183997" y="113450"/>
                  </a:cubicBezTo>
                  <a:close/>
                </a:path>
              </a:pathLst>
            </a:custGeom>
            <a:noFill/>
            <a:ln w="5019">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21" name="Group 20">
            <a:extLst>
              <a:ext uri="{FF2B5EF4-FFF2-40B4-BE49-F238E27FC236}">
                <a16:creationId xmlns:a16="http://schemas.microsoft.com/office/drawing/2014/main" id="{322079C4-D7E4-7651-E863-D869FF387802}"/>
              </a:ext>
            </a:extLst>
          </p:cNvPr>
          <p:cNvGrpSpPr/>
          <p:nvPr/>
        </p:nvGrpSpPr>
        <p:grpSpPr>
          <a:xfrm>
            <a:off x="5488440" y="4174879"/>
            <a:ext cx="227034" cy="307889"/>
            <a:chOff x="3908854" y="1854028"/>
            <a:chExt cx="227034" cy="307889"/>
          </a:xfrm>
        </p:grpSpPr>
        <p:sp>
          <p:nvSpPr>
            <p:cNvPr id="48" name="Rounded Rectangle 8">
              <a:extLst>
                <a:ext uri="{FF2B5EF4-FFF2-40B4-BE49-F238E27FC236}">
                  <a16:creationId xmlns:a16="http://schemas.microsoft.com/office/drawing/2014/main" id="{774DCEF9-9741-1C0D-1689-D39BAC57AD59}"/>
                </a:ext>
              </a:extLst>
            </p:cNvPr>
            <p:cNvSpPr/>
            <p:nvPr/>
          </p:nvSpPr>
          <p:spPr>
            <a:xfrm>
              <a:off x="3908854" y="1854028"/>
              <a:ext cx="227034" cy="307889"/>
            </a:xfrm>
            <a:custGeom>
              <a:avLst/>
              <a:gdLst/>
              <a:ahLst/>
              <a:cxnLst/>
              <a:rect l="0" t="0" r="0" b="0"/>
              <a:pathLst>
                <a:path w="227034" h="307889">
                  <a:moveTo>
                    <a:pt x="150999" y="116515"/>
                  </a:moveTo>
                  <a:cubicBezTo>
                    <a:pt x="150999" y="137824"/>
                    <a:pt x="134132" y="155078"/>
                    <a:pt x="113450" y="155078"/>
                  </a:cubicBezTo>
                  <a:cubicBezTo>
                    <a:pt x="92768" y="155078"/>
                    <a:pt x="75968" y="137824"/>
                    <a:pt x="75968" y="116515"/>
                  </a:cubicBezTo>
                  <a:cubicBezTo>
                    <a:pt x="75968" y="95205"/>
                    <a:pt x="92768" y="77951"/>
                    <a:pt x="113450" y="77951"/>
                  </a:cubicBezTo>
                  <a:cubicBezTo>
                    <a:pt x="134199" y="77951"/>
                    <a:pt x="150999" y="95205"/>
                    <a:pt x="150999" y="116515"/>
                  </a:cubicBezTo>
                  <a:close/>
                  <a:moveTo>
                    <a:pt x="227034" y="116446"/>
                  </a:moveTo>
                  <a:cubicBezTo>
                    <a:pt x="227034" y="164427"/>
                    <a:pt x="198789" y="205603"/>
                    <a:pt x="158496" y="223475"/>
                  </a:cubicBezTo>
                  <a:lnTo>
                    <a:pt x="113517" y="307889"/>
                  </a:lnTo>
                  <a:lnTo>
                    <a:pt x="68538" y="223544"/>
                  </a:lnTo>
                  <a:cubicBezTo>
                    <a:pt x="28245" y="205671"/>
                    <a:pt x="0" y="164496"/>
                    <a:pt x="0" y="116515"/>
                  </a:cubicBezTo>
                  <a:cubicBezTo>
                    <a:pt x="0" y="52174"/>
                    <a:pt x="50734" y="0"/>
                    <a:pt x="113450" y="0"/>
                  </a:cubicBezTo>
                  <a:cubicBezTo>
                    <a:pt x="176166" y="0"/>
                    <a:pt x="226967" y="52174"/>
                    <a:pt x="226967" y="116515"/>
                  </a:cubicBezTo>
                  <a:close/>
                  <a:moveTo>
                    <a:pt x="183997" y="116515"/>
                  </a:moveTo>
                  <a:cubicBezTo>
                    <a:pt x="183997" y="76508"/>
                    <a:pt x="152338" y="44131"/>
                    <a:pt x="113450" y="44131"/>
                  </a:cubicBezTo>
                  <a:cubicBezTo>
                    <a:pt x="74562" y="44131"/>
                    <a:pt x="42970" y="76508"/>
                    <a:pt x="42970" y="116515"/>
                  </a:cubicBezTo>
                  <a:cubicBezTo>
                    <a:pt x="42970" y="156522"/>
                    <a:pt x="74562" y="188967"/>
                    <a:pt x="113450" y="188967"/>
                  </a:cubicBezTo>
                  <a:cubicBezTo>
                    <a:pt x="152405" y="188967"/>
                    <a:pt x="183997" y="156522"/>
                    <a:pt x="183997" y="116515"/>
                  </a:cubicBezTo>
                  <a:close/>
                </a:path>
              </a:pathLst>
            </a:custGeom>
            <a:solidFill>
              <a:srgbClr val="FFA63C"/>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49" name="Rounded Rectangle 9">
              <a:extLst>
                <a:ext uri="{FF2B5EF4-FFF2-40B4-BE49-F238E27FC236}">
                  <a16:creationId xmlns:a16="http://schemas.microsoft.com/office/drawing/2014/main" id="{227C5CE5-E008-3969-A04E-A96A3C60B490}"/>
                </a:ext>
              </a:extLst>
            </p:cNvPr>
            <p:cNvSpPr/>
            <p:nvPr/>
          </p:nvSpPr>
          <p:spPr>
            <a:xfrm>
              <a:off x="3908854" y="1854028"/>
              <a:ext cx="227034" cy="307889"/>
            </a:xfrm>
            <a:custGeom>
              <a:avLst/>
              <a:gdLst/>
              <a:ahLst/>
              <a:cxnLst/>
              <a:rect l="0" t="0" r="0" b="0"/>
              <a:pathLst>
                <a:path w="227034" h="307889">
                  <a:moveTo>
                    <a:pt x="150999" y="116515"/>
                  </a:moveTo>
                  <a:cubicBezTo>
                    <a:pt x="150999" y="137824"/>
                    <a:pt x="134132" y="155078"/>
                    <a:pt x="113450" y="155078"/>
                  </a:cubicBezTo>
                  <a:cubicBezTo>
                    <a:pt x="92768" y="155078"/>
                    <a:pt x="75968" y="137824"/>
                    <a:pt x="75968" y="116515"/>
                  </a:cubicBezTo>
                  <a:cubicBezTo>
                    <a:pt x="75968" y="95205"/>
                    <a:pt x="92768" y="77951"/>
                    <a:pt x="113450" y="77951"/>
                  </a:cubicBezTo>
                  <a:cubicBezTo>
                    <a:pt x="134199" y="77951"/>
                    <a:pt x="150999" y="95205"/>
                    <a:pt x="150999" y="116515"/>
                  </a:cubicBezTo>
                  <a:close/>
                  <a:moveTo>
                    <a:pt x="227034" y="116446"/>
                  </a:moveTo>
                  <a:cubicBezTo>
                    <a:pt x="227034" y="164427"/>
                    <a:pt x="198789" y="205603"/>
                    <a:pt x="158496" y="223475"/>
                  </a:cubicBezTo>
                  <a:lnTo>
                    <a:pt x="113517" y="307889"/>
                  </a:lnTo>
                  <a:lnTo>
                    <a:pt x="68538" y="223544"/>
                  </a:lnTo>
                  <a:cubicBezTo>
                    <a:pt x="28245" y="205671"/>
                    <a:pt x="0" y="164496"/>
                    <a:pt x="0" y="116515"/>
                  </a:cubicBezTo>
                  <a:cubicBezTo>
                    <a:pt x="0" y="52174"/>
                    <a:pt x="50734" y="0"/>
                    <a:pt x="113450" y="0"/>
                  </a:cubicBezTo>
                  <a:cubicBezTo>
                    <a:pt x="176166" y="0"/>
                    <a:pt x="226967" y="52174"/>
                    <a:pt x="226967" y="116515"/>
                  </a:cubicBezTo>
                  <a:close/>
                  <a:moveTo>
                    <a:pt x="183997" y="116515"/>
                  </a:moveTo>
                  <a:cubicBezTo>
                    <a:pt x="183997" y="76508"/>
                    <a:pt x="152338" y="44131"/>
                    <a:pt x="113450" y="44131"/>
                  </a:cubicBezTo>
                  <a:cubicBezTo>
                    <a:pt x="74562" y="44131"/>
                    <a:pt x="42970" y="76508"/>
                    <a:pt x="42970" y="116515"/>
                  </a:cubicBezTo>
                  <a:cubicBezTo>
                    <a:pt x="42970" y="156522"/>
                    <a:pt x="74562" y="188967"/>
                    <a:pt x="113450" y="188967"/>
                  </a:cubicBezTo>
                  <a:cubicBezTo>
                    <a:pt x="152405" y="188967"/>
                    <a:pt x="183997" y="156522"/>
                    <a:pt x="183997" y="116515"/>
                  </a:cubicBezTo>
                  <a:close/>
                </a:path>
              </a:pathLst>
            </a:custGeom>
            <a:noFill/>
            <a:ln w="5019">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22" name="Group 21">
            <a:extLst>
              <a:ext uri="{FF2B5EF4-FFF2-40B4-BE49-F238E27FC236}">
                <a16:creationId xmlns:a16="http://schemas.microsoft.com/office/drawing/2014/main" id="{DF16F3B3-39F2-30FB-F299-1704D6FB9339}"/>
              </a:ext>
            </a:extLst>
          </p:cNvPr>
          <p:cNvGrpSpPr/>
          <p:nvPr/>
        </p:nvGrpSpPr>
        <p:grpSpPr>
          <a:xfrm>
            <a:off x="4926207" y="5700938"/>
            <a:ext cx="227034" cy="299790"/>
            <a:chOff x="3346621" y="3380087"/>
            <a:chExt cx="227034" cy="299790"/>
          </a:xfrm>
        </p:grpSpPr>
        <p:sp>
          <p:nvSpPr>
            <p:cNvPr id="46" name="Rounded Rectangle 11">
              <a:extLst>
                <a:ext uri="{FF2B5EF4-FFF2-40B4-BE49-F238E27FC236}">
                  <a16:creationId xmlns:a16="http://schemas.microsoft.com/office/drawing/2014/main" id="{2F019D0E-1B0D-8A9F-A5A4-849581EBFD4B}"/>
                </a:ext>
              </a:extLst>
            </p:cNvPr>
            <p:cNvSpPr/>
            <p:nvPr/>
          </p:nvSpPr>
          <p:spPr>
            <a:xfrm>
              <a:off x="3346621" y="3380087"/>
              <a:ext cx="227034" cy="299790"/>
            </a:xfrm>
            <a:custGeom>
              <a:avLst/>
              <a:gdLst/>
              <a:ahLst/>
              <a:cxnLst/>
              <a:rect l="0" t="0" r="0" b="0"/>
              <a:pathLst>
                <a:path w="227034" h="299790">
                  <a:moveTo>
                    <a:pt x="150999" y="113450"/>
                  </a:moveTo>
                  <a:cubicBezTo>
                    <a:pt x="150999" y="134199"/>
                    <a:pt x="134132" y="150999"/>
                    <a:pt x="113450" y="150999"/>
                  </a:cubicBezTo>
                  <a:cubicBezTo>
                    <a:pt x="92768" y="150999"/>
                    <a:pt x="75968" y="134199"/>
                    <a:pt x="75968" y="113450"/>
                  </a:cubicBezTo>
                  <a:cubicBezTo>
                    <a:pt x="75968" y="92701"/>
                    <a:pt x="92768" y="75901"/>
                    <a:pt x="113450" y="75901"/>
                  </a:cubicBezTo>
                  <a:cubicBezTo>
                    <a:pt x="134199" y="75901"/>
                    <a:pt x="150999" y="92701"/>
                    <a:pt x="150999" y="113450"/>
                  </a:cubicBezTo>
                  <a:close/>
                  <a:moveTo>
                    <a:pt x="227034" y="113383"/>
                  </a:moveTo>
                  <a:cubicBezTo>
                    <a:pt x="227034" y="160102"/>
                    <a:pt x="198789" y="200194"/>
                    <a:pt x="158496" y="217597"/>
                  </a:cubicBezTo>
                  <a:lnTo>
                    <a:pt x="113517" y="299790"/>
                  </a:lnTo>
                  <a:lnTo>
                    <a:pt x="68538" y="217664"/>
                  </a:lnTo>
                  <a:cubicBezTo>
                    <a:pt x="28245" y="200261"/>
                    <a:pt x="0" y="160169"/>
                    <a:pt x="0" y="113450"/>
                  </a:cubicBezTo>
                  <a:cubicBezTo>
                    <a:pt x="0" y="50801"/>
                    <a:pt x="50734" y="0"/>
                    <a:pt x="113450" y="0"/>
                  </a:cubicBezTo>
                  <a:cubicBezTo>
                    <a:pt x="176166" y="0"/>
                    <a:pt x="226967" y="50801"/>
                    <a:pt x="226967" y="113450"/>
                  </a:cubicBezTo>
                  <a:close/>
                  <a:moveTo>
                    <a:pt x="183997" y="113450"/>
                  </a:moveTo>
                  <a:cubicBezTo>
                    <a:pt x="183997" y="74495"/>
                    <a:pt x="152338" y="42970"/>
                    <a:pt x="113450" y="42970"/>
                  </a:cubicBezTo>
                  <a:cubicBezTo>
                    <a:pt x="74562" y="42970"/>
                    <a:pt x="42970" y="74495"/>
                    <a:pt x="42970" y="113450"/>
                  </a:cubicBezTo>
                  <a:cubicBezTo>
                    <a:pt x="42970" y="152405"/>
                    <a:pt x="74562" y="183997"/>
                    <a:pt x="113450" y="183997"/>
                  </a:cubicBezTo>
                  <a:cubicBezTo>
                    <a:pt x="152405" y="183997"/>
                    <a:pt x="183997" y="152405"/>
                    <a:pt x="183997" y="113450"/>
                  </a:cubicBezTo>
                  <a:close/>
                </a:path>
              </a:pathLst>
            </a:custGeom>
            <a:solidFill>
              <a:srgbClr val="FF9518"/>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47" name="Rounded Rectangle 12">
              <a:extLst>
                <a:ext uri="{FF2B5EF4-FFF2-40B4-BE49-F238E27FC236}">
                  <a16:creationId xmlns:a16="http://schemas.microsoft.com/office/drawing/2014/main" id="{90E194E3-7486-74E1-6C4F-DF2FCAC4D046}"/>
                </a:ext>
              </a:extLst>
            </p:cNvPr>
            <p:cNvSpPr/>
            <p:nvPr/>
          </p:nvSpPr>
          <p:spPr>
            <a:xfrm>
              <a:off x="3346621" y="3380087"/>
              <a:ext cx="227034" cy="299790"/>
            </a:xfrm>
            <a:custGeom>
              <a:avLst/>
              <a:gdLst/>
              <a:ahLst/>
              <a:cxnLst/>
              <a:rect l="0" t="0" r="0" b="0"/>
              <a:pathLst>
                <a:path w="227034" h="299790">
                  <a:moveTo>
                    <a:pt x="150999" y="113450"/>
                  </a:moveTo>
                  <a:cubicBezTo>
                    <a:pt x="150999" y="134199"/>
                    <a:pt x="134132" y="150999"/>
                    <a:pt x="113450" y="150999"/>
                  </a:cubicBezTo>
                  <a:cubicBezTo>
                    <a:pt x="92768" y="150999"/>
                    <a:pt x="75968" y="134199"/>
                    <a:pt x="75968" y="113450"/>
                  </a:cubicBezTo>
                  <a:cubicBezTo>
                    <a:pt x="75968" y="92701"/>
                    <a:pt x="92768" y="75901"/>
                    <a:pt x="113450" y="75901"/>
                  </a:cubicBezTo>
                  <a:cubicBezTo>
                    <a:pt x="134199" y="75901"/>
                    <a:pt x="150999" y="92701"/>
                    <a:pt x="150999" y="113450"/>
                  </a:cubicBezTo>
                  <a:close/>
                  <a:moveTo>
                    <a:pt x="227034" y="113383"/>
                  </a:moveTo>
                  <a:cubicBezTo>
                    <a:pt x="227034" y="160102"/>
                    <a:pt x="198789" y="200194"/>
                    <a:pt x="158496" y="217597"/>
                  </a:cubicBezTo>
                  <a:lnTo>
                    <a:pt x="113517" y="299790"/>
                  </a:lnTo>
                  <a:lnTo>
                    <a:pt x="68538" y="217664"/>
                  </a:lnTo>
                  <a:cubicBezTo>
                    <a:pt x="28245" y="200261"/>
                    <a:pt x="0" y="160169"/>
                    <a:pt x="0" y="113450"/>
                  </a:cubicBezTo>
                  <a:cubicBezTo>
                    <a:pt x="0" y="50801"/>
                    <a:pt x="50734" y="0"/>
                    <a:pt x="113450" y="0"/>
                  </a:cubicBezTo>
                  <a:cubicBezTo>
                    <a:pt x="176166" y="0"/>
                    <a:pt x="226967" y="50801"/>
                    <a:pt x="226967" y="113450"/>
                  </a:cubicBezTo>
                  <a:close/>
                  <a:moveTo>
                    <a:pt x="183997" y="113450"/>
                  </a:moveTo>
                  <a:cubicBezTo>
                    <a:pt x="183997" y="74495"/>
                    <a:pt x="152338" y="42970"/>
                    <a:pt x="113450" y="42970"/>
                  </a:cubicBezTo>
                  <a:cubicBezTo>
                    <a:pt x="74562" y="42970"/>
                    <a:pt x="42970" y="74495"/>
                    <a:pt x="42970" y="113450"/>
                  </a:cubicBezTo>
                  <a:cubicBezTo>
                    <a:pt x="42970" y="152405"/>
                    <a:pt x="74562" y="183997"/>
                    <a:pt x="113450" y="183997"/>
                  </a:cubicBezTo>
                  <a:cubicBezTo>
                    <a:pt x="152405" y="183997"/>
                    <a:pt x="183997" y="152405"/>
                    <a:pt x="183997" y="113450"/>
                  </a:cubicBezTo>
                  <a:close/>
                </a:path>
              </a:pathLst>
            </a:custGeom>
            <a:noFill/>
            <a:ln w="5019">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23" name="Group 22">
            <a:extLst>
              <a:ext uri="{FF2B5EF4-FFF2-40B4-BE49-F238E27FC236}">
                <a16:creationId xmlns:a16="http://schemas.microsoft.com/office/drawing/2014/main" id="{120AC4BB-CA2C-3097-F669-A85D1D0F96B7}"/>
              </a:ext>
            </a:extLst>
          </p:cNvPr>
          <p:cNvGrpSpPr/>
          <p:nvPr/>
        </p:nvGrpSpPr>
        <p:grpSpPr>
          <a:xfrm>
            <a:off x="4363975" y="4335517"/>
            <a:ext cx="227034" cy="299790"/>
            <a:chOff x="2784389" y="2014666"/>
            <a:chExt cx="227034" cy="299790"/>
          </a:xfrm>
        </p:grpSpPr>
        <p:sp>
          <p:nvSpPr>
            <p:cNvPr id="44" name="Rounded Rectangle 14">
              <a:extLst>
                <a:ext uri="{FF2B5EF4-FFF2-40B4-BE49-F238E27FC236}">
                  <a16:creationId xmlns:a16="http://schemas.microsoft.com/office/drawing/2014/main" id="{D54CAB43-9CC9-C83E-A11B-8C70734835E1}"/>
                </a:ext>
              </a:extLst>
            </p:cNvPr>
            <p:cNvSpPr/>
            <p:nvPr/>
          </p:nvSpPr>
          <p:spPr>
            <a:xfrm>
              <a:off x="2784389" y="2014666"/>
              <a:ext cx="227034" cy="299790"/>
            </a:xfrm>
            <a:custGeom>
              <a:avLst/>
              <a:gdLst/>
              <a:ahLst/>
              <a:cxnLst/>
              <a:rect l="0" t="0" r="0" b="0"/>
              <a:pathLst>
                <a:path w="227034" h="299790">
                  <a:moveTo>
                    <a:pt x="150999" y="113450"/>
                  </a:moveTo>
                  <a:cubicBezTo>
                    <a:pt x="150999" y="134199"/>
                    <a:pt x="134132" y="150999"/>
                    <a:pt x="113450" y="150999"/>
                  </a:cubicBezTo>
                  <a:cubicBezTo>
                    <a:pt x="92768" y="150999"/>
                    <a:pt x="75968" y="134199"/>
                    <a:pt x="75968" y="113450"/>
                  </a:cubicBezTo>
                  <a:cubicBezTo>
                    <a:pt x="75968" y="92701"/>
                    <a:pt x="92768" y="75901"/>
                    <a:pt x="113450" y="75901"/>
                  </a:cubicBezTo>
                  <a:cubicBezTo>
                    <a:pt x="134199" y="75901"/>
                    <a:pt x="150999" y="92701"/>
                    <a:pt x="150999" y="113450"/>
                  </a:cubicBezTo>
                  <a:close/>
                  <a:moveTo>
                    <a:pt x="227034" y="113383"/>
                  </a:moveTo>
                  <a:cubicBezTo>
                    <a:pt x="227034" y="160102"/>
                    <a:pt x="198789" y="200194"/>
                    <a:pt x="158496" y="217597"/>
                  </a:cubicBezTo>
                  <a:lnTo>
                    <a:pt x="113517" y="299790"/>
                  </a:lnTo>
                  <a:lnTo>
                    <a:pt x="68538" y="217664"/>
                  </a:lnTo>
                  <a:cubicBezTo>
                    <a:pt x="28245" y="200261"/>
                    <a:pt x="0" y="160169"/>
                    <a:pt x="0" y="113450"/>
                  </a:cubicBezTo>
                  <a:cubicBezTo>
                    <a:pt x="0" y="50801"/>
                    <a:pt x="50734" y="0"/>
                    <a:pt x="113450" y="0"/>
                  </a:cubicBezTo>
                  <a:cubicBezTo>
                    <a:pt x="176166" y="0"/>
                    <a:pt x="226967" y="50801"/>
                    <a:pt x="226967" y="113450"/>
                  </a:cubicBezTo>
                  <a:close/>
                  <a:moveTo>
                    <a:pt x="183997" y="113450"/>
                  </a:moveTo>
                  <a:cubicBezTo>
                    <a:pt x="183997" y="74495"/>
                    <a:pt x="152338" y="42970"/>
                    <a:pt x="113450" y="42970"/>
                  </a:cubicBezTo>
                  <a:cubicBezTo>
                    <a:pt x="74562" y="42970"/>
                    <a:pt x="42970" y="74495"/>
                    <a:pt x="42970" y="113450"/>
                  </a:cubicBezTo>
                  <a:cubicBezTo>
                    <a:pt x="42970" y="152405"/>
                    <a:pt x="74562" y="183997"/>
                    <a:pt x="113450" y="183997"/>
                  </a:cubicBezTo>
                  <a:cubicBezTo>
                    <a:pt x="152405" y="183997"/>
                    <a:pt x="183997" y="152405"/>
                    <a:pt x="183997" y="113450"/>
                  </a:cubicBezTo>
                  <a:close/>
                </a:path>
              </a:pathLst>
            </a:custGeom>
            <a:solidFill>
              <a:srgbClr val="F98700"/>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45" name="Rounded Rectangle 15">
              <a:extLst>
                <a:ext uri="{FF2B5EF4-FFF2-40B4-BE49-F238E27FC236}">
                  <a16:creationId xmlns:a16="http://schemas.microsoft.com/office/drawing/2014/main" id="{BADBC323-5D22-D1B2-E6D1-E47AE485B438}"/>
                </a:ext>
              </a:extLst>
            </p:cNvPr>
            <p:cNvSpPr/>
            <p:nvPr/>
          </p:nvSpPr>
          <p:spPr>
            <a:xfrm>
              <a:off x="2784389" y="2014666"/>
              <a:ext cx="227034" cy="299790"/>
            </a:xfrm>
            <a:custGeom>
              <a:avLst/>
              <a:gdLst/>
              <a:ahLst/>
              <a:cxnLst/>
              <a:rect l="0" t="0" r="0" b="0"/>
              <a:pathLst>
                <a:path w="227034" h="299790">
                  <a:moveTo>
                    <a:pt x="150999" y="113450"/>
                  </a:moveTo>
                  <a:cubicBezTo>
                    <a:pt x="150999" y="134199"/>
                    <a:pt x="134132" y="150999"/>
                    <a:pt x="113450" y="150999"/>
                  </a:cubicBezTo>
                  <a:cubicBezTo>
                    <a:pt x="92768" y="150999"/>
                    <a:pt x="75968" y="134199"/>
                    <a:pt x="75968" y="113450"/>
                  </a:cubicBezTo>
                  <a:cubicBezTo>
                    <a:pt x="75968" y="92701"/>
                    <a:pt x="92768" y="75901"/>
                    <a:pt x="113450" y="75901"/>
                  </a:cubicBezTo>
                  <a:cubicBezTo>
                    <a:pt x="134199" y="75901"/>
                    <a:pt x="150999" y="92701"/>
                    <a:pt x="150999" y="113450"/>
                  </a:cubicBezTo>
                  <a:close/>
                  <a:moveTo>
                    <a:pt x="227034" y="113383"/>
                  </a:moveTo>
                  <a:cubicBezTo>
                    <a:pt x="227034" y="160102"/>
                    <a:pt x="198789" y="200194"/>
                    <a:pt x="158496" y="217597"/>
                  </a:cubicBezTo>
                  <a:lnTo>
                    <a:pt x="113517" y="299790"/>
                  </a:lnTo>
                  <a:lnTo>
                    <a:pt x="68538" y="217664"/>
                  </a:lnTo>
                  <a:cubicBezTo>
                    <a:pt x="28245" y="200261"/>
                    <a:pt x="0" y="160169"/>
                    <a:pt x="0" y="113450"/>
                  </a:cubicBezTo>
                  <a:cubicBezTo>
                    <a:pt x="0" y="50801"/>
                    <a:pt x="50734" y="0"/>
                    <a:pt x="113450" y="0"/>
                  </a:cubicBezTo>
                  <a:cubicBezTo>
                    <a:pt x="176166" y="0"/>
                    <a:pt x="226967" y="50801"/>
                    <a:pt x="226967" y="113450"/>
                  </a:cubicBezTo>
                  <a:close/>
                  <a:moveTo>
                    <a:pt x="183997" y="113450"/>
                  </a:moveTo>
                  <a:cubicBezTo>
                    <a:pt x="183997" y="74495"/>
                    <a:pt x="152338" y="42970"/>
                    <a:pt x="113450" y="42970"/>
                  </a:cubicBezTo>
                  <a:cubicBezTo>
                    <a:pt x="74562" y="42970"/>
                    <a:pt x="42970" y="74495"/>
                    <a:pt x="42970" y="113450"/>
                  </a:cubicBezTo>
                  <a:cubicBezTo>
                    <a:pt x="42970" y="152405"/>
                    <a:pt x="74562" y="183997"/>
                    <a:pt x="113450" y="183997"/>
                  </a:cubicBezTo>
                  <a:cubicBezTo>
                    <a:pt x="152405" y="183997"/>
                    <a:pt x="183997" y="152405"/>
                    <a:pt x="183997" y="113450"/>
                  </a:cubicBezTo>
                  <a:close/>
                </a:path>
              </a:pathLst>
            </a:custGeom>
            <a:noFill/>
            <a:ln w="5019">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24" name="Group 23">
            <a:extLst>
              <a:ext uri="{FF2B5EF4-FFF2-40B4-BE49-F238E27FC236}">
                <a16:creationId xmlns:a16="http://schemas.microsoft.com/office/drawing/2014/main" id="{4F312E6B-B0B0-1ED9-31BA-8ED578F60217}"/>
              </a:ext>
            </a:extLst>
          </p:cNvPr>
          <p:cNvGrpSpPr/>
          <p:nvPr/>
        </p:nvGrpSpPr>
        <p:grpSpPr>
          <a:xfrm>
            <a:off x="3801742" y="5861576"/>
            <a:ext cx="227034" cy="299790"/>
            <a:chOff x="2222156" y="3540725"/>
            <a:chExt cx="227034" cy="299790"/>
          </a:xfrm>
        </p:grpSpPr>
        <p:sp>
          <p:nvSpPr>
            <p:cNvPr id="42" name="Rounded Rectangle 17">
              <a:extLst>
                <a:ext uri="{FF2B5EF4-FFF2-40B4-BE49-F238E27FC236}">
                  <a16:creationId xmlns:a16="http://schemas.microsoft.com/office/drawing/2014/main" id="{4AA4AEB3-28FA-FDF3-6C86-930A50D0ED04}"/>
                </a:ext>
              </a:extLst>
            </p:cNvPr>
            <p:cNvSpPr/>
            <p:nvPr/>
          </p:nvSpPr>
          <p:spPr>
            <a:xfrm>
              <a:off x="2222156" y="3540725"/>
              <a:ext cx="227034" cy="299790"/>
            </a:xfrm>
            <a:custGeom>
              <a:avLst/>
              <a:gdLst/>
              <a:ahLst/>
              <a:cxnLst/>
              <a:rect l="0" t="0" r="0" b="0"/>
              <a:pathLst>
                <a:path w="227034" h="299790">
                  <a:moveTo>
                    <a:pt x="150999" y="113450"/>
                  </a:moveTo>
                  <a:cubicBezTo>
                    <a:pt x="150999" y="134199"/>
                    <a:pt x="134132" y="150999"/>
                    <a:pt x="113450" y="150999"/>
                  </a:cubicBezTo>
                  <a:cubicBezTo>
                    <a:pt x="92768" y="150999"/>
                    <a:pt x="75968" y="134199"/>
                    <a:pt x="75968" y="113450"/>
                  </a:cubicBezTo>
                  <a:cubicBezTo>
                    <a:pt x="75968" y="92701"/>
                    <a:pt x="92768" y="75901"/>
                    <a:pt x="113450" y="75901"/>
                  </a:cubicBezTo>
                  <a:cubicBezTo>
                    <a:pt x="134199" y="75901"/>
                    <a:pt x="150999" y="92701"/>
                    <a:pt x="150999" y="113450"/>
                  </a:cubicBezTo>
                  <a:close/>
                  <a:moveTo>
                    <a:pt x="227034" y="113383"/>
                  </a:moveTo>
                  <a:cubicBezTo>
                    <a:pt x="227034" y="160102"/>
                    <a:pt x="198789" y="200194"/>
                    <a:pt x="158496" y="217597"/>
                  </a:cubicBezTo>
                  <a:lnTo>
                    <a:pt x="113517" y="299790"/>
                  </a:lnTo>
                  <a:lnTo>
                    <a:pt x="68538" y="217664"/>
                  </a:lnTo>
                  <a:cubicBezTo>
                    <a:pt x="28245" y="200261"/>
                    <a:pt x="0" y="160169"/>
                    <a:pt x="0" y="113450"/>
                  </a:cubicBezTo>
                  <a:cubicBezTo>
                    <a:pt x="0" y="50801"/>
                    <a:pt x="50734" y="0"/>
                    <a:pt x="113450" y="0"/>
                  </a:cubicBezTo>
                  <a:cubicBezTo>
                    <a:pt x="176166" y="0"/>
                    <a:pt x="226967" y="50801"/>
                    <a:pt x="226967" y="113450"/>
                  </a:cubicBezTo>
                  <a:close/>
                  <a:moveTo>
                    <a:pt x="183997" y="113450"/>
                  </a:moveTo>
                  <a:cubicBezTo>
                    <a:pt x="183997" y="74495"/>
                    <a:pt x="152338" y="42970"/>
                    <a:pt x="113450" y="42970"/>
                  </a:cubicBezTo>
                  <a:cubicBezTo>
                    <a:pt x="74562" y="42970"/>
                    <a:pt x="42970" y="74495"/>
                    <a:pt x="42970" y="113450"/>
                  </a:cubicBezTo>
                  <a:cubicBezTo>
                    <a:pt x="42970" y="152405"/>
                    <a:pt x="74562" y="183997"/>
                    <a:pt x="113450" y="183997"/>
                  </a:cubicBezTo>
                  <a:cubicBezTo>
                    <a:pt x="152405" y="183997"/>
                    <a:pt x="183997" y="152405"/>
                    <a:pt x="183997" y="113450"/>
                  </a:cubicBezTo>
                  <a:close/>
                </a:path>
              </a:pathLst>
            </a:custGeom>
            <a:solidFill>
              <a:srgbClr val="BA7019"/>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43" name="Rounded Rectangle 18">
              <a:extLst>
                <a:ext uri="{FF2B5EF4-FFF2-40B4-BE49-F238E27FC236}">
                  <a16:creationId xmlns:a16="http://schemas.microsoft.com/office/drawing/2014/main" id="{0216FE56-EDA3-F54A-6547-A050763BB633}"/>
                </a:ext>
              </a:extLst>
            </p:cNvPr>
            <p:cNvSpPr/>
            <p:nvPr/>
          </p:nvSpPr>
          <p:spPr>
            <a:xfrm>
              <a:off x="2222156" y="3540725"/>
              <a:ext cx="227034" cy="299790"/>
            </a:xfrm>
            <a:custGeom>
              <a:avLst/>
              <a:gdLst/>
              <a:ahLst/>
              <a:cxnLst/>
              <a:rect l="0" t="0" r="0" b="0"/>
              <a:pathLst>
                <a:path w="227034" h="299790">
                  <a:moveTo>
                    <a:pt x="150999" y="113450"/>
                  </a:moveTo>
                  <a:cubicBezTo>
                    <a:pt x="150999" y="134199"/>
                    <a:pt x="134132" y="150999"/>
                    <a:pt x="113450" y="150999"/>
                  </a:cubicBezTo>
                  <a:cubicBezTo>
                    <a:pt x="92768" y="150999"/>
                    <a:pt x="75968" y="134199"/>
                    <a:pt x="75968" y="113450"/>
                  </a:cubicBezTo>
                  <a:cubicBezTo>
                    <a:pt x="75968" y="92701"/>
                    <a:pt x="92768" y="75901"/>
                    <a:pt x="113450" y="75901"/>
                  </a:cubicBezTo>
                  <a:cubicBezTo>
                    <a:pt x="134199" y="75901"/>
                    <a:pt x="150999" y="92701"/>
                    <a:pt x="150999" y="113450"/>
                  </a:cubicBezTo>
                  <a:close/>
                  <a:moveTo>
                    <a:pt x="227034" y="113383"/>
                  </a:moveTo>
                  <a:cubicBezTo>
                    <a:pt x="227034" y="160102"/>
                    <a:pt x="198789" y="200194"/>
                    <a:pt x="158496" y="217597"/>
                  </a:cubicBezTo>
                  <a:lnTo>
                    <a:pt x="113517" y="299790"/>
                  </a:lnTo>
                  <a:lnTo>
                    <a:pt x="68538" y="217664"/>
                  </a:lnTo>
                  <a:cubicBezTo>
                    <a:pt x="28245" y="200261"/>
                    <a:pt x="0" y="160169"/>
                    <a:pt x="0" y="113450"/>
                  </a:cubicBezTo>
                  <a:cubicBezTo>
                    <a:pt x="0" y="50801"/>
                    <a:pt x="50734" y="0"/>
                    <a:pt x="113450" y="0"/>
                  </a:cubicBezTo>
                  <a:cubicBezTo>
                    <a:pt x="176166" y="0"/>
                    <a:pt x="226967" y="50801"/>
                    <a:pt x="226967" y="113450"/>
                  </a:cubicBezTo>
                  <a:close/>
                  <a:moveTo>
                    <a:pt x="183997" y="113450"/>
                  </a:moveTo>
                  <a:cubicBezTo>
                    <a:pt x="183997" y="74495"/>
                    <a:pt x="152338" y="42970"/>
                    <a:pt x="113450" y="42970"/>
                  </a:cubicBezTo>
                  <a:cubicBezTo>
                    <a:pt x="74562" y="42970"/>
                    <a:pt x="42970" y="74495"/>
                    <a:pt x="42970" y="113450"/>
                  </a:cubicBezTo>
                  <a:cubicBezTo>
                    <a:pt x="42970" y="152405"/>
                    <a:pt x="74562" y="183997"/>
                    <a:pt x="113450" y="183997"/>
                  </a:cubicBezTo>
                  <a:cubicBezTo>
                    <a:pt x="152405" y="183997"/>
                    <a:pt x="183997" y="152405"/>
                    <a:pt x="183997" y="113450"/>
                  </a:cubicBezTo>
                  <a:close/>
                </a:path>
              </a:pathLst>
            </a:custGeom>
            <a:noFill/>
            <a:ln w="5019">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25" name="Group 24">
            <a:extLst>
              <a:ext uri="{FF2B5EF4-FFF2-40B4-BE49-F238E27FC236}">
                <a16:creationId xmlns:a16="http://schemas.microsoft.com/office/drawing/2014/main" id="{8B73A474-90D8-B2DF-8F68-35551ED9171F}"/>
              </a:ext>
            </a:extLst>
          </p:cNvPr>
          <p:cNvGrpSpPr/>
          <p:nvPr/>
        </p:nvGrpSpPr>
        <p:grpSpPr>
          <a:xfrm>
            <a:off x="3239510" y="4496155"/>
            <a:ext cx="227034" cy="299790"/>
            <a:chOff x="1659924" y="2175304"/>
            <a:chExt cx="227034" cy="299790"/>
          </a:xfrm>
        </p:grpSpPr>
        <p:sp>
          <p:nvSpPr>
            <p:cNvPr id="40" name="Rounded Rectangle 20">
              <a:extLst>
                <a:ext uri="{FF2B5EF4-FFF2-40B4-BE49-F238E27FC236}">
                  <a16:creationId xmlns:a16="http://schemas.microsoft.com/office/drawing/2014/main" id="{12CB775C-1EC2-9F6D-50B2-1E0E34F33EDE}"/>
                </a:ext>
              </a:extLst>
            </p:cNvPr>
            <p:cNvSpPr/>
            <p:nvPr/>
          </p:nvSpPr>
          <p:spPr>
            <a:xfrm>
              <a:off x="1659924" y="2175304"/>
              <a:ext cx="227034" cy="299790"/>
            </a:xfrm>
            <a:custGeom>
              <a:avLst/>
              <a:gdLst/>
              <a:ahLst/>
              <a:cxnLst/>
              <a:rect l="0" t="0" r="0" b="0"/>
              <a:pathLst>
                <a:path w="227034" h="299790">
                  <a:moveTo>
                    <a:pt x="150999" y="113450"/>
                  </a:moveTo>
                  <a:cubicBezTo>
                    <a:pt x="150999" y="134199"/>
                    <a:pt x="134132" y="150999"/>
                    <a:pt x="113450" y="150999"/>
                  </a:cubicBezTo>
                  <a:cubicBezTo>
                    <a:pt x="92768" y="150999"/>
                    <a:pt x="75968" y="134199"/>
                    <a:pt x="75968" y="113450"/>
                  </a:cubicBezTo>
                  <a:cubicBezTo>
                    <a:pt x="75968" y="92701"/>
                    <a:pt x="92768" y="75901"/>
                    <a:pt x="113450" y="75901"/>
                  </a:cubicBezTo>
                  <a:cubicBezTo>
                    <a:pt x="134199" y="75901"/>
                    <a:pt x="150999" y="92701"/>
                    <a:pt x="150999" y="113450"/>
                  </a:cubicBezTo>
                  <a:close/>
                  <a:moveTo>
                    <a:pt x="227034" y="113383"/>
                  </a:moveTo>
                  <a:cubicBezTo>
                    <a:pt x="227034" y="160102"/>
                    <a:pt x="198789" y="200194"/>
                    <a:pt x="158496" y="217597"/>
                  </a:cubicBezTo>
                  <a:lnTo>
                    <a:pt x="113517" y="299790"/>
                  </a:lnTo>
                  <a:lnTo>
                    <a:pt x="68538" y="217664"/>
                  </a:lnTo>
                  <a:cubicBezTo>
                    <a:pt x="28245" y="200261"/>
                    <a:pt x="0" y="160169"/>
                    <a:pt x="0" y="113450"/>
                  </a:cubicBezTo>
                  <a:cubicBezTo>
                    <a:pt x="0" y="50801"/>
                    <a:pt x="50734" y="0"/>
                    <a:pt x="113450" y="0"/>
                  </a:cubicBezTo>
                  <a:cubicBezTo>
                    <a:pt x="176166" y="0"/>
                    <a:pt x="226967" y="50801"/>
                    <a:pt x="226967" y="113450"/>
                  </a:cubicBezTo>
                  <a:close/>
                  <a:moveTo>
                    <a:pt x="183997" y="113450"/>
                  </a:moveTo>
                  <a:cubicBezTo>
                    <a:pt x="183997" y="74495"/>
                    <a:pt x="152338" y="42970"/>
                    <a:pt x="113450" y="42970"/>
                  </a:cubicBezTo>
                  <a:cubicBezTo>
                    <a:pt x="74562" y="42970"/>
                    <a:pt x="42970" y="74495"/>
                    <a:pt x="42970" y="113450"/>
                  </a:cubicBezTo>
                  <a:cubicBezTo>
                    <a:pt x="42970" y="152405"/>
                    <a:pt x="74562" y="183997"/>
                    <a:pt x="113450" y="183997"/>
                  </a:cubicBezTo>
                  <a:cubicBezTo>
                    <a:pt x="152405" y="183997"/>
                    <a:pt x="183997" y="152405"/>
                    <a:pt x="183997" y="113450"/>
                  </a:cubicBezTo>
                  <a:close/>
                </a:path>
              </a:pathLst>
            </a:custGeom>
            <a:solidFill>
              <a:srgbClr val="7C5527"/>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41" name="Rounded Rectangle 21">
              <a:extLst>
                <a:ext uri="{FF2B5EF4-FFF2-40B4-BE49-F238E27FC236}">
                  <a16:creationId xmlns:a16="http://schemas.microsoft.com/office/drawing/2014/main" id="{813959CA-2EDC-D938-2BC1-30B7422E3936}"/>
                </a:ext>
              </a:extLst>
            </p:cNvPr>
            <p:cNvSpPr/>
            <p:nvPr/>
          </p:nvSpPr>
          <p:spPr>
            <a:xfrm>
              <a:off x="1659924" y="2175304"/>
              <a:ext cx="227034" cy="299790"/>
            </a:xfrm>
            <a:custGeom>
              <a:avLst/>
              <a:gdLst/>
              <a:ahLst/>
              <a:cxnLst/>
              <a:rect l="0" t="0" r="0" b="0"/>
              <a:pathLst>
                <a:path w="227034" h="299790">
                  <a:moveTo>
                    <a:pt x="150999" y="113450"/>
                  </a:moveTo>
                  <a:cubicBezTo>
                    <a:pt x="150999" y="134199"/>
                    <a:pt x="134132" y="150999"/>
                    <a:pt x="113450" y="150999"/>
                  </a:cubicBezTo>
                  <a:cubicBezTo>
                    <a:pt x="92768" y="150999"/>
                    <a:pt x="75968" y="134199"/>
                    <a:pt x="75968" y="113450"/>
                  </a:cubicBezTo>
                  <a:cubicBezTo>
                    <a:pt x="75968" y="92701"/>
                    <a:pt x="92768" y="75901"/>
                    <a:pt x="113450" y="75901"/>
                  </a:cubicBezTo>
                  <a:cubicBezTo>
                    <a:pt x="134199" y="75901"/>
                    <a:pt x="150999" y="92701"/>
                    <a:pt x="150999" y="113450"/>
                  </a:cubicBezTo>
                  <a:close/>
                  <a:moveTo>
                    <a:pt x="227034" y="113383"/>
                  </a:moveTo>
                  <a:cubicBezTo>
                    <a:pt x="227034" y="160102"/>
                    <a:pt x="198789" y="200194"/>
                    <a:pt x="158496" y="217597"/>
                  </a:cubicBezTo>
                  <a:lnTo>
                    <a:pt x="113517" y="299790"/>
                  </a:lnTo>
                  <a:lnTo>
                    <a:pt x="68538" y="217664"/>
                  </a:lnTo>
                  <a:cubicBezTo>
                    <a:pt x="28245" y="200261"/>
                    <a:pt x="0" y="160169"/>
                    <a:pt x="0" y="113450"/>
                  </a:cubicBezTo>
                  <a:cubicBezTo>
                    <a:pt x="0" y="50801"/>
                    <a:pt x="50734" y="0"/>
                    <a:pt x="113450" y="0"/>
                  </a:cubicBezTo>
                  <a:cubicBezTo>
                    <a:pt x="176166" y="0"/>
                    <a:pt x="226967" y="50801"/>
                    <a:pt x="226967" y="113450"/>
                  </a:cubicBezTo>
                  <a:close/>
                  <a:moveTo>
                    <a:pt x="183997" y="113450"/>
                  </a:moveTo>
                  <a:cubicBezTo>
                    <a:pt x="183997" y="74495"/>
                    <a:pt x="152338" y="42970"/>
                    <a:pt x="113450" y="42970"/>
                  </a:cubicBezTo>
                  <a:cubicBezTo>
                    <a:pt x="74562" y="42970"/>
                    <a:pt x="42970" y="74495"/>
                    <a:pt x="42970" y="113450"/>
                  </a:cubicBezTo>
                  <a:cubicBezTo>
                    <a:pt x="42970" y="152405"/>
                    <a:pt x="74562" y="183997"/>
                    <a:pt x="113450" y="183997"/>
                  </a:cubicBezTo>
                  <a:cubicBezTo>
                    <a:pt x="152405" y="183997"/>
                    <a:pt x="183997" y="152405"/>
                    <a:pt x="183997" y="113450"/>
                  </a:cubicBezTo>
                  <a:close/>
                </a:path>
              </a:pathLst>
            </a:custGeom>
            <a:noFill/>
            <a:ln w="5019">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sp>
        <p:nvSpPr>
          <p:cNvPr id="26" name="TextBox 23">
            <a:extLst>
              <a:ext uri="{FF2B5EF4-FFF2-40B4-BE49-F238E27FC236}">
                <a16:creationId xmlns:a16="http://schemas.microsoft.com/office/drawing/2014/main" id="{650C0B36-EFDF-65A1-DC91-D4AF739ED24F}"/>
              </a:ext>
            </a:extLst>
          </p:cNvPr>
          <p:cNvSpPr txBox="1"/>
          <p:nvPr/>
        </p:nvSpPr>
        <p:spPr>
          <a:xfrm>
            <a:off x="379032" y="3828327"/>
            <a:ext cx="3182282" cy="24622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600" b="1" noProof="0">
                <a:solidFill>
                  <a:srgbClr val="464646"/>
                </a:solidFill>
                <a:latin typeface="Avenir LT Pro 45Book"/>
              </a:rPr>
              <a:t>Example: Michelin's Value Revolution</a:t>
            </a:r>
          </a:p>
        </p:txBody>
      </p:sp>
      <p:sp>
        <p:nvSpPr>
          <p:cNvPr id="28" name="TextBox 24">
            <a:extLst>
              <a:ext uri="{FF2B5EF4-FFF2-40B4-BE49-F238E27FC236}">
                <a16:creationId xmlns:a16="http://schemas.microsoft.com/office/drawing/2014/main" id="{C24D795D-5AFB-70AF-AE71-CF14D731695A}"/>
              </a:ext>
            </a:extLst>
          </p:cNvPr>
          <p:cNvSpPr txBox="1"/>
          <p:nvPr/>
        </p:nvSpPr>
        <p:spPr>
          <a:xfrm>
            <a:off x="1836776" y="4306623"/>
            <a:ext cx="1367362" cy="153888"/>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000" b="1" noProof="0">
                <a:solidFill>
                  <a:srgbClr val="464646"/>
                </a:solidFill>
                <a:latin typeface="Avenir LT Pro 45Book"/>
              </a:rPr>
              <a:t>Functional Improvements</a:t>
            </a:r>
          </a:p>
        </p:txBody>
      </p:sp>
      <p:sp>
        <p:nvSpPr>
          <p:cNvPr id="29" name="TextBox 25">
            <a:extLst>
              <a:ext uri="{FF2B5EF4-FFF2-40B4-BE49-F238E27FC236}">
                <a16:creationId xmlns:a16="http://schemas.microsoft.com/office/drawing/2014/main" id="{4B75F728-327E-E34B-9D65-BE28B1B9CB3F}"/>
              </a:ext>
            </a:extLst>
          </p:cNvPr>
          <p:cNvSpPr txBox="1"/>
          <p:nvPr/>
        </p:nvSpPr>
        <p:spPr>
          <a:xfrm>
            <a:off x="3971744" y="3948986"/>
            <a:ext cx="1011495" cy="153888"/>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000" b="1" noProof="0">
                <a:solidFill>
                  <a:srgbClr val="464646"/>
                </a:solidFill>
                <a:latin typeface="Avenir LT Pro 45Book"/>
              </a:rPr>
              <a:t>Emotional Benefits</a:t>
            </a:r>
          </a:p>
        </p:txBody>
      </p:sp>
      <p:sp>
        <p:nvSpPr>
          <p:cNvPr id="30" name="TextBox 26">
            <a:extLst>
              <a:ext uri="{FF2B5EF4-FFF2-40B4-BE49-F238E27FC236}">
                <a16:creationId xmlns:a16="http://schemas.microsoft.com/office/drawing/2014/main" id="{3D1E0D82-4F73-9630-5948-CD081C83307C}"/>
              </a:ext>
            </a:extLst>
          </p:cNvPr>
          <p:cNvSpPr txBox="1"/>
          <p:nvPr/>
        </p:nvSpPr>
        <p:spPr>
          <a:xfrm>
            <a:off x="5794769" y="4091837"/>
            <a:ext cx="790281" cy="153888"/>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000" b="1" noProof="0">
                <a:solidFill>
                  <a:srgbClr val="464646"/>
                </a:solidFill>
                <a:latin typeface="Avenir LT Pro 45Book"/>
              </a:rPr>
              <a:t>Increased WTP</a:t>
            </a:r>
          </a:p>
        </p:txBody>
      </p:sp>
      <p:sp>
        <p:nvSpPr>
          <p:cNvPr id="31" name="TextBox 27">
            <a:extLst>
              <a:ext uri="{FF2B5EF4-FFF2-40B4-BE49-F238E27FC236}">
                <a16:creationId xmlns:a16="http://schemas.microsoft.com/office/drawing/2014/main" id="{DAA2FB62-00BA-171F-AA85-49F1B32D1DD1}"/>
              </a:ext>
            </a:extLst>
          </p:cNvPr>
          <p:cNvSpPr txBox="1"/>
          <p:nvPr/>
        </p:nvSpPr>
        <p:spPr>
          <a:xfrm>
            <a:off x="918324" y="4464069"/>
            <a:ext cx="2285814" cy="215444"/>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700" b="0" noProof="0">
                <a:solidFill>
                  <a:srgbClr val="464646"/>
                </a:solidFill>
                <a:latin typeface="Avenir LT Pro 45Book"/>
              </a:rPr>
              <a:t>Developed tires that reduced fuel consumption by 3-7%, saving trucking companies thousands of dollars annually.</a:t>
            </a:r>
          </a:p>
        </p:txBody>
      </p:sp>
      <p:sp>
        <p:nvSpPr>
          <p:cNvPr id="32" name="TextBox 28">
            <a:extLst>
              <a:ext uri="{FF2B5EF4-FFF2-40B4-BE49-F238E27FC236}">
                <a16:creationId xmlns:a16="http://schemas.microsoft.com/office/drawing/2014/main" id="{1CE15D75-ECF6-EEDF-C0B5-12121B5DE976}"/>
              </a:ext>
            </a:extLst>
          </p:cNvPr>
          <p:cNvSpPr txBox="1"/>
          <p:nvPr/>
        </p:nvSpPr>
        <p:spPr>
          <a:xfrm>
            <a:off x="3644260" y="4113012"/>
            <a:ext cx="1749799" cy="215444"/>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00" b="0" noProof="0">
                <a:solidFill>
                  <a:srgbClr val="464646"/>
                </a:solidFill>
                <a:latin typeface="Avenir LT Pro 45Book"/>
              </a:rPr>
              <a:t>Provided peace of mind through guaranteed uptime and roadside assistance programs.</a:t>
            </a:r>
          </a:p>
        </p:txBody>
      </p:sp>
      <p:sp>
        <p:nvSpPr>
          <p:cNvPr id="33" name="TextBox 29">
            <a:extLst>
              <a:ext uri="{FF2B5EF4-FFF2-40B4-BE49-F238E27FC236}">
                <a16:creationId xmlns:a16="http://schemas.microsoft.com/office/drawing/2014/main" id="{B604840A-0C14-4486-A08D-32BE4D814494}"/>
              </a:ext>
            </a:extLst>
          </p:cNvPr>
          <p:cNvSpPr txBox="1"/>
          <p:nvPr/>
        </p:nvSpPr>
        <p:spPr>
          <a:xfrm>
            <a:off x="5790080" y="4237708"/>
            <a:ext cx="1483122" cy="215444"/>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700" b="0" noProof="0">
                <a:solidFill>
                  <a:srgbClr val="464646"/>
                </a:solidFill>
                <a:latin typeface="Avenir LT Pro 45Book"/>
              </a:rPr>
              <a:t>Customers were willing to pay more due to lower total cost of ownership.</a:t>
            </a:r>
          </a:p>
        </p:txBody>
      </p:sp>
      <p:sp>
        <p:nvSpPr>
          <p:cNvPr id="34" name="TextBox 30">
            <a:extLst>
              <a:ext uri="{FF2B5EF4-FFF2-40B4-BE49-F238E27FC236}">
                <a16:creationId xmlns:a16="http://schemas.microsoft.com/office/drawing/2014/main" id="{F20280B2-E116-4D12-B389-C4889F021B61}"/>
              </a:ext>
            </a:extLst>
          </p:cNvPr>
          <p:cNvSpPr txBox="1"/>
          <p:nvPr/>
        </p:nvSpPr>
        <p:spPr>
          <a:xfrm>
            <a:off x="5926633" y="6125889"/>
            <a:ext cx="876843" cy="153888"/>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000" b="1" noProof="0">
                <a:solidFill>
                  <a:srgbClr val="464646"/>
                </a:solidFill>
                <a:latin typeface="Avenir LT Pro 45Book"/>
              </a:rPr>
              <a:t>Premium Pricing</a:t>
            </a:r>
          </a:p>
        </p:txBody>
      </p:sp>
      <p:sp>
        <p:nvSpPr>
          <p:cNvPr id="35" name="TextBox 31">
            <a:extLst>
              <a:ext uri="{FF2B5EF4-FFF2-40B4-BE49-F238E27FC236}">
                <a16:creationId xmlns:a16="http://schemas.microsoft.com/office/drawing/2014/main" id="{8E68CAE5-9910-9DDF-7B0E-4505CB88727C}"/>
              </a:ext>
            </a:extLst>
          </p:cNvPr>
          <p:cNvSpPr txBox="1"/>
          <p:nvPr/>
        </p:nvSpPr>
        <p:spPr>
          <a:xfrm>
            <a:off x="4610920" y="6307338"/>
            <a:ext cx="857607" cy="153888"/>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000" b="1" noProof="0">
                <a:solidFill>
                  <a:srgbClr val="464646"/>
                </a:solidFill>
                <a:latin typeface="Avenir LT Pro 45Book"/>
              </a:rPr>
              <a:t>Strategic Pricing</a:t>
            </a:r>
          </a:p>
        </p:txBody>
      </p:sp>
      <p:sp>
        <p:nvSpPr>
          <p:cNvPr id="36" name="TextBox 32">
            <a:extLst>
              <a:ext uri="{FF2B5EF4-FFF2-40B4-BE49-F238E27FC236}">
                <a16:creationId xmlns:a16="http://schemas.microsoft.com/office/drawing/2014/main" id="{B9A21439-1F60-5040-F5BA-197D2481436D}"/>
              </a:ext>
            </a:extLst>
          </p:cNvPr>
          <p:cNvSpPr txBox="1"/>
          <p:nvPr/>
        </p:nvSpPr>
        <p:spPr>
          <a:xfrm>
            <a:off x="2786905" y="6148099"/>
            <a:ext cx="834466" cy="307777"/>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000" b="1" noProof="0">
                <a:solidFill>
                  <a:srgbClr val="464646"/>
                </a:solidFill>
                <a:latin typeface="Avenir LT Pro 45Book"/>
              </a:rPr>
              <a:t>Experience Enhancement</a:t>
            </a:r>
          </a:p>
        </p:txBody>
      </p:sp>
      <p:sp>
        <p:nvSpPr>
          <p:cNvPr id="37" name="TextBox 33">
            <a:extLst>
              <a:ext uri="{FF2B5EF4-FFF2-40B4-BE49-F238E27FC236}">
                <a16:creationId xmlns:a16="http://schemas.microsoft.com/office/drawing/2014/main" id="{296E5468-CD6C-D5AA-F459-B0A204C490E3}"/>
              </a:ext>
            </a:extLst>
          </p:cNvPr>
          <p:cNvSpPr txBox="1"/>
          <p:nvPr/>
        </p:nvSpPr>
        <p:spPr>
          <a:xfrm>
            <a:off x="5926633" y="6316086"/>
            <a:ext cx="1824718" cy="215444"/>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700" b="0" noProof="0">
                <a:solidFill>
                  <a:srgbClr val="464646"/>
                </a:solidFill>
                <a:latin typeface="Avenir LT Pro 45Book"/>
              </a:rPr>
              <a:t>Michelin captured premium pricing while customers achieved lower overall operating costs.</a:t>
            </a:r>
          </a:p>
        </p:txBody>
      </p:sp>
      <p:sp>
        <p:nvSpPr>
          <p:cNvPr id="38" name="TextBox 34">
            <a:extLst>
              <a:ext uri="{FF2B5EF4-FFF2-40B4-BE49-F238E27FC236}">
                <a16:creationId xmlns:a16="http://schemas.microsoft.com/office/drawing/2014/main" id="{A24E1D09-1A7F-CB7C-FBB9-44983D11B35A}"/>
              </a:ext>
            </a:extLst>
          </p:cNvPr>
          <p:cNvSpPr txBox="1"/>
          <p:nvPr/>
        </p:nvSpPr>
        <p:spPr>
          <a:xfrm>
            <a:off x="4308622" y="6481503"/>
            <a:ext cx="1482575" cy="323165"/>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00" b="0" noProof="0">
                <a:solidFill>
                  <a:srgbClr val="464646"/>
                </a:solidFill>
                <a:latin typeface="Avenir LT Pro 45Book"/>
              </a:rPr>
              <a:t>Introduced "pay-per-mile" pricing, aligning incentives with customer value creation.</a:t>
            </a:r>
          </a:p>
        </p:txBody>
      </p:sp>
      <p:sp>
        <p:nvSpPr>
          <p:cNvPr id="39" name="TextBox 35">
            <a:extLst>
              <a:ext uri="{FF2B5EF4-FFF2-40B4-BE49-F238E27FC236}">
                <a16:creationId xmlns:a16="http://schemas.microsoft.com/office/drawing/2014/main" id="{BEC94D69-A688-EC2B-528A-B477077168D4}"/>
              </a:ext>
            </a:extLst>
          </p:cNvPr>
          <p:cNvSpPr txBox="1"/>
          <p:nvPr/>
        </p:nvSpPr>
        <p:spPr>
          <a:xfrm>
            <a:off x="1858318" y="6449318"/>
            <a:ext cx="2208002" cy="215444"/>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00" b="0" noProof="0">
                <a:solidFill>
                  <a:srgbClr val="464646"/>
                </a:solidFill>
                <a:latin typeface="Avenir LT Pro 45Book"/>
              </a:rPr>
              <a:t>Introduced tire pressure monitoring systems and predictive maintenance services that prevented costly breakdowns.</a:t>
            </a:r>
          </a:p>
        </p:txBody>
      </p:sp>
      <p:grpSp>
        <p:nvGrpSpPr>
          <p:cNvPr id="56" name="Group 55">
            <a:extLst>
              <a:ext uri="{FF2B5EF4-FFF2-40B4-BE49-F238E27FC236}">
                <a16:creationId xmlns:a16="http://schemas.microsoft.com/office/drawing/2014/main" id="{A2230C53-E51A-D47A-898B-C9BBA99545B3}"/>
              </a:ext>
            </a:extLst>
          </p:cNvPr>
          <p:cNvGrpSpPr/>
          <p:nvPr/>
        </p:nvGrpSpPr>
        <p:grpSpPr>
          <a:xfrm>
            <a:off x="1743139" y="5372859"/>
            <a:ext cx="227034" cy="299790"/>
            <a:chOff x="1659924" y="2175304"/>
            <a:chExt cx="227034" cy="299790"/>
          </a:xfrm>
        </p:grpSpPr>
        <p:sp>
          <p:nvSpPr>
            <p:cNvPr id="57" name="Rounded Rectangle 20">
              <a:extLst>
                <a:ext uri="{FF2B5EF4-FFF2-40B4-BE49-F238E27FC236}">
                  <a16:creationId xmlns:a16="http://schemas.microsoft.com/office/drawing/2014/main" id="{CCC2EA27-8E32-9CFB-A51A-C72A7AA0C748}"/>
                </a:ext>
              </a:extLst>
            </p:cNvPr>
            <p:cNvSpPr/>
            <p:nvPr/>
          </p:nvSpPr>
          <p:spPr>
            <a:xfrm>
              <a:off x="1659924" y="2175304"/>
              <a:ext cx="227034" cy="299790"/>
            </a:xfrm>
            <a:custGeom>
              <a:avLst/>
              <a:gdLst/>
              <a:ahLst/>
              <a:cxnLst/>
              <a:rect l="0" t="0" r="0" b="0"/>
              <a:pathLst>
                <a:path w="227034" h="299790">
                  <a:moveTo>
                    <a:pt x="150999" y="113450"/>
                  </a:moveTo>
                  <a:cubicBezTo>
                    <a:pt x="150999" y="134199"/>
                    <a:pt x="134132" y="150999"/>
                    <a:pt x="113450" y="150999"/>
                  </a:cubicBezTo>
                  <a:cubicBezTo>
                    <a:pt x="92768" y="150999"/>
                    <a:pt x="75968" y="134199"/>
                    <a:pt x="75968" y="113450"/>
                  </a:cubicBezTo>
                  <a:cubicBezTo>
                    <a:pt x="75968" y="92701"/>
                    <a:pt x="92768" y="75901"/>
                    <a:pt x="113450" y="75901"/>
                  </a:cubicBezTo>
                  <a:cubicBezTo>
                    <a:pt x="134199" y="75901"/>
                    <a:pt x="150999" y="92701"/>
                    <a:pt x="150999" y="113450"/>
                  </a:cubicBezTo>
                  <a:close/>
                  <a:moveTo>
                    <a:pt x="227034" y="113383"/>
                  </a:moveTo>
                  <a:cubicBezTo>
                    <a:pt x="227034" y="160102"/>
                    <a:pt x="198789" y="200194"/>
                    <a:pt x="158496" y="217597"/>
                  </a:cubicBezTo>
                  <a:lnTo>
                    <a:pt x="113517" y="299790"/>
                  </a:lnTo>
                  <a:lnTo>
                    <a:pt x="68538" y="217664"/>
                  </a:lnTo>
                  <a:cubicBezTo>
                    <a:pt x="28245" y="200261"/>
                    <a:pt x="0" y="160169"/>
                    <a:pt x="0" y="113450"/>
                  </a:cubicBezTo>
                  <a:cubicBezTo>
                    <a:pt x="0" y="50801"/>
                    <a:pt x="50734" y="0"/>
                    <a:pt x="113450" y="0"/>
                  </a:cubicBezTo>
                  <a:cubicBezTo>
                    <a:pt x="176166" y="0"/>
                    <a:pt x="226967" y="50801"/>
                    <a:pt x="226967" y="113450"/>
                  </a:cubicBezTo>
                  <a:close/>
                  <a:moveTo>
                    <a:pt x="183997" y="113450"/>
                  </a:moveTo>
                  <a:cubicBezTo>
                    <a:pt x="183997" y="74495"/>
                    <a:pt x="152338" y="42970"/>
                    <a:pt x="113450" y="42970"/>
                  </a:cubicBezTo>
                  <a:cubicBezTo>
                    <a:pt x="74562" y="42970"/>
                    <a:pt x="42970" y="74495"/>
                    <a:pt x="42970" y="113450"/>
                  </a:cubicBezTo>
                  <a:cubicBezTo>
                    <a:pt x="42970" y="152405"/>
                    <a:pt x="74562" y="183997"/>
                    <a:pt x="113450" y="183997"/>
                  </a:cubicBezTo>
                  <a:cubicBezTo>
                    <a:pt x="152405" y="183997"/>
                    <a:pt x="183997" y="152405"/>
                    <a:pt x="183997" y="113450"/>
                  </a:cubicBezTo>
                  <a:close/>
                </a:path>
              </a:pathLst>
            </a:custGeom>
            <a:solidFill>
              <a:srgbClr val="5A3E1C"/>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58" name="Rounded Rectangle 21">
              <a:extLst>
                <a:ext uri="{FF2B5EF4-FFF2-40B4-BE49-F238E27FC236}">
                  <a16:creationId xmlns:a16="http://schemas.microsoft.com/office/drawing/2014/main" id="{CF010335-34AE-AF08-EBE0-554A63A1DFB4}"/>
                </a:ext>
              </a:extLst>
            </p:cNvPr>
            <p:cNvSpPr/>
            <p:nvPr/>
          </p:nvSpPr>
          <p:spPr>
            <a:xfrm>
              <a:off x="1659924" y="2175304"/>
              <a:ext cx="227034" cy="299790"/>
            </a:xfrm>
            <a:custGeom>
              <a:avLst/>
              <a:gdLst/>
              <a:ahLst/>
              <a:cxnLst/>
              <a:rect l="0" t="0" r="0" b="0"/>
              <a:pathLst>
                <a:path w="227034" h="299790">
                  <a:moveTo>
                    <a:pt x="150999" y="113450"/>
                  </a:moveTo>
                  <a:cubicBezTo>
                    <a:pt x="150999" y="134199"/>
                    <a:pt x="134132" y="150999"/>
                    <a:pt x="113450" y="150999"/>
                  </a:cubicBezTo>
                  <a:cubicBezTo>
                    <a:pt x="92768" y="150999"/>
                    <a:pt x="75968" y="134199"/>
                    <a:pt x="75968" y="113450"/>
                  </a:cubicBezTo>
                  <a:cubicBezTo>
                    <a:pt x="75968" y="92701"/>
                    <a:pt x="92768" y="75901"/>
                    <a:pt x="113450" y="75901"/>
                  </a:cubicBezTo>
                  <a:cubicBezTo>
                    <a:pt x="134199" y="75901"/>
                    <a:pt x="150999" y="92701"/>
                    <a:pt x="150999" y="113450"/>
                  </a:cubicBezTo>
                  <a:close/>
                  <a:moveTo>
                    <a:pt x="227034" y="113383"/>
                  </a:moveTo>
                  <a:cubicBezTo>
                    <a:pt x="227034" y="160102"/>
                    <a:pt x="198789" y="200194"/>
                    <a:pt x="158496" y="217597"/>
                  </a:cubicBezTo>
                  <a:lnTo>
                    <a:pt x="113517" y="299790"/>
                  </a:lnTo>
                  <a:lnTo>
                    <a:pt x="68538" y="217664"/>
                  </a:lnTo>
                  <a:cubicBezTo>
                    <a:pt x="28245" y="200261"/>
                    <a:pt x="0" y="160169"/>
                    <a:pt x="0" y="113450"/>
                  </a:cubicBezTo>
                  <a:cubicBezTo>
                    <a:pt x="0" y="50801"/>
                    <a:pt x="50734" y="0"/>
                    <a:pt x="113450" y="0"/>
                  </a:cubicBezTo>
                  <a:cubicBezTo>
                    <a:pt x="176166" y="0"/>
                    <a:pt x="226967" y="50801"/>
                    <a:pt x="226967" y="113450"/>
                  </a:cubicBezTo>
                  <a:close/>
                  <a:moveTo>
                    <a:pt x="183997" y="113450"/>
                  </a:moveTo>
                  <a:cubicBezTo>
                    <a:pt x="183997" y="74495"/>
                    <a:pt x="152338" y="42970"/>
                    <a:pt x="113450" y="42970"/>
                  </a:cubicBezTo>
                  <a:cubicBezTo>
                    <a:pt x="74562" y="42970"/>
                    <a:pt x="42970" y="74495"/>
                    <a:pt x="42970" y="113450"/>
                  </a:cubicBezTo>
                  <a:cubicBezTo>
                    <a:pt x="42970" y="152405"/>
                    <a:pt x="74562" y="183997"/>
                    <a:pt x="113450" y="183997"/>
                  </a:cubicBezTo>
                  <a:cubicBezTo>
                    <a:pt x="152405" y="183997"/>
                    <a:pt x="183997" y="152405"/>
                    <a:pt x="183997" y="113450"/>
                  </a:cubicBezTo>
                  <a:close/>
                </a:path>
              </a:pathLst>
            </a:custGeom>
            <a:noFill/>
            <a:ln w="5019">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sp>
        <p:nvSpPr>
          <p:cNvPr id="59" name="TextBox 24">
            <a:extLst>
              <a:ext uri="{FF2B5EF4-FFF2-40B4-BE49-F238E27FC236}">
                <a16:creationId xmlns:a16="http://schemas.microsoft.com/office/drawing/2014/main" id="{C8CC29A2-6E93-068C-958A-313949A84284}"/>
              </a:ext>
            </a:extLst>
          </p:cNvPr>
          <p:cNvSpPr txBox="1"/>
          <p:nvPr/>
        </p:nvSpPr>
        <p:spPr>
          <a:xfrm>
            <a:off x="1188898" y="4864480"/>
            <a:ext cx="1301638" cy="153888"/>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000" b="1" noProof="0">
                <a:solidFill>
                  <a:srgbClr val="464646"/>
                </a:solidFill>
                <a:latin typeface="Avenir LT Pro 45Book"/>
              </a:rPr>
              <a:t>WTS Reduction Strategy</a:t>
            </a:r>
          </a:p>
        </p:txBody>
      </p:sp>
      <p:sp>
        <p:nvSpPr>
          <p:cNvPr id="60" name="TextBox 27">
            <a:extLst>
              <a:ext uri="{FF2B5EF4-FFF2-40B4-BE49-F238E27FC236}">
                <a16:creationId xmlns:a16="http://schemas.microsoft.com/office/drawing/2014/main" id="{1B48EAA5-82A4-6625-C83A-B40B2FA9219F}"/>
              </a:ext>
            </a:extLst>
          </p:cNvPr>
          <p:cNvSpPr txBox="1"/>
          <p:nvPr/>
        </p:nvSpPr>
        <p:spPr>
          <a:xfrm>
            <a:off x="800554" y="5030405"/>
            <a:ext cx="2078320" cy="323165"/>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00" b="0" noProof="0">
                <a:solidFill>
                  <a:srgbClr val="464646"/>
                </a:solidFill>
                <a:latin typeface="Avenir LT Pro 45Book"/>
              </a:rPr>
              <a:t>Traditional tire companies competed primarily on price, treating tires as commodities where WTS reduction was the main strategy.</a:t>
            </a:r>
          </a:p>
        </p:txBody>
      </p:sp>
      <p:sp>
        <p:nvSpPr>
          <p:cNvPr id="61" name="Rectangle: Rounded Corners 60">
            <a:extLst>
              <a:ext uri="{FF2B5EF4-FFF2-40B4-BE49-F238E27FC236}">
                <a16:creationId xmlns:a16="http://schemas.microsoft.com/office/drawing/2014/main" id="{8E9A659A-CD95-1FFC-4E44-70F51745BAAC}"/>
              </a:ext>
            </a:extLst>
          </p:cNvPr>
          <p:cNvSpPr/>
          <p:nvPr/>
        </p:nvSpPr>
        <p:spPr>
          <a:xfrm>
            <a:off x="2520457" y="1281793"/>
            <a:ext cx="3847686" cy="2316301"/>
          </a:xfrm>
          <a:prstGeom prst="roundRect">
            <a:avLst>
              <a:gd name="adj" fmla="val 6093"/>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nvGrpSpPr>
          <p:cNvPr id="62" name="Group 61">
            <a:extLst>
              <a:ext uri="{FF2B5EF4-FFF2-40B4-BE49-F238E27FC236}">
                <a16:creationId xmlns:a16="http://schemas.microsoft.com/office/drawing/2014/main" id="{937389EF-CD9C-1074-B9E1-DB58EE3B8D21}"/>
              </a:ext>
            </a:extLst>
          </p:cNvPr>
          <p:cNvGrpSpPr/>
          <p:nvPr/>
        </p:nvGrpSpPr>
        <p:grpSpPr>
          <a:xfrm>
            <a:off x="6725475" y="4566038"/>
            <a:ext cx="227034" cy="299790"/>
            <a:chOff x="4471086" y="3219450"/>
            <a:chExt cx="227034" cy="299790"/>
          </a:xfrm>
        </p:grpSpPr>
        <p:sp>
          <p:nvSpPr>
            <p:cNvPr id="63" name="Rounded Rectangle 5">
              <a:extLst>
                <a:ext uri="{FF2B5EF4-FFF2-40B4-BE49-F238E27FC236}">
                  <a16:creationId xmlns:a16="http://schemas.microsoft.com/office/drawing/2014/main" id="{08246587-AC9C-E716-475E-9FB5EF9F8F6E}"/>
                </a:ext>
              </a:extLst>
            </p:cNvPr>
            <p:cNvSpPr/>
            <p:nvPr/>
          </p:nvSpPr>
          <p:spPr>
            <a:xfrm>
              <a:off x="4471086" y="3219450"/>
              <a:ext cx="227034" cy="299790"/>
            </a:xfrm>
            <a:custGeom>
              <a:avLst/>
              <a:gdLst/>
              <a:ahLst/>
              <a:cxnLst/>
              <a:rect l="0" t="0" r="0" b="0"/>
              <a:pathLst>
                <a:path w="227034" h="299790">
                  <a:moveTo>
                    <a:pt x="150999" y="113450"/>
                  </a:moveTo>
                  <a:cubicBezTo>
                    <a:pt x="150999" y="134199"/>
                    <a:pt x="134132" y="150999"/>
                    <a:pt x="113450" y="150999"/>
                  </a:cubicBezTo>
                  <a:cubicBezTo>
                    <a:pt x="92768" y="150999"/>
                    <a:pt x="75968" y="134199"/>
                    <a:pt x="75968" y="113450"/>
                  </a:cubicBezTo>
                  <a:cubicBezTo>
                    <a:pt x="75968" y="92701"/>
                    <a:pt x="92768" y="75901"/>
                    <a:pt x="113450" y="75901"/>
                  </a:cubicBezTo>
                  <a:cubicBezTo>
                    <a:pt x="134199" y="75901"/>
                    <a:pt x="150999" y="92701"/>
                    <a:pt x="150999" y="113450"/>
                  </a:cubicBezTo>
                  <a:close/>
                  <a:moveTo>
                    <a:pt x="227034" y="113383"/>
                  </a:moveTo>
                  <a:cubicBezTo>
                    <a:pt x="227034" y="160102"/>
                    <a:pt x="198789" y="200194"/>
                    <a:pt x="158496" y="217597"/>
                  </a:cubicBezTo>
                  <a:lnTo>
                    <a:pt x="113517" y="299790"/>
                  </a:lnTo>
                  <a:lnTo>
                    <a:pt x="68538" y="217664"/>
                  </a:lnTo>
                  <a:cubicBezTo>
                    <a:pt x="28245" y="200261"/>
                    <a:pt x="0" y="160169"/>
                    <a:pt x="0" y="113450"/>
                  </a:cubicBezTo>
                  <a:cubicBezTo>
                    <a:pt x="0" y="50801"/>
                    <a:pt x="50734" y="0"/>
                    <a:pt x="113450" y="0"/>
                  </a:cubicBezTo>
                  <a:cubicBezTo>
                    <a:pt x="176166" y="0"/>
                    <a:pt x="226967" y="50801"/>
                    <a:pt x="226967" y="113450"/>
                  </a:cubicBezTo>
                  <a:close/>
                  <a:moveTo>
                    <a:pt x="183997" y="113450"/>
                  </a:moveTo>
                  <a:cubicBezTo>
                    <a:pt x="183997" y="74495"/>
                    <a:pt x="152338" y="42970"/>
                    <a:pt x="113450" y="42970"/>
                  </a:cubicBezTo>
                  <a:cubicBezTo>
                    <a:pt x="74562" y="42970"/>
                    <a:pt x="42970" y="74495"/>
                    <a:pt x="42970" y="113450"/>
                  </a:cubicBezTo>
                  <a:cubicBezTo>
                    <a:pt x="42970" y="152405"/>
                    <a:pt x="74562" y="183997"/>
                    <a:pt x="113450" y="183997"/>
                  </a:cubicBezTo>
                  <a:cubicBezTo>
                    <a:pt x="152405" y="183997"/>
                    <a:pt x="183997" y="152405"/>
                    <a:pt x="183997" y="113450"/>
                  </a:cubicBezTo>
                  <a:close/>
                </a:path>
              </a:pathLst>
            </a:custGeom>
            <a:solidFill>
              <a:srgbClr val="FFCC8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64" name="Rounded Rectangle 6">
              <a:extLst>
                <a:ext uri="{FF2B5EF4-FFF2-40B4-BE49-F238E27FC236}">
                  <a16:creationId xmlns:a16="http://schemas.microsoft.com/office/drawing/2014/main" id="{AB31E55B-381C-44BF-55B2-002C2996F370}"/>
                </a:ext>
              </a:extLst>
            </p:cNvPr>
            <p:cNvSpPr/>
            <p:nvPr/>
          </p:nvSpPr>
          <p:spPr>
            <a:xfrm>
              <a:off x="4471086" y="3219450"/>
              <a:ext cx="227034" cy="299790"/>
            </a:xfrm>
            <a:custGeom>
              <a:avLst/>
              <a:gdLst/>
              <a:ahLst/>
              <a:cxnLst/>
              <a:rect l="0" t="0" r="0" b="0"/>
              <a:pathLst>
                <a:path w="227034" h="299790">
                  <a:moveTo>
                    <a:pt x="150999" y="113450"/>
                  </a:moveTo>
                  <a:cubicBezTo>
                    <a:pt x="150999" y="134199"/>
                    <a:pt x="134132" y="150999"/>
                    <a:pt x="113450" y="150999"/>
                  </a:cubicBezTo>
                  <a:cubicBezTo>
                    <a:pt x="92768" y="150999"/>
                    <a:pt x="75968" y="134199"/>
                    <a:pt x="75968" y="113450"/>
                  </a:cubicBezTo>
                  <a:cubicBezTo>
                    <a:pt x="75968" y="92701"/>
                    <a:pt x="92768" y="75901"/>
                    <a:pt x="113450" y="75901"/>
                  </a:cubicBezTo>
                  <a:cubicBezTo>
                    <a:pt x="134199" y="75901"/>
                    <a:pt x="150999" y="92701"/>
                    <a:pt x="150999" y="113450"/>
                  </a:cubicBezTo>
                  <a:close/>
                  <a:moveTo>
                    <a:pt x="227034" y="113383"/>
                  </a:moveTo>
                  <a:cubicBezTo>
                    <a:pt x="227034" y="160102"/>
                    <a:pt x="198789" y="200194"/>
                    <a:pt x="158496" y="217597"/>
                  </a:cubicBezTo>
                  <a:lnTo>
                    <a:pt x="113517" y="299790"/>
                  </a:lnTo>
                  <a:lnTo>
                    <a:pt x="68538" y="217664"/>
                  </a:lnTo>
                  <a:cubicBezTo>
                    <a:pt x="28245" y="200261"/>
                    <a:pt x="0" y="160169"/>
                    <a:pt x="0" y="113450"/>
                  </a:cubicBezTo>
                  <a:cubicBezTo>
                    <a:pt x="0" y="50801"/>
                    <a:pt x="50734" y="0"/>
                    <a:pt x="113450" y="0"/>
                  </a:cubicBezTo>
                  <a:cubicBezTo>
                    <a:pt x="176166" y="0"/>
                    <a:pt x="226967" y="50801"/>
                    <a:pt x="226967" y="113450"/>
                  </a:cubicBezTo>
                  <a:close/>
                  <a:moveTo>
                    <a:pt x="183997" y="113450"/>
                  </a:moveTo>
                  <a:cubicBezTo>
                    <a:pt x="183997" y="74495"/>
                    <a:pt x="152338" y="42970"/>
                    <a:pt x="113450" y="42970"/>
                  </a:cubicBezTo>
                  <a:cubicBezTo>
                    <a:pt x="74562" y="42970"/>
                    <a:pt x="42970" y="74495"/>
                    <a:pt x="42970" y="113450"/>
                  </a:cubicBezTo>
                  <a:cubicBezTo>
                    <a:pt x="42970" y="152405"/>
                    <a:pt x="74562" y="183997"/>
                    <a:pt x="113450" y="183997"/>
                  </a:cubicBezTo>
                  <a:cubicBezTo>
                    <a:pt x="152405" y="183997"/>
                    <a:pt x="183997" y="152405"/>
                    <a:pt x="183997" y="113450"/>
                  </a:cubicBezTo>
                  <a:close/>
                </a:path>
              </a:pathLst>
            </a:custGeom>
            <a:noFill/>
            <a:ln w="5019">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sp>
        <p:nvSpPr>
          <p:cNvPr id="65" name="TextBox 30">
            <a:extLst>
              <a:ext uri="{FF2B5EF4-FFF2-40B4-BE49-F238E27FC236}">
                <a16:creationId xmlns:a16="http://schemas.microsoft.com/office/drawing/2014/main" id="{75A2F757-05AC-3B53-B7EA-DD1D70DA2E52}"/>
              </a:ext>
            </a:extLst>
          </p:cNvPr>
          <p:cNvSpPr txBox="1"/>
          <p:nvPr/>
        </p:nvSpPr>
        <p:spPr>
          <a:xfrm>
            <a:off x="7521131" y="4601169"/>
            <a:ext cx="1154162" cy="153888"/>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000" b="1" noProof="0">
                <a:solidFill>
                  <a:srgbClr val="464646"/>
                </a:solidFill>
                <a:latin typeface="Avenir LT Pro 45Book"/>
              </a:rPr>
              <a:t>Reduced Competition</a:t>
            </a:r>
          </a:p>
        </p:txBody>
      </p:sp>
      <p:sp>
        <p:nvSpPr>
          <p:cNvPr id="66" name="TextBox 33">
            <a:extLst>
              <a:ext uri="{FF2B5EF4-FFF2-40B4-BE49-F238E27FC236}">
                <a16:creationId xmlns:a16="http://schemas.microsoft.com/office/drawing/2014/main" id="{0BCC7324-DAAF-DDEB-FB00-38D8E3E786B9}"/>
              </a:ext>
            </a:extLst>
          </p:cNvPr>
          <p:cNvSpPr txBox="1"/>
          <p:nvPr/>
        </p:nvSpPr>
        <p:spPr>
          <a:xfrm>
            <a:off x="7701483" y="4792245"/>
            <a:ext cx="1438358" cy="538609"/>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00" b="0" noProof="0">
                <a:solidFill>
                  <a:srgbClr val="464646"/>
                </a:solidFill>
                <a:latin typeface="Avenir LT Pro 45Book"/>
              </a:rPr>
              <a:t>Competitors found this model difficult to replicate because it required integrated capabilities in tire technology, monitoring systems, and service delivery.</a:t>
            </a:r>
          </a:p>
        </p:txBody>
      </p:sp>
      <p:sp>
        <p:nvSpPr>
          <p:cNvPr id="3" name="Arrow: Chevron 2">
            <a:extLst>
              <a:ext uri="{FF2B5EF4-FFF2-40B4-BE49-F238E27FC236}">
                <a16:creationId xmlns:a16="http://schemas.microsoft.com/office/drawing/2014/main" id="{3B9F993C-8619-3420-DCC9-65D52D148652}"/>
              </a:ext>
            </a:extLst>
          </p:cNvPr>
          <p:cNvSpPr/>
          <p:nvPr/>
        </p:nvSpPr>
        <p:spPr>
          <a:xfrm>
            <a:off x="8113996"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16" name="Arrow: Chevron 15">
            <a:extLst>
              <a:ext uri="{FF2B5EF4-FFF2-40B4-BE49-F238E27FC236}">
                <a16:creationId xmlns:a16="http://schemas.microsoft.com/office/drawing/2014/main" id="{82216177-8F10-C2EE-B4DA-315E5247895D}"/>
              </a:ext>
            </a:extLst>
          </p:cNvPr>
          <p:cNvSpPr/>
          <p:nvPr/>
        </p:nvSpPr>
        <p:spPr>
          <a:xfrm>
            <a:off x="9076754"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17" name="Arrow: Chevron 16">
            <a:extLst>
              <a:ext uri="{FF2B5EF4-FFF2-40B4-BE49-F238E27FC236}">
                <a16:creationId xmlns:a16="http://schemas.microsoft.com/office/drawing/2014/main" id="{A12DAE26-2332-B01A-2D25-07DCE71A11CA}"/>
              </a:ext>
            </a:extLst>
          </p:cNvPr>
          <p:cNvSpPr/>
          <p:nvPr/>
        </p:nvSpPr>
        <p:spPr>
          <a:xfrm>
            <a:off x="1003951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67" name="Arrow: Chevron 66">
            <a:extLst>
              <a:ext uri="{FF2B5EF4-FFF2-40B4-BE49-F238E27FC236}">
                <a16:creationId xmlns:a16="http://schemas.microsoft.com/office/drawing/2014/main" id="{951FFE3C-3197-23A7-113E-C1B396419A24}"/>
              </a:ext>
            </a:extLst>
          </p:cNvPr>
          <p:cNvSpPr/>
          <p:nvPr/>
        </p:nvSpPr>
        <p:spPr>
          <a:xfrm>
            <a:off x="10999632"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21640141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D0E914-4C9A-21D4-6E84-B18A4721F1D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CB0C394-68F7-5FF9-1386-FD62E5B4B84F}"/>
              </a:ext>
            </a:extLst>
          </p:cNvPr>
          <p:cNvGraphicFramePr>
            <a:graphicFrameLocks noChangeAspect="1"/>
          </p:cNvGraphicFramePr>
          <p:nvPr>
            <p:custDataLst>
              <p:tags r:id="rId1"/>
            </p:custDataLst>
            <p:extLst>
              <p:ext uri="{D42A27DB-BD31-4B8C-83A1-F6EECF244321}">
                <p14:modId xmlns:p14="http://schemas.microsoft.com/office/powerpoint/2010/main" val="2167493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8CB0C394-68F7-5FF9-1386-FD62E5B4B8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022ADAD-0D05-5A23-6673-7E1343C3D8CE}"/>
              </a:ext>
            </a:extLst>
          </p:cNvPr>
          <p:cNvSpPr>
            <a:spLocks noGrp="1"/>
          </p:cNvSpPr>
          <p:nvPr>
            <p:ph type="title"/>
          </p:nvPr>
        </p:nvSpPr>
        <p:spPr>
          <a:xfrm>
            <a:off x="137786" y="125260"/>
            <a:ext cx="7888614" cy="806754"/>
          </a:xfrm>
        </p:spPr>
        <p:txBody>
          <a:bodyPr vert="horz"/>
          <a:lstStyle/>
          <a:p>
            <a:r>
              <a:rPr lang="en-GB" b="1" noProof="0"/>
              <a:t>The Elements of Value Framework</a:t>
            </a:r>
          </a:p>
        </p:txBody>
      </p:sp>
      <p:sp>
        <p:nvSpPr>
          <p:cNvPr id="10" name="Rectangle 9">
            <a:extLst>
              <a:ext uri="{FF2B5EF4-FFF2-40B4-BE49-F238E27FC236}">
                <a16:creationId xmlns:a16="http://schemas.microsoft.com/office/drawing/2014/main" id="{1586592C-03E7-4E56-49F8-428A329213F5}"/>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The Elements of Value Framework provides a comprehensive taxonomy of value sources that customers perceive across both consumer (B2C) and business (B2B) markets.</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This framework enables systematic identification and measurement of value elements that drive customer loyalty and revenue growth, moving beyond intuitive assumptions about what customers value to evidence-based value proposition design.</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Research demonstrates that companies excelling on multiple value elements achieve significantly higher customer loyalty and revenue growth. Companies scoring high on four or more elements had three times the Net Promoter Score and four times the revenue growth compared to companies with only one high score.</a:t>
            </a:r>
          </a:p>
        </p:txBody>
      </p:sp>
      <p:sp>
        <p:nvSpPr>
          <p:cNvPr id="27" name="TextBox 26">
            <a:extLst>
              <a:ext uri="{FF2B5EF4-FFF2-40B4-BE49-F238E27FC236}">
                <a16:creationId xmlns:a16="http://schemas.microsoft.com/office/drawing/2014/main" id="{2D8E23D2-692A-4EC2-CC97-9CF6B2897D18}"/>
              </a:ext>
            </a:extLst>
          </p:cNvPr>
          <p:cNvSpPr txBox="1"/>
          <p:nvPr/>
        </p:nvSpPr>
        <p:spPr>
          <a:xfrm>
            <a:off x="9357085" y="6555921"/>
            <a:ext cx="2571750" cy="215444"/>
          </a:xfrm>
          <a:prstGeom prst="rect">
            <a:avLst/>
          </a:prstGeom>
          <a:noFill/>
        </p:spPr>
        <p:txBody>
          <a:bodyPr wrap="square" rtlCol="0">
            <a:spAutoFit/>
          </a:bodyPr>
          <a:lstStyle/>
          <a:p>
            <a:r>
              <a:rPr lang="en-GB" sz="800" i="1" noProof="0">
                <a:latin typeface="Avenir LT Pro 45Book"/>
              </a:rPr>
              <a:t>Source: Almquist, Senior, Bloch &amp; Cleghorn, 2016-2018</a:t>
            </a:r>
          </a:p>
        </p:txBody>
      </p:sp>
      <p:pic>
        <p:nvPicPr>
          <p:cNvPr id="12" name="Picture 11" descr="A diagram of a pyramid&#10;&#10;AI-generated content may be incorrect.">
            <a:extLst>
              <a:ext uri="{FF2B5EF4-FFF2-40B4-BE49-F238E27FC236}">
                <a16:creationId xmlns:a16="http://schemas.microsoft.com/office/drawing/2014/main" id="{F1BCBB26-01A5-5C7C-0DE3-F240C1A24EF0}"/>
              </a:ext>
            </a:extLst>
          </p:cNvPr>
          <p:cNvPicPr>
            <a:picLocks noChangeAspect="1"/>
          </p:cNvPicPr>
          <p:nvPr/>
        </p:nvPicPr>
        <p:blipFill>
          <a:blip r:embed="rId6">
            <a:extLst>
              <a:ext uri="{28A0092B-C50C-407E-A947-70E740481C1C}">
                <a14:useLocalDpi xmlns:a14="http://schemas.microsoft.com/office/drawing/2010/main" val="0"/>
              </a:ext>
            </a:extLst>
          </a:blip>
          <a:srcRect b="3839"/>
          <a:stretch>
            <a:fillRect/>
          </a:stretch>
        </p:blipFill>
        <p:spPr>
          <a:xfrm>
            <a:off x="79991" y="1960108"/>
            <a:ext cx="2968961" cy="3922286"/>
          </a:xfrm>
          <a:prstGeom prst="rect">
            <a:avLst/>
          </a:prstGeom>
        </p:spPr>
      </p:pic>
      <p:sp>
        <p:nvSpPr>
          <p:cNvPr id="13" name="TextBox 23">
            <a:extLst>
              <a:ext uri="{FF2B5EF4-FFF2-40B4-BE49-F238E27FC236}">
                <a16:creationId xmlns:a16="http://schemas.microsoft.com/office/drawing/2014/main" id="{1DA85051-DFD9-107A-9F89-04BB1AEFBF16}"/>
              </a:ext>
            </a:extLst>
          </p:cNvPr>
          <p:cNvSpPr txBox="1"/>
          <p:nvPr/>
        </p:nvSpPr>
        <p:spPr>
          <a:xfrm>
            <a:off x="1127642" y="1618660"/>
            <a:ext cx="1014637" cy="21544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400" b="1" noProof="0">
                <a:solidFill>
                  <a:srgbClr val="464646"/>
                </a:solidFill>
                <a:latin typeface="Avenir LT Pro 45Book"/>
              </a:rPr>
              <a:t>B2C Elements</a:t>
            </a:r>
          </a:p>
        </p:txBody>
      </p:sp>
      <p:sp>
        <p:nvSpPr>
          <p:cNvPr id="14" name="TextBox 23">
            <a:extLst>
              <a:ext uri="{FF2B5EF4-FFF2-40B4-BE49-F238E27FC236}">
                <a16:creationId xmlns:a16="http://schemas.microsoft.com/office/drawing/2014/main" id="{18D816E4-E8D9-43D4-9570-D0F02B8D0557}"/>
              </a:ext>
            </a:extLst>
          </p:cNvPr>
          <p:cNvSpPr txBox="1"/>
          <p:nvPr/>
        </p:nvSpPr>
        <p:spPr>
          <a:xfrm>
            <a:off x="3988652" y="1618660"/>
            <a:ext cx="1021049" cy="21544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400" b="1" noProof="0">
                <a:solidFill>
                  <a:srgbClr val="464646"/>
                </a:solidFill>
                <a:latin typeface="Avenir LT Pro 45Book"/>
              </a:rPr>
              <a:t>B2B Elements</a:t>
            </a:r>
          </a:p>
        </p:txBody>
      </p:sp>
      <p:pic>
        <p:nvPicPr>
          <p:cNvPr id="2050" name="Picture 2">
            <a:extLst>
              <a:ext uri="{FF2B5EF4-FFF2-40B4-BE49-F238E27FC236}">
                <a16:creationId xmlns:a16="http://schemas.microsoft.com/office/drawing/2014/main" id="{8A77F5BC-1E20-3103-9F71-CB9AAD954D9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3665"/>
          <a:stretch>
            <a:fillRect/>
          </a:stretch>
        </p:blipFill>
        <p:spPr bwMode="auto">
          <a:xfrm>
            <a:off x="3204375" y="1960108"/>
            <a:ext cx="2587114" cy="3922286"/>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23">
            <a:extLst>
              <a:ext uri="{FF2B5EF4-FFF2-40B4-BE49-F238E27FC236}">
                <a16:creationId xmlns:a16="http://schemas.microsoft.com/office/drawing/2014/main" id="{D0EF2258-5379-1655-1402-2C7FFAB251C4}"/>
              </a:ext>
            </a:extLst>
          </p:cNvPr>
          <p:cNvSpPr txBox="1"/>
          <p:nvPr/>
        </p:nvSpPr>
        <p:spPr>
          <a:xfrm>
            <a:off x="6436356" y="2229951"/>
            <a:ext cx="2415085" cy="21544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400" b="1" noProof="0">
                <a:solidFill>
                  <a:srgbClr val="464646"/>
                </a:solidFill>
                <a:latin typeface="Avenir LT Pro 45Book"/>
              </a:rPr>
              <a:t>Strategic Implentation Approach</a:t>
            </a:r>
          </a:p>
        </p:txBody>
      </p:sp>
      <p:grpSp>
        <p:nvGrpSpPr>
          <p:cNvPr id="2156" name="Group 2155">
            <a:extLst>
              <a:ext uri="{FF2B5EF4-FFF2-40B4-BE49-F238E27FC236}">
                <a16:creationId xmlns:a16="http://schemas.microsoft.com/office/drawing/2014/main" id="{66C96640-D0B0-F968-FCE0-600EB7D2A79C}"/>
              </a:ext>
            </a:extLst>
          </p:cNvPr>
          <p:cNvGrpSpPr/>
          <p:nvPr/>
        </p:nvGrpSpPr>
        <p:grpSpPr>
          <a:xfrm>
            <a:off x="7148625" y="3012465"/>
            <a:ext cx="1981148" cy="2334199"/>
            <a:chOff x="6240224" y="2227130"/>
            <a:chExt cx="2861733" cy="3371709"/>
          </a:xfrm>
        </p:grpSpPr>
        <p:grpSp>
          <p:nvGrpSpPr>
            <p:cNvPr id="16" name="Group 15">
              <a:extLst>
                <a:ext uri="{FF2B5EF4-FFF2-40B4-BE49-F238E27FC236}">
                  <a16:creationId xmlns:a16="http://schemas.microsoft.com/office/drawing/2014/main" id="{C514249D-BCD8-FF3A-F91F-D576AAE9B066}"/>
                </a:ext>
              </a:extLst>
            </p:cNvPr>
            <p:cNvGrpSpPr/>
            <p:nvPr/>
          </p:nvGrpSpPr>
          <p:grpSpPr>
            <a:xfrm>
              <a:off x="7205141" y="5097301"/>
              <a:ext cx="51364" cy="399909"/>
              <a:chOff x="3606517" y="4631237"/>
              <a:chExt cx="51364" cy="399909"/>
            </a:xfrm>
          </p:grpSpPr>
          <p:sp>
            <p:nvSpPr>
              <p:cNvPr id="2153" name="Rounded Rectangle 1">
                <a:extLst>
                  <a:ext uri="{FF2B5EF4-FFF2-40B4-BE49-F238E27FC236}">
                    <a16:creationId xmlns:a16="http://schemas.microsoft.com/office/drawing/2014/main" id="{075AE45B-EC5E-BCD4-DAB6-34102FB2EC36}"/>
                  </a:ext>
                </a:extLst>
              </p:cNvPr>
              <p:cNvSpPr/>
              <p:nvPr/>
            </p:nvSpPr>
            <p:spPr>
              <a:xfrm>
                <a:off x="3632200" y="4631237"/>
                <a:ext cx="9172" cy="386792"/>
              </a:xfrm>
              <a:custGeom>
                <a:avLst/>
                <a:gdLst/>
                <a:ahLst/>
                <a:cxnLst/>
                <a:rect l="0" t="0" r="0" b="0"/>
                <a:pathLst>
                  <a:path w="9172" h="386792">
                    <a:moveTo>
                      <a:pt x="0" y="386792"/>
                    </a:moveTo>
                    <a:lnTo>
                      <a:pt x="0" y="0"/>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54" name="Rounded Rectangle 2">
                <a:extLst>
                  <a:ext uri="{FF2B5EF4-FFF2-40B4-BE49-F238E27FC236}">
                    <a16:creationId xmlns:a16="http://schemas.microsoft.com/office/drawing/2014/main" id="{DD013E35-F76B-6226-F01F-F91E76262455}"/>
                  </a:ext>
                </a:extLst>
              </p:cNvPr>
              <p:cNvSpPr/>
              <p:nvPr/>
            </p:nvSpPr>
            <p:spPr>
              <a:xfrm>
                <a:off x="3606517" y="4985285"/>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17" name="Group 16">
              <a:extLst>
                <a:ext uri="{FF2B5EF4-FFF2-40B4-BE49-F238E27FC236}">
                  <a16:creationId xmlns:a16="http://schemas.microsoft.com/office/drawing/2014/main" id="{C77D8FC1-4CB6-0E98-D6B0-8A0AF9A03E8B}"/>
                </a:ext>
              </a:extLst>
            </p:cNvPr>
            <p:cNvGrpSpPr/>
            <p:nvPr/>
          </p:nvGrpSpPr>
          <p:grpSpPr>
            <a:xfrm>
              <a:off x="7425275" y="5148116"/>
              <a:ext cx="51364" cy="399908"/>
              <a:chOff x="3826651" y="4682052"/>
              <a:chExt cx="51364" cy="399908"/>
            </a:xfrm>
          </p:grpSpPr>
          <p:sp>
            <p:nvSpPr>
              <p:cNvPr id="2151" name="Rounded Rectangle 4">
                <a:extLst>
                  <a:ext uri="{FF2B5EF4-FFF2-40B4-BE49-F238E27FC236}">
                    <a16:creationId xmlns:a16="http://schemas.microsoft.com/office/drawing/2014/main" id="{71212561-F72E-88B3-575B-96E49C1BEF74}"/>
                  </a:ext>
                </a:extLst>
              </p:cNvPr>
              <p:cNvSpPr/>
              <p:nvPr/>
            </p:nvSpPr>
            <p:spPr>
              <a:xfrm>
                <a:off x="3852333" y="4682052"/>
                <a:ext cx="9172" cy="386792"/>
              </a:xfrm>
              <a:custGeom>
                <a:avLst/>
                <a:gdLst/>
                <a:ahLst/>
                <a:cxnLst/>
                <a:rect l="0" t="0" r="0" b="0"/>
                <a:pathLst>
                  <a:path w="9172" h="386792">
                    <a:moveTo>
                      <a:pt x="0" y="0"/>
                    </a:moveTo>
                    <a:lnTo>
                      <a:pt x="0" y="386792"/>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52" name="Rounded Rectangle 5">
                <a:extLst>
                  <a:ext uri="{FF2B5EF4-FFF2-40B4-BE49-F238E27FC236}">
                    <a16:creationId xmlns:a16="http://schemas.microsoft.com/office/drawing/2014/main" id="{14A12483-3A32-E442-D213-238DA293332E}"/>
                  </a:ext>
                </a:extLst>
              </p:cNvPr>
              <p:cNvSpPr/>
              <p:nvPr/>
            </p:nvSpPr>
            <p:spPr>
              <a:xfrm>
                <a:off x="3826651" y="5036099"/>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18" name="Group 17">
              <a:extLst>
                <a:ext uri="{FF2B5EF4-FFF2-40B4-BE49-F238E27FC236}">
                  <a16:creationId xmlns:a16="http://schemas.microsoft.com/office/drawing/2014/main" id="{CAC40227-F431-AA03-ACE4-43EBDA0BEDBD}"/>
                </a:ext>
              </a:extLst>
            </p:cNvPr>
            <p:cNvGrpSpPr/>
            <p:nvPr/>
          </p:nvGrpSpPr>
          <p:grpSpPr>
            <a:xfrm>
              <a:off x="8085675" y="5097395"/>
              <a:ext cx="51364" cy="399909"/>
              <a:chOff x="4487051" y="4631331"/>
              <a:chExt cx="51364" cy="399909"/>
            </a:xfrm>
          </p:grpSpPr>
          <p:sp>
            <p:nvSpPr>
              <p:cNvPr id="2149" name="Rounded Rectangle 7">
                <a:extLst>
                  <a:ext uri="{FF2B5EF4-FFF2-40B4-BE49-F238E27FC236}">
                    <a16:creationId xmlns:a16="http://schemas.microsoft.com/office/drawing/2014/main" id="{3AB02D7A-1994-3D7A-B86D-65A90C6E0DA8}"/>
                  </a:ext>
                </a:extLst>
              </p:cNvPr>
              <p:cNvSpPr/>
              <p:nvPr/>
            </p:nvSpPr>
            <p:spPr>
              <a:xfrm>
                <a:off x="4512733" y="4631331"/>
                <a:ext cx="9172" cy="386792"/>
              </a:xfrm>
              <a:custGeom>
                <a:avLst/>
                <a:gdLst/>
                <a:ahLst/>
                <a:cxnLst/>
                <a:rect l="0" t="0" r="0" b="0"/>
                <a:pathLst>
                  <a:path w="9172" h="386792">
                    <a:moveTo>
                      <a:pt x="0" y="0"/>
                    </a:moveTo>
                    <a:lnTo>
                      <a:pt x="0" y="386792"/>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50" name="Rounded Rectangle 8">
                <a:extLst>
                  <a:ext uri="{FF2B5EF4-FFF2-40B4-BE49-F238E27FC236}">
                    <a16:creationId xmlns:a16="http://schemas.microsoft.com/office/drawing/2014/main" id="{C94C2AA8-DED9-0601-19F6-C8DE88F5B236}"/>
                  </a:ext>
                </a:extLst>
              </p:cNvPr>
              <p:cNvSpPr/>
              <p:nvPr/>
            </p:nvSpPr>
            <p:spPr>
              <a:xfrm>
                <a:off x="4487051" y="4985379"/>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19" name="Group 18">
              <a:extLst>
                <a:ext uri="{FF2B5EF4-FFF2-40B4-BE49-F238E27FC236}">
                  <a16:creationId xmlns:a16="http://schemas.microsoft.com/office/drawing/2014/main" id="{0F914E1D-532C-3650-85EE-AE025A57D9F8}"/>
                </a:ext>
              </a:extLst>
            </p:cNvPr>
            <p:cNvGrpSpPr/>
            <p:nvPr/>
          </p:nvGrpSpPr>
          <p:grpSpPr>
            <a:xfrm>
              <a:off x="7865541" y="5148116"/>
              <a:ext cx="51364" cy="399908"/>
              <a:chOff x="4266917" y="4682052"/>
              <a:chExt cx="51364" cy="399908"/>
            </a:xfrm>
          </p:grpSpPr>
          <p:sp>
            <p:nvSpPr>
              <p:cNvPr id="2147" name="Rounded Rectangle 10">
                <a:extLst>
                  <a:ext uri="{FF2B5EF4-FFF2-40B4-BE49-F238E27FC236}">
                    <a16:creationId xmlns:a16="http://schemas.microsoft.com/office/drawing/2014/main" id="{5B138884-4EF0-1821-0BF3-F8E0AD9571F6}"/>
                  </a:ext>
                </a:extLst>
              </p:cNvPr>
              <p:cNvSpPr/>
              <p:nvPr/>
            </p:nvSpPr>
            <p:spPr>
              <a:xfrm>
                <a:off x="4292600" y="4682052"/>
                <a:ext cx="9172" cy="386792"/>
              </a:xfrm>
              <a:custGeom>
                <a:avLst/>
                <a:gdLst/>
                <a:ahLst/>
                <a:cxnLst/>
                <a:rect l="0" t="0" r="0" b="0"/>
                <a:pathLst>
                  <a:path w="9172" h="386792">
                    <a:moveTo>
                      <a:pt x="0" y="0"/>
                    </a:moveTo>
                    <a:lnTo>
                      <a:pt x="0" y="386792"/>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48" name="Rounded Rectangle 11">
                <a:extLst>
                  <a:ext uri="{FF2B5EF4-FFF2-40B4-BE49-F238E27FC236}">
                    <a16:creationId xmlns:a16="http://schemas.microsoft.com/office/drawing/2014/main" id="{91341590-951A-5A3B-CBA7-0F960F5C5E16}"/>
                  </a:ext>
                </a:extLst>
              </p:cNvPr>
              <p:cNvSpPr/>
              <p:nvPr/>
            </p:nvSpPr>
            <p:spPr>
              <a:xfrm>
                <a:off x="4266917" y="5036099"/>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20" name="Group 19">
              <a:extLst>
                <a:ext uri="{FF2B5EF4-FFF2-40B4-BE49-F238E27FC236}">
                  <a16:creationId xmlns:a16="http://schemas.microsoft.com/office/drawing/2014/main" id="{8A7CAF41-1633-CA67-3EEE-73BB3EB4DE7E}"/>
                </a:ext>
              </a:extLst>
            </p:cNvPr>
            <p:cNvGrpSpPr/>
            <p:nvPr/>
          </p:nvGrpSpPr>
          <p:grpSpPr>
            <a:xfrm>
              <a:off x="7645408" y="5198930"/>
              <a:ext cx="51364" cy="399909"/>
              <a:chOff x="4046784" y="4732866"/>
              <a:chExt cx="51364" cy="399909"/>
            </a:xfrm>
          </p:grpSpPr>
          <p:sp>
            <p:nvSpPr>
              <p:cNvPr id="2145" name="Rounded Rectangle 13">
                <a:extLst>
                  <a:ext uri="{FF2B5EF4-FFF2-40B4-BE49-F238E27FC236}">
                    <a16:creationId xmlns:a16="http://schemas.microsoft.com/office/drawing/2014/main" id="{7BEA90DD-0551-19DB-ECFF-CC924E0880CB}"/>
                  </a:ext>
                </a:extLst>
              </p:cNvPr>
              <p:cNvSpPr/>
              <p:nvPr/>
            </p:nvSpPr>
            <p:spPr>
              <a:xfrm>
                <a:off x="4072466" y="4732866"/>
                <a:ext cx="9172" cy="386792"/>
              </a:xfrm>
              <a:custGeom>
                <a:avLst/>
                <a:gdLst/>
                <a:ahLst/>
                <a:cxnLst/>
                <a:rect l="0" t="0" r="0" b="0"/>
                <a:pathLst>
                  <a:path w="9172" h="386792">
                    <a:moveTo>
                      <a:pt x="0" y="0"/>
                    </a:moveTo>
                    <a:lnTo>
                      <a:pt x="0" y="386792"/>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46" name="Rounded Rectangle 14">
                <a:extLst>
                  <a:ext uri="{FF2B5EF4-FFF2-40B4-BE49-F238E27FC236}">
                    <a16:creationId xmlns:a16="http://schemas.microsoft.com/office/drawing/2014/main" id="{76B8106F-79E0-D566-3C59-A6E0585C402D}"/>
                  </a:ext>
                </a:extLst>
              </p:cNvPr>
              <p:cNvSpPr/>
              <p:nvPr/>
            </p:nvSpPr>
            <p:spPr>
              <a:xfrm>
                <a:off x="4046784" y="5086914"/>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21" name="Group 20">
              <a:extLst>
                <a:ext uri="{FF2B5EF4-FFF2-40B4-BE49-F238E27FC236}">
                  <a16:creationId xmlns:a16="http://schemas.microsoft.com/office/drawing/2014/main" id="{9C9594A2-C7D6-9171-3C13-5DAD193E350D}"/>
                </a:ext>
              </a:extLst>
            </p:cNvPr>
            <p:cNvGrpSpPr/>
            <p:nvPr/>
          </p:nvGrpSpPr>
          <p:grpSpPr>
            <a:xfrm>
              <a:off x="6240224" y="4483497"/>
              <a:ext cx="2861733" cy="715433"/>
              <a:chOff x="2641600" y="4017433"/>
              <a:chExt cx="2861733" cy="715433"/>
            </a:xfrm>
          </p:grpSpPr>
          <p:sp>
            <p:nvSpPr>
              <p:cNvPr id="2143" name="Rounded Rectangle 16">
                <a:extLst>
                  <a:ext uri="{FF2B5EF4-FFF2-40B4-BE49-F238E27FC236}">
                    <a16:creationId xmlns:a16="http://schemas.microsoft.com/office/drawing/2014/main" id="{7D05F370-DB3A-1702-0255-7BAFE725CEAB}"/>
                  </a:ext>
                </a:extLst>
              </p:cNvPr>
              <p:cNvSpPr/>
              <p:nvPr/>
            </p:nvSpPr>
            <p:spPr>
              <a:xfrm>
                <a:off x="2641600" y="4017433"/>
                <a:ext cx="2861733" cy="715433"/>
              </a:xfrm>
              <a:custGeom>
                <a:avLst/>
                <a:gdLst/>
                <a:ahLst/>
                <a:cxnLst/>
                <a:rect l="0" t="0" r="0" b="0"/>
                <a:pathLst>
                  <a:path w="2861733" h="715433">
                    <a:moveTo>
                      <a:pt x="0" y="385233"/>
                    </a:moveTo>
                    <a:lnTo>
                      <a:pt x="0" y="275166"/>
                    </a:lnTo>
                    <a:lnTo>
                      <a:pt x="1192388" y="0"/>
                    </a:lnTo>
                    <a:lnTo>
                      <a:pt x="1430866" y="55033"/>
                    </a:lnTo>
                    <a:lnTo>
                      <a:pt x="1669344" y="0"/>
                    </a:lnTo>
                    <a:lnTo>
                      <a:pt x="2861733" y="275166"/>
                    </a:lnTo>
                    <a:lnTo>
                      <a:pt x="2861733" y="385233"/>
                    </a:lnTo>
                    <a:lnTo>
                      <a:pt x="1430866" y="715433"/>
                    </a:ln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44" name="Rounded Rectangle 17">
                <a:extLst>
                  <a:ext uri="{FF2B5EF4-FFF2-40B4-BE49-F238E27FC236}">
                    <a16:creationId xmlns:a16="http://schemas.microsoft.com/office/drawing/2014/main" id="{D3E82240-621D-98BB-3584-423CE7989193}"/>
                  </a:ext>
                </a:extLst>
              </p:cNvPr>
              <p:cNvSpPr/>
              <p:nvPr/>
            </p:nvSpPr>
            <p:spPr>
              <a:xfrm>
                <a:off x="2641600" y="4017433"/>
                <a:ext cx="2861733" cy="715433"/>
              </a:xfrm>
              <a:custGeom>
                <a:avLst/>
                <a:gdLst/>
                <a:ahLst/>
                <a:cxnLst/>
                <a:rect l="0" t="0" r="0" b="0"/>
                <a:pathLst>
                  <a:path w="2861733" h="715433">
                    <a:moveTo>
                      <a:pt x="2861733" y="275166"/>
                    </a:moveTo>
                    <a:lnTo>
                      <a:pt x="2861733" y="385233"/>
                    </a:lnTo>
                    <a:lnTo>
                      <a:pt x="1430866" y="715433"/>
                    </a:lnTo>
                    <a:lnTo>
                      <a:pt x="0" y="385233"/>
                    </a:lnTo>
                    <a:lnTo>
                      <a:pt x="0" y="275166"/>
                    </a:lnTo>
                    <a:moveTo>
                      <a:pt x="0" y="275166"/>
                    </a:moveTo>
                    <a:lnTo>
                      <a:pt x="1430604" y="605366"/>
                    </a:lnTo>
                    <a:lnTo>
                      <a:pt x="2861733" y="275166"/>
                    </a:lnTo>
                    <a:moveTo>
                      <a:pt x="0" y="275166"/>
                    </a:moveTo>
                    <a:lnTo>
                      <a:pt x="1192388" y="0"/>
                    </a:lnTo>
                    <a:lnTo>
                      <a:pt x="1430866" y="55033"/>
                    </a:lnTo>
                    <a:lnTo>
                      <a:pt x="1669344" y="0"/>
                    </a:lnTo>
                    <a:lnTo>
                      <a:pt x="2861733" y="275166"/>
                    </a:lnTo>
                  </a:path>
                </a:pathLst>
              </a:custGeom>
              <a:noFill/>
              <a:ln w="6879">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22" name="Group 21">
              <a:extLst>
                <a:ext uri="{FF2B5EF4-FFF2-40B4-BE49-F238E27FC236}">
                  <a16:creationId xmlns:a16="http://schemas.microsoft.com/office/drawing/2014/main" id="{D44AEDCC-C76B-C04E-F485-7DF6A7E836D7}"/>
                </a:ext>
              </a:extLst>
            </p:cNvPr>
            <p:cNvGrpSpPr/>
            <p:nvPr/>
          </p:nvGrpSpPr>
          <p:grpSpPr>
            <a:xfrm>
              <a:off x="6985008" y="4386087"/>
              <a:ext cx="51364" cy="399909"/>
              <a:chOff x="3386384" y="3920023"/>
              <a:chExt cx="51364" cy="399909"/>
            </a:xfrm>
          </p:grpSpPr>
          <p:sp>
            <p:nvSpPr>
              <p:cNvPr id="2141" name="Rounded Rectangle 19">
                <a:extLst>
                  <a:ext uri="{FF2B5EF4-FFF2-40B4-BE49-F238E27FC236}">
                    <a16:creationId xmlns:a16="http://schemas.microsoft.com/office/drawing/2014/main" id="{0D1B3AF0-52C9-2A90-9599-0E231068C200}"/>
                  </a:ext>
                </a:extLst>
              </p:cNvPr>
              <p:cNvSpPr/>
              <p:nvPr/>
            </p:nvSpPr>
            <p:spPr>
              <a:xfrm>
                <a:off x="3412066" y="3920023"/>
                <a:ext cx="9172" cy="386792"/>
              </a:xfrm>
              <a:custGeom>
                <a:avLst/>
                <a:gdLst/>
                <a:ahLst/>
                <a:cxnLst/>
                <a:rect l="0" t="0" r="0" b="0"/>
                <a:pathLst>
                  <a:path w="9172" h="386792">
                    <a:moveTo>
                      <a:pt x="0" y="0"/>
                    </a:moveTo>
                    <a:lnTo>
                      <a:pt x="0" y="386792"/>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42" name="Rounded Rectangle 20">
                <a:extLst>
                  <a:ext uri="{FF2B5EF4-FFF2-40B4-BE49-F238E27FC236}">
                    <a16:creationId xmlns:a16="http://schemas.microsoft.com/office/drawing/2014/main" id="{735C5934-7ACB-664D-AD07-B1D798E97439}"/>
                  </a:ext>
                </a:extLst>
              </p:cNvPr>
              <p:cNvSpPr/>
              <p:nvPr/>
            </p:nvSpPr>
            <p:spPr>
              <a:xfrm>
                <a:off x="3386384" y="4274071"/>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23" name="Group 22">
              <a:extLst>
                <a:ext uri="{FF2B5EF4-FFF2-40B4-BE49-F238E27FC236}">
                  <a16:creationId xmlns:a16="http://schemas.microsoft.com/office/drawing/2014/main" id="{0C1D28D3-1E4B-3439-0171-0968E9578CA5}"/>
                </a:ext>
              </a:extLst>
            </p:cNvPr>
            <p:cNvGrpSpPr/>
            <p:nvPr/>
          </p:nvGrpSpPr>
          <p:grpSpPr>
            <a:xfrm>
              <a:off x="7205141" y="4436901"/>
              <a:ext cx="51364" cy="399909"/>
              <a:chOff x="3606517" y="3970837"/>
              <a:chExt cx="51364" cy="399909"/>
            </a:xfrm>
          </p:grpSpPr>
          <p:sp>
            <p:nvSpPr>
              <p:cNvPr id="2139" name="Rounded Rectangle 22">
                <a:extLst>
                  <a:ext uri="{FF2B5EF4-FFF2-40B4-BE49-F238E27FC236}">
                    <a16:creationId xmlns:a16="http://schemas.microsoft.com/office/drawing/2014/main" id="{7A00E309-0AF2-C06E-340E-0CE5A1ADFA33}"/>
                  </a:ext>
                </a:extLst>
              </p:cNvPr>
              <p:cNvSpPr/>
              <p:nvPr/>
            </p:nvSpPr>
            <p:spPr>
              <a:xfrm>
                <a:off x="3632200" y="3970837"/>
                <a:ext cx="9172" cy="386792"/>
              </a:xfrm>
              <a:custGeom>
                <a:avLst/>
                <a:gdLst/>
                <a:ahLst/>
                <a:cxnLst/>
                <a:rect l="0" t="0" r="0" b="0"/>
                <a:pathLst>
                  <a:path w="9172" h="386792">
                    <a:moveTo>
                      <a:pt x="0" y="386792"/>
                    </a:moveTo>
                    <a:lnTo>
                      <a:pt x="0" y="0"/>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40" name="Rounded Rectangle 23">
                <a:extLst>
                  <a:ext uri="{FF2B5EF4-FFF2-40B4-BE49-F238E27FC236}">
                    <a16:creationId xmlns:a16="http://schemas.microsoft.com/office/drawing/2014/main" id="{825CFE68-8760-4C7B-832F-89DFEB30D47C}"/>
                  </a:ext>
                </a:extLst>
              </p:cNvPr>
              <p:cNvSpPr/>
              <p:nvPr/>
            </p:nvSpPr>
            <p:spPr>
              <a:xfrm>
                <a:off x="3606517" y="4324885"/>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24" name="Group 23">
              <a:extLst>
                <a:ext uri="{FF2B5EF4-FFF2-40B4-BE49-F238E27FC236}">
                  <a16:creationId xmlns:a16="http://schemas.microsoft.com/office/drawing/2014/main" id="{0B78065F-8CD9-3360-9B0F-C7FB2ABD2728}"/>
                </a:ext>
              </a:extLst>
            </p:cNvPr>
            <p:cNvGrpSpPr/>
            <p:nvPr/>
          </p:nvGrpSpPr>
          <p:grpSpPr>
            <a:xfrm>
              <a:off x="7425275" y="4487716"/>
              <a:ext cx="51364" cy="399908"/>
              <a:chOff x="3826651" y="4021652"/>
              <a:chExt cx="51364" cy="399908"/>
            </a:xfrm>
          </p:grpSpPr>
          <p:sp>
            <p:nvSpPr>
              <p:cNvPr id="2137" name="Rounded Rectangle 25">
                <a:extLst>
                  <a:ext uri="{FF2B5EF4-FFF2-40B4-BE49-F238E27FC236}">
                    <a16:creationId xmlns:a16="http://schemas.microsoft.com/office/drawing/2014/main" id="{21C080AD-A24E-7530-519D-53356AE570AF}"/>
                  </a:ext>
                </a:extLst>
              </p:cNvPr>
              <p:cNvSpPr/>
              <p:nvPr/>
            </p:nvSpPr>
            <p:spPr>
              <a:xfrm>
                <a:off x="3852333" y="4021652"/>
                <a:ext cx="9172" cy="386792"/>
              </a:xfrm>
              <a:custGeom>
                <a:avLst/>
                <a:gdLst/>
                <a:ahLst/>
                <a:cxnLst/>
                <a:rect l="0" t="0" r="0" b="0"/>
                <a:pathLst>
                  <a:path w="9172" h="386792">
                    <a:moveTo>
                      <a:pt x="0" y="0"/>
                    </a:moveTo>
                    <a:lnTo>
                      <a:pt x="0" y="386792"/>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38" name="Rounded Rectangle 26">
                <a:extLst>
                  <a:ext uri="{FF2B5EF4-FFF2-40B4-BE49-F238E27FC236}">
                    <a16:creationId xmlns:a16="http://schemas.microsoft.com/office/drawing/2014/main" id="{740C3974-7F9F-C0CB-73E4-263C6F8D16AD}"/>
                  </a:ext>
                </a:extLst>
              </p:cNvPr>
              <p:cNvSpPr/>
              <p:nvPr/>
            </p:nvSpPr>
            <p:spPr>
              <a:xfrm>
                <a:off x="3826651" y="4375699"/>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25" name="Group 24">
              <a:extLst>
                <a:ext uri="{FF2B5EF4-FFF2-40B4-BE49-F238E27FC236}">
                  <a16:creationId xmlns:a16="http://schemas.microsoft.com/office/drawing/2014/main" id="{43F9A75D-4CB2-192A-50F7-77C5174B4226}"/>
                </a:ext>
              </a:extLst>
            </p:cNvPr>
            <p:cNvGrpSpPr/>
            <p:nvPr/>
          </p:nvGrpSpPr>
          <p:grpSpPr>
            <a:xfrm>
              <a:off x="8305808" y="4386181"/>
              <a:ext cx="51364" cy="399909"/>
              <a:chOff x="4707184" y="3920117"/>
              <a:chExt cx="51364" cy="399909"/>
            </a:xfrm>
          </p:grpSpPr>
          <p:sp>
            <p:nvSpPr>
              <p:cNvPr id="2135" name="Rounded Rectangle 28">
                <a:extLst>
                  <a:ext uri="{FF2B5EF4-FFF2-40B4-BE49-F238E27FC236}">
                    <a16:creationId xmlns:a16="http://schemas.microsoft.com/office/drawing/2014/main" id="{D4336396-7ECD-0F27-D6FE-4404AECB04B9}"/>
                  </a:ext>
                </a:extLst>
              </p:cNvPr>
              <p:cNvSpPr/>
              <p:nvPr/>
            </p:nvSpPr>
            <p:spPr>
              <a:xfrm>
                <a:off x="4732866" y="3920117"/>
                <a:ext cx="9172" cy="386792"/>
              </a:xfrm>
              <a:custGeom>
                <a:avLst/>
                <a:gdLst/>
                <a:ahLst/>
                <a:cxnLst/>
                <a:rect l="0" t="0" r="0" b="0"/>
                <a:pathLst>
                  <a:path w="9172" h="386792">
                    <a:moveTo>
                      <a:pt x="0" y="0"/>
                    </a:moveTo>
                    <a:lnTo>
                      <a:pt x="0" y="386792"/>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36" name="Rounded Rectangle 29">
                <a:extLst>
                  <a:ext uri="{FF2B5EF4-FFF2-40B4-BE49-F238E27FC236}">
                    <a16:creationId xmlns:a16="http://schemas.microsoft.com/office/drawing/2014/main" id="{E45CD2B5-A452-0234-D31C-38D538D09380}"/>
                  </a:ext>
                </a:extLst>
              </p:cNvPr>
              <p:cNvSpPr/>
              <p:nvPr/>
            </p:nvSpPr>
            <p:spPr>
              <a:xfrm>
                <a:off x="4707184" y="4274165"/>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26" name="Group 25">
              <a:extLst>
                <a:ext uri="{FF2B5EF4-FFF2-40B4-BE49-F238E27FC236}">
                  <a16:creationId xmlns:a16="http://schemas.microsoft.com/office/drawing/2014/main" id="{344B079E-51EC-67C8-157F-29F0C81C6C6D}"/>
                </a:ext>
              </a:extLst>
            </p:cNvPr>
            <p:cNvGrpSpPr/>
            <p:nvPr/>
          </p:nvGrpSpPr>
          <p:grpSpPr>
            <a:xfrm>
              <a:off x="8085675" y="4436995"/>
              <a:ext cx="51364" cy="399909"/>
              <a:chOff x="4487051" y="3970931"/>
              <a:chExt cx="51364" cy="399909"/>
            </a:xfrm>
          </p:grpSpPr>
          <p:sp>
            <p:nvSpPr>
              <p:cNvPr id="2133" name="Rounded Rectangle 31">
                <a:extLst>
                  <a:ext uri="{FF2B5EF4-FFF2-40B4-BE49-F238E27FC236}">
                    <a16:creationId xmlns:a16="http://schemas.microsoft.com/office/drawing/2014/main" id="{BD3AEE92-F6A2-C083-6778-3441DD1BD7DD}"/>
                  </a:ext>
                </a:extLst>
              </p:cNvPr>
              <p:cNvSpPr/>
              <p:nvPr/>
            </p:nvSpPr>
            <p:spPr>
              <a:xfrm>
                <a:off x="4512733" y="3970931"/>
                <a:ext cx="9172" cy="386792"/>
              </a:xfrm>
              <a:custGeom>
                <a:avLst/>
                <a:gdLst/>
                <a:ahLst/>
                <a:cxnLst/>
                <a:rect l="0" t="0" r="0" b="0"/>
                <a:pathLst>
                  <a:path w="9172" h="386792">
                    <a:moveTo>
                      <a:pt x="0" y="0"/>
                    </a:moveTo>
                    <a:lnTo>
                      <a:pt x="0" y="386792"/>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34" name="Rounded Rectangle 32">
                <a:extLst>
                  <a:ext uri="{FF2B5EF4-FFF2-40B4-BE49-F238E27FC236}">
                    <a16:creationId xmlns:a16="http://schemas.microsoft.com/office/drawing/2014/main" id="{7A828C8A-A22C-1111-1C55-1F70ED6D5D9A}"/>
                  </a:ext>
                </a:extLst>
              </p:cNvPr>
              <p:cNvSpPr/>
              <p:nvPr/>
            </p:nvSpPr>
            <p:spPr>
              <a:xfrm>
                <a:off x="4487051" y="4324979"/>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28" name="Group 27">
              <a:extLst>
                <a:ext uri="{FF2B5EF4-FFF2-40B4-BE49-F238E27FC236}">
                  <a16:creationId xmlns:a16="http://schemas.microsoft.com/office/drawing/2014/main" id="{78218D95-82F6-D52D-BB44-9770758C8AB3}"/>
                </a:ext>
              </a:extLst>
            </p:cNvPr>
            <p:cNvGrpSpPr/>
            <p:nvPr/>
          </p:nvGrpSpPr>
          <p:grpSpPr>
            <a:xfrm>
              <a:off x="7865541" y="4487716"/>
              <a:ext cx="51364" cy="399908"/>
              <a:chOff x="4266917" y="4021652"/>
              <a:chExt cx="51364" cy="399908"/>
            </a:xfrm>
          </p:grpSpPr>
          <p:sp>
            <p:nvSpPr>
              <p:cNvPr id="2131" name="Rounded Rectangle 34">
                <a:extLst>
                  <a:ext uri="{FF2B5EF4-FFF2-40B4-BE49-F238E27FC236}">
                    <a16:creationId xmlns:a16="http://schemas.microsoft.com/office/drawing/2014/main" id="{C0DF914F-FBD4-CEF9-3E26-57B3C1B82037}"/>
                  </a:ext>
                </a:extLst>
              </p:cNvPr>
              <p:cNvSpPr/>
              <p:nvPr/>
            </p:nvSpPr>
            <p:spPr>
              <a:xfrm>
                <a:off x="4292600" y="4021652"/>
                <a:ext cx="9172" cy="386792"/>
              </a:xfrm>
              <a:custGeom>
                <a:avLst/>
                <a:gdLst/>
                <a:ahLst/>
                <a:cxnLst/>
                <a:rect l="0" t="0" r="0" b="0"/>
                <a:pathLst>
                  <a:path w="9172" h="386792">
                    <a:moveTo>
                      <a:pt x="0" y="0"/>
                    </a:moveTo>
                    <a:lnTo>
                      <a:pt x="0" y="386792"/>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32" name="Rounded Rectangle 35">
                <a:extLst>
                  <a:ext uri="{FF2B5EF4-FFF2-40B4-BE49-F238E27FC236}">
                    <a16:creationId xmlns:a16="http://schemas.microsoft.com/office/drawing/2014/main" id="{C28FCFDF-39E0-0858-1B13-32549101E839}"/>
                  </a:ext>
                </a:extLst>
              </p:cNvPr>
              <p:cNvSpPr/>
              <p:nvPr/>
            </p:nvSpPr>
            <p:spPr>
              <a:xfrm>
                <a:off x="4266917" y="4375699"/>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29" name="Group 28">
              <a:extLst>
                <a:ext uri="{FF2B5EF4-FFF2-40B4-BE49-F238E27FC236}">
                  <a16:creationId xmlns:a16="http://schemas.microsoft.com/office/drawing/2014/main" id="{80377775-849A-B69B-6C95-C5D39F2BF56C}"/>
                </a:ext>
              </a:extLst>
            </p:cNvPr>
            <p:cNvGrpSpPr/>
            <p:nvPr/>
          </p:nvGrpSpPr>
          <p:grpSpPr>
            <a:xfrm>
              <a:off x="7645408" y="4538530"/>
              <a:ext cx="51364" cy="399909"/>
              <a:chOff x="4046784" y="4072466"/>
              <a:chExt cx="51364" cy="399909"/>
            </a:xfrm>
          </p:grpSpPr>
          <p:sp>
            <p:nvSpPr>
              <p:cNvPr id="2129" name="Rounded Rectangle 37">
                <a:extLst>
                  <a:ext uri="{FF2B5EF4-FFF2-40B4-BE49-F238E27FC236}">
                    <a16:creationId xmlns:a16="http://schemas.microsoft.com/office/drawing/2014/main" id="{C7D6C790-6A27-7EF7-6ECD-DD76E70AA1AD}"/>
                  </a:ext>
                </a:extLst>
              </p:cNvPr>
              <p:cNvSpPr/>
              <p:nvPr/>
            </p:nvSpPr>
            <p:spPr>
              <a:xfrm>
                <a:off x="4072466" y="4072466"/>
                <a:ext cx="9172" cy="386792"/>
              </a:xfrm>
              <a:custGeom>
                <a:avLst/>
                <a:gdLst/>
                <a:ahLst/>
                <a:cxnLst/>
                <a:rect l="0" t="0" r="0" b="0"/>
                <a:pathLst>
                  <a:path w="9172" h="386792">
                    <a:moveTo>
                      <a:pt x="0" y="0"/>
                    </a:moveTo>
                    <a:lnTo>
                      <a:pt x="0" y="386792"/>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30" name="Rounded Rectangle 38">
                <a:extLst>
                  <a:ext uri="{FF2B5EF4-FFF2-40B4-BE49-F238E27FC236}">
                    <a16:creationId xmlns:a16="http://schemas.microsoft.com/office/drawing/2014/main" id="{31951EAE-4954-5CC5-64DB-D659373B0FBA}"/>
                  </a:ext>
                </a:extLst>
              </p:cNvPr>
              <p:cNvSpPr/>
              <p:nvPr/>
            </p:nvSpPr>
            <p:spPr>
              <a:xfrm>
                <a:off x="4046784" y="4426514"/>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30" name="Group 29">
              <a:extLst>
                <a:ext uri="{FF2B5EF4-FFF2-40B4-BE49-F238E27FC236}">
                  <a16:creationId xmlns:a16="http://schemas.microsoft.com/office/drawing/2014/main" id="{3B7B5475-8718-3E02-4DFA-8860F7AB7BCC}"/>
                </a:ext>
              </a:extLst>
            </p:cNvPr>
            <p:cNvGrpSpPr/>
            <p:nvPr/>
          </p:nvGrpSpPr>
          <p:grpSpPr>
            <a:xfrm>
              <a:off x="6240224" y="3823097"/>
              <a:ext cx="2861733" cy="715433"/>
              <a:chOff x="2641600" y="3357033"/>
              <a:chExt cx="2861733" cy="715433"/>
            </a:xfrm>
          </p:grpSpPr>
          <p:sp>
            <p:nvSpPr>
              <p:cNvPr id="2127" name="Rounded Rectangle 40">
                <a:extLst>
                  <a:ext uri="{FF2B5EF4-FFF2-40B4-BE49-F238E27FC236}">
                    <a16:creationId xmlns:a16="http://schemas.microsoft.com/office/drawing/2014/main" id="{8B3F2C16-0ED1-3325-DA68-907FE4BB05B4}"/>
                  </a:ext>
                </a:extLst>
              </p:cNvPr>
              <p:cNvSpPr/>
              <p:nvPr/>
            </p:nvSpPr>
            <p:spPr>
              <a:xfrm>
                <a:off x="2641600" y="3357033"/>
                <a:ext cx="2861733" cy="715433"/>
              </a:xfrm>
              <a:custGeom>
                <a:avLst/>
                <a:gdLst/>
                <a:ahLst/>
                <a:cxnLst/>
                <a:rect l="0" t="0" r="0" b="0"/>
                <a:pathLst>
                  <a:path w="2861733" h="715433">
                    <a:moveTo>
                      <a:pt x="0" y="385233"/>
                    </a:moveTo>
                    <a:lnTo>
                      <a:pt x="0" y="275166"/>
                    </a:lnTo>
                    <a:lnTo>
                      <a:pt x="1192388" y="0"/>
                    </a:lnTo>
                    <a:lnTo>
                      <a:pt x="1430866" y="55033"/>
                    </a:lnTo>
                    <a:lnTo>
                      <a:pt x="1669344" y="0"/>
                    </a:lnTo>
                    <a:lnTo>
                      <a:pt x="2861733" y="275166"/>
                    </a:lnTo>
                    <a:lnTo>
                      <a:pt x="2861733" y="385233"/>
                    </a:lnTo>
                    <a:lnTo>
                      <a:pt x="1430866" y="715433"/>
                    </a:lnTo>
                    <a:close/>
                  </a:path>
                </a:pathLst>
              </a:custGeom>
              <a:solidFill>
                <a:srgbClr val="FF9C26"/>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28" name="Rounded Rectangle 41">
                <a:extLst>
                  <a:ext uri="{FF2B5EF4-FFF2-40B4-BE49-F238E27FC236}">
                    <a16:creationId xmlns:a16="http://schemas.microsoft.com/office/drawing/2014/main" id="{8C924772-80B0-0D95-B5A3-D928ACD3BE74}"/>
                  </a:ext>
                </a:extLst>
              </p:cNvPr>
              <p:cNvSpPr/>
              <p:nvPr/>
            </p:nvSpPr>
            <p:spPr>
              <a:xfrm>
                <a:off x="2641600" y="3357033"/>
                <a:ext cx="2861733" cy="715433"/>
              </a:xfrm>
              <a:custGeom>
                <a:avLst/>
                <a:gdLst/>
                <a:ahLst/>
                <a:cxnLst/>
                <a:rect l="0" t="0" r="0" b="0"/>
                <a:pathLst>
                  <a:path w="2861733" h="715433">
                    <a:moveTo>
                      <a:pt x="2861733" y="275166"/>
                    </a:moveTo>
                    <a:lnTo>
                      <a:pt x="2861733" y="385233"/>
                    </a:lnTo>
                    <a:lnTo>
                      <a:pt x="1430866" y="715433"/>
                    </a:lnTo>
                    <a:lnTo>
                      <a:pt x="0" y="385233"/>
                    </a:lnTo>
                    <a:lnTo>
                      <a:pt x="0" y="275166"/>
                    </a:lnTo>
                    <a:moveTo>
                      <a:pt x="0" y="275166"/>
                    </a:moveTo>
                    <a:lnTo>
                      <a:pt x="1430604" y="605366"/>
                    </a:lnTo>
                    <a:lnTo>
                      <a:pt x="2861733" y="275166"/>
                    </a:lnTo>
                    <a:moveTo>
                      <a:pt x="0" y="275166"/>
                    </a:moveTo>
                    <a:lnTo>
                      <a:pt x="1192388" y="0"/>
                    </a:lnTo>
                    <a:lnTo>
                      <a:pt x="1430866" y="55033"/>
                    </a:lnTo>
                    <a:lnTo>
                      <a:pt x="1669344" y="0"/>
                    </a:lnTo>
                    <a:lnTo>
                      <a:pt x="2861733" y="275166"/>
                    </a:lnTo>
                  </a:path>
                </a:pathLst>
              </a:custGeom>
              <a:noFill/>
              <a:ln w="6879">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31" name="Group 30">
              <a:extLst>
                <a:ext uri="{FF2B5EF4-FFF2-40B4-BE49-F238E27FC236}">
                  <a16:creationId xmlns:a16="http://schemas.microsoft.com/office/drawing/2014/main" id="{5E050AE2-416C-527E-252B-E53711258A7E}"/>
                </a:ext>
              </a:extLst>
            </p:cNvPr>
            <p:cNvGrpSpPr/>
            <p:nvPr/>
          </p:nvGrpSpPr>
          <p:grpSpPr>
            <a:xfrm>
              <a:off x="6764875" y="3674872"/>
              <a:ext cx="51364" cy="399909"/>
              <a:chOff x="3166251" y="3208808"/>
              <a:chExt cx="51364" cy="399909"/>
            </a:xfrm>
          </p:grpSpPr>
          <p:sp>
            <p:nvSpPr>
              <p:cNvPr id="2125" name="Rounded Rectangle 43">
                <a:extLst>
                  <a:ext uri="{FF2B5EF4-FFF2-40B4-BE49-F238E27FC236}">
                    <a16:creationId xmlns:a16="http://schemas.microsoft.com/office/drawing/2014/main" id="{6BEF5D50-8415-86EA-8B5B-818DE3D2FAA7}"/>
                  </a:ext>
                </a:extLst>
              </p:cNvPr>
              <p:cNvSpPr/>
              <p:nvPr/>
            </p:nvSpPr>
            <p:spPr>
              <a:xfrm>
                <a:off x="3191933" y="3208808"/>
                <a:ext cx="9172" cy="386884"/>
              </a:xfrm>
              <a:custGeom>
                <a:avLst/>
                <a:gdLst/>
                <a:ahLst/>
                <a:cxnLst/>
                <a:rect l="0" t="0" r="0" b="0"/>
                <a:pathLst>
                  <a:path w="9172" h="386884">
                    <a:moveTo>
                      <a:pt x="0" y="0"/>
                    </a:moveTo>
                    <a:lnTo>
                      <a:pt x="0" y="386884"/>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26" name="Rounded Rectangle 44">
                <a:extLst>
                  <a:ext uri="{FF2B5EF4-FFF2-40B4-BE49-F238E27FC236}">
                    <a16:creationId xmlns:a16="http://schemas.microsoft.com/office/drawing/2014/main" id="{AE6F6757-7AE8-FAC7-DDD6-80AEEFE8C20E}"/>
                  </a:ext>
                </a:extLst>
              </p:cNvPr>
              <p:cNvSpPr/>
              <p:nvPr/>
            </p:nvSpPr>
            <p:spPr>
              <a:xfrm>
                <a:off x="3166251" y="3562856"/>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32" name="Group 31">
              <a:extLst>
                <a:ext uri="{FF2B5EF4-FFF2-40B4-BE49-F238E27FC236}">
                  <a16:creationId xmlns:a16="http://schemas.microsoft.com/office/drawing/2014/main" id="{1549E0D7-41EF-1FE7-7FE5-BC1C29A2BB73}"/>
                </a:ext>
              </a:extLst>
            </p:cNvPr>
            <p:cNvGrpSpPr/>
            <p:nvPr/>
          </p:nvGrpSpPr>
          <p:grpSpPr>
            <a:xfrm>
              <a:off x="6985008" y="3725687"/>
              <a:ext cx="51364" cy="399909"/>
              <a:chOff x="3386384" y="3259623"/>
              <a:chExt cx="51364" cy="399909"/>
            </a:xfrm>
          </p:grpSpPr>
          <p:sp>
            <p:nvSpPr>
              <p:cNvPr id="2123" name="Rounded Rectangle 46">
                <a:extLst>
                  <a:ext uri="{FF2B5EF4-FFF2-40B4-BE49-F238E27FC236}">
                    <a16:creationId xmlns:a16="http://schemas.microsoft.com/office/drawing/2014/main" id="{E106DFB5-E030-AE61-9394-F4ECC6F9A232}"/>
                  </a:ext>
                </a:extLst>
              </p:cNvPr>
              <p:cNvSpPr/>
              <p:nvPr/>
            </p:nvSpPr>
            <p:spPr>
              <a:xfrm>
                <a:off x="3412066" y="3259623"/>
                <a:ext cx="9172" cy="386792"/>
              </a:xfrm>
              <a:custGeom>
                <a:avLst/>
                <a:gdLst/>
                <a:ahLst/>
                <a:cxnLst/>
                <a:rect l="0" t="0" r="0" b="0"/>
                <a:pathLst>
                  <a:path w="9172" h="386792">
                    <a:moveTo>
                      <a:pt x="0" y="0"/>
                    </a:moveTo>
                    <a:lnTo>
                      <a:pt x="0" y="386792"/>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24" name="Rounded Rectangle 47">
                <a:extLst>
                  <a:ext uri="{FF2B5EF4-FFF2-40B4-BE49-F238E27FC236}">
                    <a16:creationId xmlns:a16="http://schemas.microsoft.com/office/drawing/2014/main" id="{781DEB0D-DC9F-318B-4371-8ECE6DD22096}"/>
                  </a:ext>
                </a:extLst>
              </p:cNvPr>
              <p:cNvSpPr/>
              <p:nvPr/>
            </p:nvSpPr>
            <p:spPr>
              <a:xfrm>
                <a:off x="3386384" y="3613671"/>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33" name="Group 32">
              <a:extLst>
                <a:ext uri="{FF2B5EF4-FFF2-40B4-BE49-F238E27FC236}">
                  <a16:creationId xmlns:a16="http://schemas.microsoft.com/office/drawing/2014/main" id="{AF3284C3-4ED9-9303-F0A9-1A1A74CD65D3}"/>
                </a:ext>
              </a:extLst>
            </p:cNvPr>
            <p:cNvGrpSpPr/>
            <p:nvPr/>
          </p:nvGrpSpPr>
          <p:grpSpPr>
            <a:xfrm>
              <a:off x="7205141" y="3776501"/>
              <a:ext cx="51364" cy="399909"/>
              <a:chOff x="3606517" y="3310437"/>
              <a:chExt cx="51364" cy="399909"/>
            </a:xfrm>
          </p:grpSpPr>
          <p:sp>
            <p:nvSpPr>
              <p:cNvPr id="2121" name="Rounded Rectangle 49">
                <a:extLst>
                  <a:ext uri="{FF2B5EF4-FFF2-40B4-BE49-F238E27FC236}">
                    <a16:creationId xmlns:a16="http://schemas.microsoft.com/office/drawing/2014/main" id="{1A850FBF-5579-A3BE-DA18-BF6019D710AE}"/>
                  </a:ext>
                </a:extLst>
              </p:cNvPr>
              <p:cNvSpPr/>
              <p:nvPr/>
            </p:nvSpPr>
            <p:spPr>
              <a:xfrm>
                <a:off x="3632200" y="3310437"/>
                <a:ext cx="9172" cy="386792"/>
              </a:xfrm>
              <a:custGeom>
                <a:avLst/>
                <a:gdLst/>
                <a:ahLst/>
                <a:cxnLst/>
                <a:rect l="0" t="0" r="0" b="0"/>
                <a:pathLst>
                  <a:path w="9172" h="386792">
                    <a:moveTo>
                      <a:pt x="0" y="386792"/>
                    </a:moveTo>
                    <a:lnTo>
                      <a:pt x="0" y="0"/>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22" name="Rounded Rectangle 50">
                <a:extLst>
                  <a:ext uri="{FF2B5EF4-FFF2-40B4-BE49-F238E27FC236}">
                    <a16:creationId xmlns:a16="http://schemas.microsoft.com/office/drawing/2014/main" id="{0518E2C9-CF10-9652-C5A7-9C0BD30DC706}"/>
                  </a:ext>
                </a:extLst>
              </p:cNvPr>
              <p:cNvSpPr/>
              <p:nvPr/>
            </p:nvSpPr>
            <p:spPr>
              <a:xfrm>
                <a:off x="3606517" y="3664485"/>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34" name="Group 33">
              <a:extLst>
                <a:ext uri="{FF2B5EF4-FFF2-40B4-BE49-F238E27FC236}">
                  <a16:creationId xmlns:a16="http://schemas.microsoft.com/office/drawing/2014/main" id="{00DD6C84-4FD8-0DA3-CD4F-B35276EE6E6A}"/>
                </a:ext>
              </a:extLst>
            </p:cNvPr>
            <p:cNvGrpSpPr/>
            <p:nvPr/>
          </p:nvGrpSpPr>
          <p:grpSpPr>
            <a:xfrm>
              <a:off x="7425275" y="3827316"/>
              <a:ext cx="51364" cy="399908"/>
              <a:chOff x="3826651" y="3361252"/>
              <a:chExt cx="51364" cy="399908"/>
            </a:xfrm>
          </p:grpSpPr>
          <p:sp>
            <p:nvSpPr>
              <p:cNvPr id="2119" name="Rounded Rectangle 52">
                <a:extLst>
                  <a:ext uri="{FF2B5EF4-FFF2-40B4-BE49-F238E27FC236}">
                    <a16:creationId xmlns:a16="http://schemas.microsoft.com/office/drawing/2014/main" id="{01ACB58F-92F9-0959-FC3D-4061D2286769}"/>
                  </a:ext>
                </a:extLst>
              </p:cNvPr>
              <p:cNvSpPr/>
              <p:nvPr/>
            </p:nvSpPr>
            <p:spPr>
              <a:xfrm>
                <a:off x="3852333" y="3361252"/>
                <a:ext cx="9172" cy="386792"/>
              </a:xfrm>
              <a:custGeom>
                <a:avLst/>
                <a:gdLst/>
                <a:ahLst/>
                <a:cxnLst/>
                <a:rect l="0" t="0" r="0" b="0"/>
                <a:pathLst>
                  <a:path w="9172" h="386792">
                    <a:moveTo>
                      <a:pt x="0" y="0"/>
                    </a:moveTo>
                    <a:lnTo>
                      <a:pt x="0" y="386792"/>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20" name="Rounded Rectangle 53">
                <a:extLst>
                  <a:ext uri="{FF2B5EF4-FFF2-40B4-BE49-F238E27FC236}">
                    <a16:creationId xmlns:a16="http://schemas.microsoft.com/office/drawing/2014/main" id="{FADDDFAC-1387-91E5-2EB1-8A3B94E5CAC8}"/>
                  </a:ext>
                </a:extLst>
              </p:cNvPr>
              <p:cNvSpPr/>
              <p:nvPr/>
            </p:nvSpPr>
            <p:spPr>
              <a:xfrm>
                <a:off x="3826651" y="3715299"/>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35" name="Group 34">
              <a:extLst>
                <a:ext uri="{FF2B5EF4-FFF2-40B4-BE49-F238E27FC236}">
                  <a16:creationId xmlns:a16="http://schemas.microsoft.com/office/drawing/2014/main" id="{EF17E7BB-E44A-0F6D-FAA1-5829A17327B3}"/>
                </a:ext>
              </a:extLst>
            </p:cNvPr>
            <p:cNvGrpSpPr/>
            <p:nvPr/>
          </p:nvGrpSpPr>
          <p:grpSpPr>
            <a:xfrm>
              <a:off x="8525941" y="3675056"/>
              <a:ext cx="51364" cy="399909"/>
              <a:chOff x="4927317" y="3208992"/>
              <a:chExt cx="51364" cy="399909"/>
            </a:xfrm>
          </p:grpSpPr>
          <p:sp>
            <p:nvSpPr>
              <p:cNvPr id="2117" name="Rounded Rectangle 55">
                <a:extLst>
                  <a:ext uri="{FF2B5EF4-FFF2-40B4-BE49-F238E27FC236}">
                    <a16:creationId xmlns:a16="http://schemas.microsoft.com/office/drawing/2014/main" id="{D701FCC6-B332-727E-D482-5FEFCEA9C61B}"/>
                  </a:ext>
                </a:extLst>
              </p:cNvPr>
              <p:cNvSpPr/>
              <p:nvPr/>
            </p:nvSpPr>
            <p:spPr>
              <a:xfrm>
                <a:off x="4953000" y="3208992"/>
                <a:ext cx="9172" cy="386792"/>
              </a:xfrm>
              <a:custGeom>
                <a:avLst/>
                <a:gdLst/>
                <a:ahLst/>
                <a:cxnLst/>
                <a:rect l="0" t="0" r="0" b="0"/>
                <a:pathLst>
                  <a:path w="9172" h="386792">
                    <a:moveTo>
                      <a:pt x="0" y="0"/>
                    </a:moveTo>
                    <a:lnTo>
                      <a:pt x="0" y="386792"/>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18" name="Rounded Rectangle 56">
                <a:extLst>
                  <a:ext uri="{FF2B5EF4-FFF2-40B4-BE49-F238E27FC236}">
                    <a16:creationId xmlns:a16="http://schemas.microsoft.com/office/drawing/2014/main" id="{D3AFB5DC-7EBF-6026-8C71-21F2E531E55E}"/>
                  </a:ext>
                </a:extLst>
              </p:cNvPr>
              <p:cNvSpPr/>
              <p:nvPr/>
            </p:nvSpPr>
            <p:spPr>
              <a:xfrm>
                <a:off x="4927317" y="3563040"/>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36" name="Group 35">
              <a:extLst>
                <a:ext uri="{FF2B5EF4-FFF2-40B4-BE49-F238E27FC236}">
                  <a16:creationId xmlns:a16="http://schemas.microsoft.com/office/drawing/2014/main" id="{4AF7340C-A2B6-96D0-22F5-FF4A6C52C067}"/>
                </a:ext>
              </a:extLst>
            </p:cNvPr>
            <p:cNvGrpSpPr/>
            <p:nvPr/>
          </p:nvGrpSpPr>
          <p:grpSpPr>
            <a:xfrm>
              <a:off x="8305808" y="3725781"/>
              <a:ext cx="51364" cy="399909"/>
              <a:chOff x="4707184" y="3259717"/>
              <a:chExt cx="51364" cy="399909"/>
            </a:xfrm>
          </p:grpSpPr>
          <p:sp>
            <p:nvSpPr>
              <p:cNvPr id="2115" name="Rounded Rectangle 58">
                <a:extLst>
                  <a:ext uri="{FF2B5EF4-FFF2-40B4-BE49-F238E27FC236}">
                    <a16:creationId xmlns:a16="http://schemas.microsoft.com/office/drawing/2014/main" id="{09388119-388E-ABF0-2C7F-C05D6CAEAC30}"/>
                  </a:ext>
                </a:extLst>
              </p:cNvPr>
              <p:cNvSpPr/>
              <p:nvPr/>
            </p:nvSpPr>
            <p:spPr>
              <a:xfrm>
                <a:off x="4732866" y="3259717"/>
                <a:ext cx="9172" cy="386792"/>
              </a:xfrm>
              <a:custGeom>
                <a:avLst/>
                <a:gdLst/>
                <a:ahLst/>
                <a:cxnLst/>
                <a:rect l="0" t="0" r="0" b="0"/>
                <a:pathLst>
                  <a:path w="9172" h="386792">
                    <a:moveTo>
                      <a:pt x="0" y="0"/>
                    </a:moveTo>
                    <a:lnTo>
                      <a:pt x="0" y="386792"/>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16" name="Rounded Rectangle 59">
                <a:extLst>
                  <a:ext uri="{FF2B5EF4-FFF2-40B4-BE49-F238E27FC236}">
                    <a16:creationId xmlns:a16="http://schemas.microsoft.com/office/drawing/2014/main" id="{89A6A61B-B458-B268-0A3E-18094C3A6C6F}"/>
                  </a:ext>
                </a:extLst>
              </p:cNvPr>
              <p:cNvSpPr/>
              <p:nvPr/>
            </p:nvSpPr>
            <p:spPr>
              <a:xfrm>
                <a:off x="4707184" y="3613765"/>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37" name="Group 36">
              <a:extLst>
                <a:ext uri="{FF2B5EF4-FFF2-40B4-BE49-F238E27FC236}">
                  <a16:creationId xmlns:a16="http://schemas.microsoft.com/office/drawing/2014/main" id="{1361D7E9-2D73-2713-5433-BAE15E6DFD6D}"/>
                </a:ext>
              </a:extLst>
            </p:cNvPr>
            <p:cNvGrpSpPr/>
            <p:nvPr/>
          </p:nvGrpSpPr>
          <p:grpSpPr>
            <a:xfrm>
              <a:off x="8085675" y="3776595"/>
              <a:ext cx="51364" cy="399909"/>
              <a:chOff x="4487051" y="3310531"/>
              <a:chExt cx="51364" cy="399909"/>
            </a:xfrm>
          </p:grpSpPr>
          <p:sp>
            <p:nvSpPr>
              <p:cNvPr id="2113" name="Rounded Rectangle 61">
                <a:extLst>
                  <a:ext uri="{FF2B5EF4-FFF2-40B4-BE49-F238E27FC236}">
                    <a16:creationId xmlns:a16="http://schemas.microsoft.com/office/drawing/2014/main" id="{DE224464-73ED-4DB0-2D71-2843B7ED62FD}"/>
                  </a:ext>
                </a:extLst>
              </p:cNvPr>
              <p:cNvSpPr/>
              <p:nvPr/>
            </p:nvSpPr>
            <p:spPr>
              <a:xfrm>
                <a:off x="4512733" y="3310531"/>
                <a:ext cx="9172" cy="386792"/>
              </a:xfrm>
              <a:custGeom>
                <a:avLst/>
                <a:gdLst/>
                <a:ahLst/>
                <a:cxnLst/>
                <a:rect l="0" t="0" r="0" b="0"/>
                <a:pathLst>
                  <a:path w="9172" h="386792">
                    <a:moveTo>
                      <a:pt x="0" y="0"/>
                    </a:moveTo>
                    <a:lnTo>
                      <a:pt x="0" y="386792"/>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14" name="Rounded Rectangle 62">
                <a:extLst>
                  <a:ext uri="{FF2B5EF4-FFF2-40B4-BE49-F238E27FC236}">
                    <a16:creationId xmlns:a16="http://schemas.microsoft.com/office/drawing/2014/main" id="{30F5F0F1-C736-410D-A618-6B99F4AEBC6D}"/>
                  </a:ext>
                </a:extLst>
              </p:cNvPr>
              <p:cNvSpPr/>
              <p:nvPr/>
            </p:nvSpPr>
            <p:spPr>
              <a:xfrm>
                <a:off x="4487051" y="3664579"/>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38" name="Group 37">
              <a:extLst>
                <a:ext uri="{FF2B5EF4-FFF2-40B4-BE49-F238E27FC236}">
                  <a16:creationId xmlns:a16="http://schemas.microsoft.com/office/drawing/2014/main" id="{8C2B1B46-49AF-4DDB-4A63-70EDE0458E1B}"/>
                </a:ext>
              </a:extLst>
            </p:cNvPr>
            <p:cNvGrpSpPr/>
            <p:nvPr/>
          </p:nvGrpSpPr>
          <p:grpSpPr>
            <a:xfrm>
              <a:off x="7865541" y="3827316"/>
              <a:ext cx="51364" cy="399908"/>
              <a:chOff x="4266917" y="3361252"/>
              <a:chExt cx="51364" cy="399908"/>
            </a:xfrm>
          </p:grpSpPr>
          <p:sp>
            <p:nvSpPr>
              <p:cNvPr id="2111" name="Rounded Rectangle 64">
                <a:extLst>
                  <a:ext uri="{FF2B5EF4-FFF2-40B4-BE49-F238E27FC236}">
                    <a16:creationId xmlns:a16="http://schemas.microsoft.com/office/drawing/2014/main" id="{319F2BEA-AEDF-A3B9-8DBA-74C8E787521C}"/>
                  </a:ext>
                </a:extLst>
              </p:cNvPr>
              <p:cNvSpPr/>
              <p:nvPr/>
            </p:nvSpPr>
            <p:spPr>
              <a:xfrm>
                <a:off x="4292600" y="3361252"/>
                <a:ext cx="9172" cy="386792"/>
              </a:xfrm>
              <a:custGeom>
                <a:avLst/>
                <a:gdLst/>
                <a:ahLst/>
                <a:cxnLst/>
                <a:rect l="0" t="0" r="0" b="0"/>
                <a:pathLst>
                  <a:path w="9172" h="386792">
                    <a:moveTo>
                      <a:pt x="0" y="0"/>
                    </a:moveTo>
                    <a:lnTo>
                      <a:pt x="0" y="386792"/>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12" name="Rounded Rectangle 65">
                <a:extLst>
                  <a:ext uri="{FF2B5EF4-FFF2-40B4-BE49-F238E27FC236}">
                    <a16:creationId xmlns:a16="http://schemas.microsoft.com/office/drawing/2014/main" id="{402E0B1F-DCBA-F169-C629-A263BB853728}"/>
                  </a:ext>
                </a:extLst>
              </p:cNvPr>
              <p:cNvSpPr/>
              <p:nvPr/>
            </p:nvSpPr>
            <p:spPr>
              <a:xfrm>
                <a:off x="4266917" y="3715299"/>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39" name="Group 38">
              <a:extLst>
                <a:ext uri="{FF2B5EF4-FFF2-40B4-BE49-F238E27FC236}">
                  <a16:creationId xmlns:a16="http://schemas.microsoft.com/office/drawing/2014/main" id="{F6182E0F-34DC-6BE3-8ED5-025D4A653CFF}"/>
                </a:ext>
              </a:extLst>
            </p:cNvPr>
            <p:cNvGrpSpPr/>
            <p:nvPr/>
          </p:nvGrpSpPr>
          <p:grpSpPr>
            <a:xfrm>
              <a:off x="7645408" y="3878130"/>
              <a:ext cx="51364" cy="399909"/>
              <a:chOff x="4046784" y="3412066"/>
              <a:chExt cx="51364" cy="399909"/>
            </a:xfrm>
          </p:grpSpPr>
          <p:sp>
            <p:nvSpPr>
              <p:cNvPr id="2109" name="Rounded Rectangle 67">
                <a:extLst>
                  <a:ext uri="{FF2B5EF4-FFF2-40B4-BE49-F238E27FC236}">
                    <a16:creationId xmlns:a16="http://schemas.microsoft.com/office/drawing/2014/main" id="{86F1EC71-9E97-66A0-5F46-5070C657659A}"/>
                  </a:ext>
                </a:extLst>
              </p:cNvPr>
              <p:cNvSpPr/>
              <p:nvPr/>
            </p:nvSpPr>
            <p:spPr>
              <a:xfrm>
                <a:off x="4072466" y="3412066"/>
                <a:ext cx="9172" cy="386792"/>
              </a:xfrm>
              <a:custGeom>
                <a:avLst/>
                <a:gdLst/>
                <a:ahLst/>
                <a:cxnLst/>
                <a:rect l="0" t="0" r="0" b="0"/>
                <a:pathLst>
                  <a:path w="9172" h="386792">
                    <a:moveTo>
                      <a:pt x="0" y="0"/>
                    </a:moveTo>
                    <a:lnTo>
                      <a:pt x="0" y="386792"/>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10" name="Rounded Rectangle 68">
                <a:extLst>
                  <a:ext uri="{FF2B5EF4-FFF2-40B4-BE49-F238E27FC236}">
                    <a16:creationId xmlns:a16="http://schemas.microsoft.com/office/drawing/2014/main" id="{6EA0D071-6369-B30C-FC89-21D467A8151C}"/>
                  </a:ext>
                </a:extLst>
              </p:cNvPr>
              <p:cNvSpPr/>
              <p:nvPr/>
            </p:nvSpPr>
            <p:spPr>
              <a:xfrm>
                <a:off x="4046784" y="3766114"/>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40" name="Group 39">
              <a:extLst>
                <a:ext uri="{FF2B5EF4-FFF2-40B4-BE49-F238E27FC236}">
                  <a16:creationId xmlns:a16="http://schemas.microsoft.com/office/drawing/2014/main" id="{4ADF3C7C-4F74-B700-C33D-F5D4B8DD8D02}"/>
                </a:ext>
              </a:extLst>
            </p:cNvPr>
            <p:cNvGrpSpPr/>
            <p:nvPr/>
          </p:nvGrpSpPr>
          <p:grpSpPr>
            <a:xfrm>
              <a:off x="6240224" y="3162697"/>
              <a:ext cx="2861733" cy="715433"/>
              <a:chOff x="2641600" y="2696633"/>
              <a:chExt cx="2861733" cy="715433"/>
            </a:xfrm>
          </p:grpSpPr>
          <p:sp>
            <p:nvSpPr>
              <p:cNvPr id="2107" name="Rounded Rectangle 70">
                <a:extLst>
                  <a:ext uri="{FF2B5EF4-FFF2-40B4-BE49-F238E27FC236}">
                    <a16:creationId xmlns:a16="http://schemas.microsoft.com/office/drawing/2014/main" id="{077CE5BA-ECFD-EDA7-18E3-DD74C8C52E98}"/>
                  </a:ext>
                </a:extLst>
              </p:cNvPr>
              <p:cNvSpPr/>
              <p:nvPr/>
            </p:nvSpPr>
            <p:spPr>
              <a:xfrm>
                <a:off x="2641600" y="2696633"/>
                <a:ext cx="2861733" cy="715433"/>
              </a:xfrm>
              <a:custGeom>
                <a:avLst/>
                <a:gdLst/>
                <a:ahLst/>
                <a:cxnLst/>
                <a:rect l="0" t="0" r="0" b="0"/>
                <a:pathLst>
                  <a:path w="2861733" h="715433">
                    <a:moveTo>
                      <a:pt x="0" y="385233"/>
                    </a:moveTo>
                    <a:lnTo>
                      <a:pt x="0" y="275166"/>
                    </a:lnTo>
                    <a:lnTo>
                      <a:pt x="1192388" y="0"/>
                    </a:lnTo>
                    <a:lnTo>
                      <a:pt x="1430866" y="55033"/>
                    </a:lnTo>
                    <a:lnTo>
                      <a:pt x="1669344" y="0"/>
                    </a:lnTo>
                    <a:lnTo>
                      <a:pt x="2861733" y="275166"/>
                    </a:lnTo>
                    <a:lnTo>
                      <a:pt x="2861733" y="385233"/>
                    </a:lnTo>
                    <a:lnTo>
                      <a:pt x="1430866" y="715433"/>
                    </a:lnTo>
                    <a:close/>
                  </a:path>
                </a:pathLst>
              </a:custGeom>
              <a:solidFill>
                <a:srgbClr val="F98700"/>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08" name="Rounded Rectangle 71">
                <a:extLst>
                  <a:ext uri="{FF2B5EF4-FFF2-40B4-BE49-F238E27FC236}">
                    <a16:creationId xmlns:a16="http://schemas.microsoft.com/office/drawing/2014/main" id="{918C953A-D939-9673-ADF0-F907E0DEEB6C}"/>
                  </a:ext>
                </a:extLst>
              </p:cNvPr>
              <p:cNvSpPr/>
              <p:nvPr/>
            </p:nvSpPr>
            <p:spPr>
              <a:xfrm>
                <a:off x="2641600" y="2696633"/>
                <a:ext cx="2861733" cy="715433"/>
              </a:xfrm>
              <a:custGeom>
                <a:avLst/>
                <a:gdLst/>
                <a:ahLst/>
                <a:cxnLst/>
                <a:rect l="0" t="0" r="0" b="0"/>
                <a:pathLst>
                  <a:path w="2861733" h="715433">
                    <a:moveTo>
                      <a:pt x="2861733" y="275166"/>
                    </a:moveTo>
                    <a:lnTo>
                      <a:pt x="2861733" y="385233"/>
                    </a:lnTo>
                    <a:lnTo>
                      <a:pt x="1430866" y="715433"/>
                    </a:lnTo>
                    <a:lnTo>
                      <a:pt x="0" y="385233"/>
                    </a:lnTo>
                    <a:lnTo>
                      <a:pt x="0" y="275166"/>
                    </a:lnTo>
                    <a:moveTo>
                      <a:pt x="0" y="275166"/>
                    </a:moveTo>
                    <a:lnTo>
                      <a:pt x="1430604" y="605366"/>
                    </a:lnTo>
                    <a:lnTo>
                      <a:pt x="2861733" y="275166"/>
                    </a:lnTo>
                    <a:moveTo>
                      <a:pt x="0" y="275166"/>
                    </a:moveTo>
                    <a:lnTo>
                      <a:pt x="1192388" y="0"/>
                    </a:lnTo>
                    <a:lnTo>
                      <a:pt x="1430866" y="55033"/>
                    </a:lnTo>
                    <a:lnTo>
                      <a:pt x="1669344" y="0"/>
                    </a:lnTo>
                    <a:lnTo>
                      <a:pt x="2861733" y="275166"/>
                    </a:lnTo>
                  </a:path>
                </a:pathLst>
              </a:custGeom>
              <a:noFill/>
              <a:ln w="6879">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41" name="Group 40">
              <a:extLst>
                <a:ext uri="{FF2B5EF4-FFF2-40B4-BE49-F238E27FC236}">
                  <a16:creationId xmlns:a16="http://schemas.microsoft.com/office/drawing/2014/main" id="{F8F776F4-DC26-C48A-6A7F-F3CDF9EED5AE}"/>
                </a:ext>
              </a:extLst>
            </p:cNvPr>
            <p:cNvGrpSpPr/>
            <p:nvPr/>
          </p:nvGrpSpPr>
          <p:grpSpPr>
            <a:xfrm>
              <a:off x="6544741" y="2963658"/>
              <a:ext cx="51364" cy="399909"/>
              <a:chOff x="2946117" y="2497594"/>
              <a:chExt cx="51364" cy="399909"/>
            </a:xfrm>
          </p:grpSpPr>
          <p:sp>
            <p:nvSpPr>
              <p:cNvPr id="2105" name="Rounded Rectangle 73">
                <a:extLst>
                  <a:ext uri="{FF2B5EF4-FFF2-40B4-BE49-F238E27FC236}">
                    <a16:creationId xmlns:a16="http://schemas.microsoft.com/office/drawing/2014/main" id="{E338B7BF-0321-1A38-EF5A-047DE2943033}"/>
                  </a:ext>
                </a:extLst>
              </p:cNvPr>
              <p:cNvSpPr/>
              <p:nvPr/>
            </p:nvSpPr>
            <p:spPr>
              <a:xfrm>
                <a:off x="2971800" y="2497594"/>
                <a:ext cx="9172" cy="386884"/>
              </a:xfrm>
              <a:custGeom>
                <a:avLst/>
                <a:gdLst/>
                <a:ahLst/>
                <a:cxnLst/>
                <a:rect l="0" t="0" r="0" b="0"/>
                <a:pathLst>
                  <a:path w="9172" h="386884">
                    <a:moveTo>
                      <a:pt x="0" y="386884"/>
                    </a:moveTo>
                    <a:lnTo>
                      <a:pt x="0" y="0"/>
                    </a:lnTo>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06" name="Rounded Rectangle 74">
                <a:extLst>
                  <a:ext uri="{FF2B5EF4-FFF2-40B4-BE49-F238E27FC236}">
                    <a16:creationId xmlns:a16="http://schemas.microsoft.com/office/drawing/2014/main" id="{1B54AE50-CC15-9749-83A3-ED86330CE913}"/>
                  </a:ext>
                </a:extLst>
              </p:cNvPr>
              <p:cNvSpPr/>
              <p:nvPr/>
            </p:nvSpPr>
            <p:spPr>
              <a:xfrm>
                <a:off x="2946117" y="2851642"/>
                <a:ext cx="51364" cy="45861"/>
              </a:xfrm>
              <a:custGeom>
                <a:avLst/>
                <a:gdLst/>
                <a:ahLst/>
                <a:cxnLst/>
                <a:rect l="0" t="0" r="0" b="0"/>
                <a:pathLst>
                  <a:path w="51364" h="45861">
                    <a:moveTo>
                      <a:pt x="25682" y="45861"/>
                    </a:moveTo>
                    <a:lnTo>
                      <a:pt x="0" y="0"/>
                    </a:lnTo>
                    <a:lnTo>
                      <a:pt x="51364" y="0"/>
                    </a:lnTo>
                    <a:close/>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42" name="Group 41">
              <a:extLst>
                <a:ext uri="{FF2B5EF4-FFF2-40B4-BE49-F238E27FC236}">
                  <a16:creationId xmlns:a16="http://schemas.microsoft.com/office/drawing/2014/main" id="{2D5C4EA0-2D7A-0F4F-0287-606EB446B577}"/>
                </a:ext>
              </a:extLst>
            </p:cNvPr>
            <p:cNvGrpSpPr/>
            <p:nvPr/>
          </p:nvGrpSpPr>
          <p:grpSpPr>
            <a:xfrm>
              <a:off x="6764875" y="3014472"/>
              <a:ext cx="51364" cy="399909"/>
              <a:chOff x="3166251" y="2548408"/>
              <a:chExt cx="51364" cy="399909"/>
            </a:xfrm>
          </p:grpSpPr>
          <p:sp>
            <p:nvSpPr>
              <p:cNvPr id="2103" name="Rounded Rectangle 76">
                <a:extLst>
                  <a:ext uri="{FF2B5EF4-FFF2-40B4-BE49-F238E27FC236}">
                    <a16:creationId xmlns:a16="http://schemas.microsoft.com/office/drawing/2014/main" id="{D122D714-2368-825C-E4E4-C32EA8157114}"/>
                  </a:ext>
                </a:extLst>
              </p:cNvPr>
              <p:cNvSpPr/>
              <p:nvPr/>
            </p:nvSpPr>
            <p:spPr>
              <a:xfrm>
                <a:off x="3191933" y="2548408"/>
                <a:ext cx="9172" cy="386884"/>
              </a:xfrm>
              <a:custGeom>
                <a:avLst/>
                <a:gdLst/>
                <a:ahLst/>
                <a:cxnLst/>
                <a:rect l="0" t="0" r="0" b="0"/>
                <a:pathLst>
                  <a:path w="9172" h="386884">
                    <a:moveTo>
                      <a:pt x="0" y="0"/>
                    </a:moveTo>
                    <a:lnTo>
                      <a:pt x="0" y="386884"/>
                    </a:lnTo>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04" name="Rounded Rectangle 77">
                <a:extLst>
                  <a:ext uri="{FF2B5EF4-FFF2-40B4-BE49-F238E27FC236}">
                    <a16:creationId xmlns:a16="http://schemas.microsoft.com/office/drawing/2014/main" id="{B239F350-32F3-FCB7-4C13-84200279E511}"/>
                  </a:ext>
                </a:extLst>
              </p:cNvPr>
              <p:cNvSpPr/>
              <p:nvPr/>
            </p:nvSpPr>
            <p:spPr>
              <a:xfrm>
                <a:off x="3166251" y="2902456"/>
                <a:ext cx="51364" cy="45861"/>
              </a:xfrm>
              <a:custGeom>
                <a:avLst/>
                <a:gdLst/>
                <a:ahLst/>
                <a:cxnLst/>
                <a:rect l="0" t="0" r="0" b="0"/>
                <a:pathLst>
                  <a:path w="51364" h="45861">
                    <a:moveTo>
                      <a:pt x="25682" y="45861"/>
                    </a:moveTo>
                    <a:lnTo>
                      <a:pt x="0" y="0"/>
                    </a:lnTo>
                    <a:lnTo>
                      <a:pt x="51364" y="0"/>
                    </a:lnTo>
                    <a:close/>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43" name="Group 42">
              <a:extLst>
                <a:ext uri="{FF2B5EF4-FFF2-40B4-BE49-F238E27FC236}">
                  <a16:creationId xmlns:a16="http://schemas.microsoft.com/office/drawing/2014/main" id="{9B031355-BB62-7AE5-8904-F04F383A16FE}"/>
                </a:ext>
              </a:extLst>
            </p:cNvPr>
            <p:cNvGrpSpPr/>
            <p:nvPr/>
          </p:nvGrpSpPr>
          <p:grpSpPr>
            <a:xfrm>
              <a:off x="6985008" y="3065287"/>
              <a:ext cx="51364" cy="399909"/>
              <a:chOff x="3386384" y="2599223"/>
              <a:chExt cx="51364" cy="399909"/>
            </a:xfrm>
          </p:grpSpPr>
          <p:sp>
            <p:nvSpPr>
              <p:cNvPr id="2101" name="Rounded Rectangle 79">
                <a:extLst>
                  <a:ext uri="{FF2B5EF4-FFF2-40B4-BE49-F238E27FC236}">
                    <a16:creationId xmlns:a16="http://schemas.microsoft.com/office/drawing/2014/main" id="{66365623-AD6A-E392-A838-3DC252253FBF}"/>
                  </a:ext>
                </a:extLst>
              </p:cNvPr>
              <p:cNvSpPr/>
              <p:nvPr/>
            </p:nvSpPr>
            <p:spPr>
              <a:xfrm>
                <a:off x="3412066" y="2599223"/>
                <a:ext cx="9172" cy="386792"/>
              </a:xfrm>
              <a:custGeom>
                <a:avLst/>
                <a:gdLst/>
                <a:ahLst/>
                <a:cxnLst/>
                <a:rect l="0" t="0" r="0" b="0"/>
                <a:pathLst>
                  <a:path w="9172" h="386792">
                    <a:moveTo>
                      <a:pt x="0" y="0"/>
                    </a:moveTo>
                    <a:lnTo>
                      <a:pt x="0" y="386792"/>
                    </a:lnTo>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02" name="Rounded Rectangle 80">
                <a:extLst>
                  <a:ext uri="{FF2B5EF4-FFF2-40B4-BE49-F238E27FC236}">
                    <a16:creationId xmlns:a16="http://schemas.microsoft.com/office/drawing/2014/main" id="{BBD9ABC1-7DD6-F490-ADF3-478FA7085BB6}"/>
                  </a:ext>
                </a:extLst>
              </p:cNvPr>
              <p:cNvSpPr/>
              <p:nvPr/>
            </p:nvSpPr>
            <p:spPr>
              <a:xfrm>
                <a:off x="3386384" y="2953271"/>
                <a:ext cx="51364" cy="45861"/>
              </a:xfrm>
              <a:custGeom>
                <a:avLst/>
                <a:gdLst/>
                <a:ahLst/>
                <a:cxnLst/>
                <a:rect l="0" t="0" r="0" b="0"/>
                <a:pathLst>
                  <a:path w="51364" h="45861">
                    <a:moveTo>
                      <a:pt x="25682" y="45861"/>
                    </a:moveTo>
                    <a:lnTo>
                      <a:pt x="0" y="0"/>
                    </a:lnTo>
                    <a:lnTo>
                      <a:pt x="51364" y="0"/>
                    </a:lnTo>
                    <a:close/>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44" name="Group 43">
              <a:extLst>
                <a:ext uri="{FF2B5EF4-FFF2-40B4-BE49-F238E27FC236}">
                  <a16:creationId xmlns:a16="http://schemas.microsoft.com/office/drawing/2014/main" id="{B04702A4-1EF3-AF9F-D40E-182E2BEBF4B4}"/>
                </a:ext>
              </a:extLst>
            </p:cNvPr>
            <p:cNvGrpSpPr/>
            <p:nvPr/>
          </p:nvGrpSpPr>
          <p:grpSpPr>
            <a:xfrm>
              <a:off x="7205141" y="3116101"/>
              <a:ext cx="51364" cy="399909"/>
              <a:chOff x="3606517" y="2650037"/>
              <a:chExt cx="51364" cy="399909"/>
            </a:xfrm>
          </p:grpSpPr>
          <p:sp>
            <p:nvSpPr>
              <p:cNvPr id="2099" name="Rounded Rectangle 82">
                <a:extLst>
                  <a:ext uri="{FF2B5EF4-FFF2-40B4-BE49-F238E27FC236}">
                    <a16:creationId xmlns:a16="http://schemas.microsoft.com/office/drawing/2014/main" id="{30240A2A-9A84-0673-B70D-BEA7870715CB}"/>
                  </a:ext>
                </a:extLst>
              </p:cNvPr>
              <p:cNvSpPr/>
              <p:nvPr/>
            </p:nvSpPr>
            <p:spPr>
              <a:xfrm>
                <a:off x="3632200" y="2650037"/>
                <a:ext cx="9172" cy="386792"/>
              </a:xfrm>
              <a:custGeom>
                <a:avLst/>
                <a:gdLst/>
                <a:ahLst/>
                <a:cxnLst/>
                <a:rect l="0" t="0" r="0" b="0"/>
                <a:pathLst>
                  <a:path w="9172" h="386792">
                    <a:moveTo>
                      <a:pt x="0" y="386792"/>
                    </a:moveTo>
                    <a:lnTo>
                      <a:pt x="0" y="0"/>
                    </a:lnTo>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100" name="Rounded Rectangle 83">
                <a:extLst>
                  <a:ext uri="{FF2B5EF4-FFF2-40B4-BE49-F238E27FC236}">
                    <a16:creationId xmlns:a16="http://schemas.microsoft.com/office/drawing/2014/main" id="{0CBD1F02-F9D1-8E8E-C910-9021D024FC5C}"/>
                  </a:ext>
                </a:extLst>
              </p:cNvPr>
              <p:cNvSpPr/>
              <p:nvPr/>
            </p:nvSpPr>
            <p:spPr>
              <a:xfrm>
                <a:off x="3606517" y="3004085"/>
                <a:ext cx="51364" cy="45861"/>
              </a:xfrm>
              <a:custGeom>
                <a:avLst/>
                <a:gdLst/>
                <a:ahLst/>
                <a:cxnLst/>
                <a:rect l="0" t="0" r="0" b="0"/>
                <a:pathLst>
                  <a:path w="51364" h="45861">
                    <a:moveTo>
                      <a:pt x="25682" y="45861"/>
                    </a:moveTo>
                    <a:lnTo>
                      <a:pt x="0" y="0"/>
                    </a:lnTo>
                    <a:lnTo>
                      <a:pt x="51364" y="0"/>
                    </a:lnTo>
                    <a:close/>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45" name="Group 44">
              <a:extLst>
                <a:ext uri="{FF2B5EF4-FFF2-40B4-BE49-F238E27FC236}">
                  <a16:creationId xmlns:a16="http://schemas.microsoft.com/office/drawing/2014/main" id="{330D004F-A939-3484-8B83-9C86DD3453DB}"/>
                </a:ext>
              </a:extLst>
            </p:cNvPr>
            <p:cNvGrpSpPr/>
            <p:nvPr/>
          </p:nvGrpSpPr>
          <p:grpSpPr>
            <a:xfrm>
              <a:off x="7425275" y="3166916"/>
              <a:ext cx="51364" cy="399908"/>
              <a:chOff x="3826651" y="2700852"/>
              <a:chExt cx="51364" cy="399908"/>
            </a:xfrm>
          </p:grpSpPr>
          <p:sp>
            <p:nvSpPr>
              <p:cNvPr id="2097" name="Rounded Rectangle 85">
                <a:extLst>
                  <a:ext uri="{FF2B5EF4-FFF2-40B4-BE49-F238E27FC236}">
                    <a16:creationId xmlns:a16="http://schemas.microsoft.com/office/drawing/2014/main" id="{E513A7D9-782B-68C2-67B8-8B031F39C35E}"/>
                  </a:ext>
                </a:extLst>
              </p:cNvPr>
              <p:cNvSpPr/>
              <p:nvPr/>
            </p:nvSpPr>
            <p:spPr>
              <a:xfrm>
                <a:off x="3852333" y="2700852"/>
                <a:ext cx="9172" cy="386792"/>
              </a:xfrm>
              <a:custGeom>
                <a:avLst/>
                <a:gdLst/>
                <a:ahLst/>
                <a:cxnLst/>
                <a:rect l="0" t="0" r="0" b="0"/>
                <a:pathLst>
                  <a:path w="9172" h="386792">
                    <a:moveTo>
                      <a:pt x="0" y="0"/>
                    </a:moveTo>
                    <a:lnTo>
                      <a:pt x="0" y="386792"/>
                    </a:lnTo>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98" name="Rounded Rectangle 86">
                <a:extLst>
                  <a:ext uri="{FF2B5EF4-FFF2-40B4-BE49-F238E27FC236}">
                    <a16:creationId xmlns:a16="http://schemas.microsoft.com/office/drawing/2014/main" id="{D531FBB8-7C9C-2BA2-3468-30D8EEA10DCC}"/>
                  </a:ext>
                </a:extLst>
              </p:cNvPr>
              <p:cNvSpPr/>
              <p:nvPr/>
            </p:nvSpPr>
            <p:spPr>
              <a:xfrm>
                <a:off x="3826651" y="3054899"/>
                <a:ext cx="51364" cy="45861"/>
              </a:xfrm>
              <a:custGeom>
                <a:avLst/>
                <a:gdLst/>
                <a:ahLst/>
                <a:cxnLst/>
                <a:rect l="0" t="0" r="0" b="0"/>
                <a:pathLst>
                  <a:path w="51364" h="45861">
                    <a:moveTo>
                      <a:pt x="25682" y="45861"/>
                    </a:moveTo>
                    <a:lnTo>
                      <a:pt x="0" y="0"/>
                    </a:lnTo>
                    <a:lnTo>
                      <a:pt x="51364" y="0"/>
                    </a:lnTo>
                    <a:close/>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46" name="Group 45">
              <a:extLst>
                <a:ext uri="{FF2B5EF4-FFF2-40B4-BE49-F238E27FC236}">
                  <a16:creationId xmlns:a16="http://schemas.microsoft.com/office/drawing/2014/main" id="{944EB5E4-D4DA-354B-4EC9-C87F312F2848}"/>
                </a:ext>
              </a:extLst>
            </p:cNvPr>
            <p:cNvGrpSpPr/>
            <p:nvPr/>
          </p:nvGrpSpPr>
          <p:grpSpPr>
            <a:xfrm>
              <a:off x="8746075" y="2963841"/>
              <a:ext cx="51364" cy="399909"/>
              <a:chOff x="5147451" y="2497777"/>
              <a:chExt cx="51364" cy="399909"/>
            </a:xfrm>
          </p:grpSpPr>
          <p:sp>
            <p:nvSpPr>
              <p:cNvPr id="2095" name="Rounded Rectangle 88">
                <a:extLst>
                  <a:ext uri="{FF2B5EF4-FFF2-40B4-BE49-F238E27FC236}">
                    <a16:creationId xmlns:a16="http://schemas.microsoft.com/office/drawing/2014/main" id="{BA59DDAE-1CF2-5742-2B82-48E2823FB30A}"/>
                  </a:ext>
                </a:extLst>
              </p:cNvPr>
              <p:cNvSpPr/>
              <p:nvPr/>
            </p:nvSpPr>
            <p:spPr>
              <a:xfrm>
                <a:off x="5173133" y="2497777"/>
                <a:ext cx="9172" cy="386792"/>
              </a:xfrm>
              <a:custGeom>
                <a:avLst/>
                <a:gdLst/>
                <a:ahLst/>
                <a:cxnLst/>
                <a:rect l="0" t="0" r="0" b="0"/>
                <a:pathLst>
                  <a:path w="9172" h="386792">
                    <a:moveTo>
                      <a:pt x="0" y="0"/>
                    </a:moveTo>
                    <a:lnTo>
                      <a:pt x="0" y="386792"/>
                    </a:lnTo>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96" name="Rounded Rectangle 89">
                <a:extLst>
                  <a:ext uri="{FF2B5EF4-FFF2-40B4-BE49-F238E27FC236}">
                    <a16:creationId xmlns:a16="http://schemas.microsoft.com/office/drawing/2014/main" id="{8342160C-3B96-88FC-4A08-102D1F71241A}"/>
                  </a:ext>
                </a:extLst>
              </p:cNvPr>
              <p:cNvSpPr/>
              <p:nvPr/>
            </p:nvSpPr>
            <p:spPr>
              <a:xfrm>
                <a:off x="5147451" y="2851825"/>
                <a:ext cx="51364" cy="45861"/>
              </a:xfrm>
              <a:custGeom>
                <a:avLst/>
                <a:gdLst/>
                <a:ahLst/>
                <a:cxnLst/>
                <a:rect l="0" t="0" r="0" b="0"/>
                <a:pathLst>
                  <a:path w="51364" h="45861">
                    <a:moveTo>
                      <a:pt x="25682" y="45861"/>
                    </a:moveTo>
                    <a:lnTo>
                      <a:pt x="0" y="0"/>
                    </a:lnTo>
                    <a:lnTo>
                      <a:pt x="51364" y="0"/>
                    </a:lnTo>
                    <a:close/>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47" name="Group 46">
              <a:extLst>
                <a:ext uri="{FF2B5EF4-FFF2-40B4-BE49-F238E27FC236}">
                  <a16:creationId xmlns:a16="http://schemas.microsoft.com/office/drawing/2014/main" id="{95E817AA-A194-4287-87EA-DE66D45BD91F}"/>
                </a:ext>
              </a:extLst>
            </p:cNvPr>
            <p:cNvGrpSpPr/>
            <p:nvPr/>
          </p:nvGrpSpPr>
          <p:grpSpPr>
            <a:xfrm>
              <a:off x="8525941" y="3014656"/>
              <a:ext cx="51364" cy="399909"/>
              <a:chOff x="4927317" y="2548592"/>
              <a:chExt cx="51364" cy="399909"/>
            </a:xfrm>
          </p:grpSpPr>
          <p:sp>
            <p:nvSpPr>
              <p:cNvPr id="2093" name="Rounded Rectangle 91">
                <a:extLst>
                  <a:ext uri="{FF2B5EF4-FFF2-40B4-BE49-F238E27FC236}">
                    <a16:creationId xmlns:a16="http://schemas.microsoft.com/office/drawing/2014/main" id="{CAD8D441-C809-6240-33B4-33C2CE5A7B54}"/>
                  </a:ext>
                </a:extLst>
              </p:cNvPr>
              <p:cNvSpPr/>
              <p:nvPr/>
            </p:nvSpPr>
            <p:spPr>
              <a:xfrm>
                <a:off x="4953000" y="2548592"/>
                <a:ext cx="9172" cy="386792"/>
              </a:xfrm>
              <a:custGeom>
                <a:avLst/>
                <a:gdLst/>
                <a:ahLst/>
                <a:cxnLst/>
                <a:rect l="0" t="0" r="0" b="0"/>
                <a:pathLst>
                  <a:path w="9172" h="386792">
                    <a:moveTo>
                      <a:pt x="0" y="0"/>
                    </a:moveTo>
                    <a:lnTo>
                      <a:pt x="0" y="386792"/>
                    </a:lnTo>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94" name="Rounded Rectangle 92">
                <a:extLst>
                  <a:ext uri="{FF2B5EF4-FFF2-40B4-BE49-F238E27FC236}">
                    <a16:creationId xmlns:a16="http://schemas.microsoft.com/office/drawing/2014/main" id="{69DB7A2A-094F-0CBE-81F4-852A5221BC5C}"/>
                  </a:ext>
                </a:extLst>
              </p:cNvPr>
              <p:cNvSpPr/>
              <p:nvPr/>
            </p:nvSpPr>
            <p:spPr>
              <a:xfrm>
                <a:off x="4927317" y="2902640"/>
                <a:ext cx="51364" cy="45861"/>
              </a:xfrm>
              <a:custGeom>
                <a:avLst/>
                <a:gdLst/>
                <a:ahLst/>
                <a:cxnLst/>
                <a:rect l="0" t="0" r="0" b="0"/>
                <a:pathLst>
                  <a:path w="51364" h="45861">
                    <a:moveTo>
                      <a:pt x="25682" y="45861"/>
                    </a:moveTo>
                    <a:lnTo>
                      <a:pt x="0" y="0"/>
                    </a:lnTo>
                    <a:lnTo>
                      <a:pt x="51364" y="0"/>
                    </a:lnTo>
                    <a:close/>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48" name="Group 47">
              <a:extLst>
                <a:ext uri="{FF2B5EF4-FFF2-40B4-BE49-F238E27FC236}">
                  <a16:creationId xmlns:a16="http://schemas.microsoft.com/office/drawing/2014/main" id="{269905D9-722B-063A-0F2A-403A81FB65C1}"/>
                </a:ext>
              </a:extLst>
            </p:cNvPr>
            <p:cNvGrpSpPr/>
            <p:nvPr/>
          </p:nvGrpSpPr>
          <p:grpSpPr>
            <a:xfrm>
              <a:off x="8305808" y="3065381"/>
              <a:ext cx="51364" cy="399909"/>
              <a:chOff x="4707184" y="2599317"/>
              <a:chExt cx="51364" cy="399909"/>
            </a:xfrm>
          </p:grpSpPr>
          <p:sp>
            <p:nvSpPr>
              <p:cNvPr id="2091" name="Rounded Rectangle 94">
                <a:extLst>
                  <a:ext uri="{FF2B5EF4-FFF2-40B4-BE49-F238E27FC236}">
                    <a16:creationId xmlns:a16="http://schemas.microsoft.com/office/drawing/2014/main" id="{C9848EFC-8D54-4540-E148-21C35755E25E}"/>
                  </a:ext>
                </a:extLst>
              </p:cNvPr>
              <p:cNvSpPr/>
              <p:nvPr/>
            </p:nvSpPr>
            <p:spPr>
              <a:xfrm>
                <a:off x="4732866" y="2599317"/>
                <a:ext cx="9172" cy="386792"/>
              </a:xfrm>
              <a:custGeom>
                <a:avLst/>
                <a:gdLst/>
                <a:ahLst/>
                <a:cxnLst/>
                <a:rect l="0" t="0" r="0" b="0"/>
                <a:pathLst>
                  <a:path w="9172" h="386792">
                    <a:moveTo>
                      <a:pt x="0" y="0"/>
                    </a:moveTo>
                    <a:lnTo>
                      <a:pt x="0" y="386792"/>
                    </a:lnTo>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92" name="Rounded Rectangle 95">
                <a:extLst>
                  <a:ext uri="{FF2B5EF4-FFF2-40B4-BE49-F238E27FC236}">
                    <a16:creationId xmlns:a16="http://schemas.microsoft.com/office/drawing/2014/main" id="{4FF1C3EA-6E77-75E2-C023-B00A574DC599}"/>
                  </a:ext>
                </a:extLst>
              </p:cNvPr>
              <p:cNvSpPr/>
              <p:nvPr/>
            </p:nvSpPr>
            <p:spPr>
              <a:xfrm>
                <a:off x="4707184" y="2953365"/>
                <a:ext cx="51364" cy="45861"/>
              </a:xfrm>
              <a:custGeom>
                <a:avLst/>
                <a:gdLst/>
                <a:ahLst/>
                <a:cxnLst/>
                <a:rect l="0" t="0" r="0" b="0"/>
                <a:pathLst>
                  <a:path w="51364" h="45861">
                    <a:moveTo>
                      <a:pt x="25682" y="45861"/>
                    </a:moveTo>
                    <a:lnTo>
                      <a:pt x="0" y="0"/>
                    </a:lnTo>
                    <a:lnTo>
                      <a:pt x="51364" y="0"/>
                    </a:lnTo>
                    <a:close/>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49" name="Group 48">
              <a:extLst>
                <a:ext uri="{FF2B5EF4-FFF2-40B4-BE49-F238E27FC236}">
                  <a16:creationId xmlns:a16="http://schemas.microsoft.com/office/drawing/2014/main" id="{AD24CF39-E574-1D97-B356-506F16841AE4}"/>
                </a:ext>
              </a:extLst>
            </p:cNvPr>
            <p:cNvGrpSpPr/>
            <p:nvPr/>
          </p:nvGrpSpPr>
          <p:grpSpPr>
            <a:xfrm>
              <a:off x="8085675" y="3116195"/>
              <a:ext cx="51364" cy="399909"/>
              <a:chOff x="4487051" y="2650131"/>
              <a:chExt cx="51364" cy="399909"/>
            </a:xfrm>
          </p:grpSpPr>
          <p:sp>
            <p:nvSpPr>
              <p:cNvPr id="2089" name="Rounded Rectangle 97">
                <a:extLst>
                  <a:ext uri="{FF2B5EF4-FFF2-40B4-BE49-F238E27FC236}">
                    <a16:creationId xmlns:a16="http://schemas.microsoft.com/office/drawing/2014/main" id="{65D323C4-327C-28B8-2881-D66164A490D3}"/>
                  </a:ext>
                </a:extLst>
              </p:cNvPr>
              <p:cNvSpPr/>
              <p:nvPr/>
            </p:nvSpPr>
            <p:spPr>
              <a:xfrm>
                <a:off x="4512733" y="2650131"/>
                <a:ext cx="9172" cy="386792"/>
              </a:xfrm>
              <a:custGeom>
                <a:avLst/>
                <a:gdLst/>
                <a:ahLst/>
                <a:cxnLst/>
                <a:rect l="0" t="0" r="0" b="0"/>
                <a:pathLst>
                  <a:path w="9172" h="386792">
                    <a:moveTo>
                      <a:pt x="0" y="0"/>
                    </a:moveTo>
                    <a:lnTo>
                      <a:pt x="0" y="386792"/>
                    </a:lnTo>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90" name="Rounded Rectangle 98">
                <a:extLst>
                  <a:ext uri="{FF2B5EF4-FFF2-40B4-BE49-F238E27FC236}">
                    <a16:creationId xmlns:a16="http://schemas.microsoft.com/office/drawing/2014/main" id="{9B8A9876-B7C7-4956-DE1B-895AB4294761}"/>
                  </a:ext>
                </a:extLst>
              </p:cNvPr>
              <p:cNvSpPr/>
              <p:nvPr/>
            </p:nvSpPr>
            <p:spPr>
              <a:xfrm>
                <a:off x="4487051" y="3004179"/>
                <a:ext cx="51364" cy="45861"/>
              </a:xfrm>
              <a:custGeom>
                <a:avLst/>
                <a:gdLst/>
                <a:ahLst/>
                <a:cxnLst/>
                <a:rect l="0" t="0" r="0" b="0"/>
                <a:pathLst>
                  <a:path w="51364" h="45861">
                    <a:moveTo>
                      <a:pt x="25682" y="45861"/>
                    </a:moveTo>
                    <a:lnTo>
                      <a:pt x="0" y="0"/>
                    </a:lnTo>
                    <a:lnTo>
                      <a:pt x="51364" y="0"/>
                    </a:lnTo>
                    <a:close/>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50" name="Group 49">
              <a:extLst>
                <a:ext uri="{FF2B5EF4-FFF2-40B4-BE49-F238E27FC236}">
                  <a16:creationId xmlns:a16="http://schemas.microsoft.com/office/drawing/2014/main" id="{093FB6B3-F81E-2BBE-5639-DCCA0377731C}"/>
                </a:ext>
              </a:extLst>
            </p:cNvPr>
            <p:cNvGrpSpPr/>
            <p:nvPr/>
          </p:nvGrpSpPr>
          <p:grpSpPr>
            <a:xfrm>
              <a:off x="7865541" y="3166916"/>
              <a:ext cx="51364" cy="399908"/>
              <a:chOff x="4266917" y="2700852"/>
              <a:chExt cx="51364" cy="399908"/>
            </a:xfrm>
          </p:grpSpPr>
          <p:sp>
            <p:nvSpPr>
              <p:cNvPr id="2087" name="Rounded Rectangle 100">
                <a:extLst>
                  <a:ext uri="{FF2B5EF4-FFF2-40B4-BE49-F238E27FC236}">
                    <a16:creationId xmlns:a16="http://schemas.microsoft.com/office/drawing/2014/main" id="{1A5F32FD-5A93-85CC-37BD-336C5D73E516}"/>
                  </a:ext>
                </a:extLst>
              </p:cNvPr>
              <p:cNvSpPr/>
              <p:nvPr/>
            </p:nvSpPr>
            <p:spPr>
              <a:xfrm>
                <a:off x="4292600" y="2700852"/>
                <a:ext cx="9172" cy="386792"/>
              </a:xfrm>
              <a:custGeom>
                <a:avLst/>
                <a:gdLst/>
                <a:ahLst/>
                <a:cxnLst/>
                <a:rect l="0" t="0" r="0" b="0"/>
                <a:pathLst>
                  <a:path w="9172" h="386792">
                    <a:moveTo>
                      <a:pt x="0" y="0"/>
                    </a:moveTo>
                    <a:lnTo>
                      <a:pt x="0" y="386792"/>
                    </a:lnTo>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88" name="Rounded Rectangle 101">
                <a:extLst>
                  <a:ext uri="{FF2B5EF4-FFF2-40B4-BE49-F238E27FC236}">
                    <a16:creationId xmlns:a16="http://schemas.microsoft.com/office/drawing/2014/main" id="{29414BE5-8670-DE5B-223B-4D93E5C584E5}"/>
                  </a:ext>
                </a:extLst>
              </p:cNvPr>
              <p:cNvSpPr/>
              <p:nvPr/>
            </p:nvSpPr>
            <p:spPr>
              <a:xfrm>
                <a:off x="4266917" y="3054899"/>
                <a:ext cx="51364" cy="45861"/>
              </a:xfrm>
              <a:custGeom>
                <a:avLst/>
                <a:gdLst/>
                <a:ahLst/>
                <a:cxnLst/>
                <a:rect l="0" t="0" r="0" b="0"/>
                <a:pathLst>
                  <a:path w="51364" h="45861">
                    <a:moveTo>
                      <a:pt x="25682" y="45861"/>
                    </a:moveTo>
                    <a:lnTo>
                      <a:pt x="0" y="0"/>
                    </a:lnTo>
                    <a:lnTo>
                      <a:pt x="51364" y="0"/>
                    </a:lnTo>
                    <a:close/>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51" name="Group 50">
              <a:extLst>
                <a:ext uri="{FF2B5EF4-FFF2-40B4-BE49-F238E27FC236}">
                  <a16:creationId xmlns:a16="http://schemas.microsoft.com/office/drawing/2014/main" id="{F5DE20D9-1041-D19B-D9AF-15802BE71D81}"/>
                </a:ext>
              </a:extLst>
            </p:cNvPr>
            <p:cNvGrpSpPr/>
            <p:nvPr/>
          </p:nvGrpSpPr>
          <p:grpSpPr>
            <a:xfrm>
              <a:off x="7645408" y="3217730"/>
              <a:ext cx="51364" cy="399909"/>
              <a:chOff x="4046784" y="2751666"/>
              <a:chExt cx="51364" cy="399909"/>
            </a:xfrm>
          </p:grpSpPr>
          <p:sp>
            <p:nvSpPr>
              <p:cNvPr id="2085" name="Rounded Rectangle 103">
                <a:extLst>
                  <a:ext uri="{FF2B5EF4-FFF2-40B4-BE49-F238E27FC236}">
                    <a16:creationId xmlns:a16="http://schemas.microsoft.com/office/drawing/2014/main" id="{A49E0B64-7F64-6008-2072-5AC3642D8324}"/>
                  </a:ext>
                </a:extLst>
              </p:cNvPr>
              <p:cNvSpPr/>
              <p:nvPr/>
            </p:nvSpPr>
            <p:spPr>
              <a:xfrm>
                <a:off x="4072466" y="2751666"/>
                <a:ext cx="9172" cy="386792"/>
              </a:xfrm>
              <a:custGeom>
                <a:avLst/>
                <a:gdLst/>
                <a:ahLst/>
                <a:cxnLst/>
                <a:rect l="0" t="0" r="0" b="0"/>
                <a:pathLst>
                  <a:path w="9172" h="386792">
                    <a:moveTo>
                      <a:pt x="0" y="0"/>
                    </a:moveTo>
                    <a:lnTo>
                      <a:pt x="0" y="386792"/>
                    </a:lnTo>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86" name="Rounded Rectangle 104">
                <a:extLst>
                  <a:ext uri="{FF2B5EF4-FFF2-40B4-BE49-F238E27FC236}">
                    <a16:creationId xmlns:a16="http://schemas.microsoft.com/office/drawing/2014/main" id="{714DCBF7-D9EF-D5E5-B641-F3C86A178F83}"/>
                  </a:ext>
                </a:extLst>
              </p:cNvPr>
              <p:cNvSpPr/>
              <p:nvPr/>
            </p:nvSpPr>
            <p:spPr>
              <a:xfrm>
                <a:off x="4046784" y="3105714"/>
                <a:ext cx="51364" cy="45861"/>
              </a:xfrm>
              <a:custGeom>
                <a:avLst/>
                <a:gdLst/>
                <a:ahLst/>
                <a:cxnLst/>
                <a:rect l="0" t="0" r="0" b="0"/>
                <a:pathLst>
                  <a:path w="51364" h="45861">
                    <a:moveTo>
                      <a:pt x="25682" y="45861"/>
                    </a:moveTo>
                    <a:lnTo>
                      <a:pt x="0" y="0"/>
                    </a:lnTo>
                    <a:lnTo>
                      <a:pt x="51364" y="0"/>
                    </a:lnTo>
                    <a:close/>
                  </a:path>
                </a:pathLst>
              </a:custGeom>
              <a:noFill/>
              <a:ln w="6879">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52" name="Group 51">
              <a:extLst>
                <a:ext uri="{FF2B5EF4-FFF2-40B4-BE49-F238E27FC236}">
                  <a16:creationId xmlns:a16="http://schemas.microsoft.com/office/drawing/2014/main" id="{E68C9FD8-10E5-C725-B9F5-FAE465CF8B59}"/>
                </a:ext>
              </a:extLst>
            </p:cNvPr>
            <p:cNvGrpSpPr/>
            <p:nvPr/>
          </p:nvGrpSpPr>
          <p:grpSpPr>
            <a:xfrm>
              <a:off x="6240224" y="2447264"/>
              <a:ext cx="2861733" cy="770466"/>
              <a:chOff x="2641600" y="1981200"/>
              <a:chExt cx="2861733" cy="770466"/>
            </a:xfrm>
          </p:grpSpPr>
          <p:sp>
            <p:nvSpPr>
              <p:cNvPr id="2083" name="Rounded Rectangle 106">
                <a:extLst>
                  <a:ext uri="{FF2B5EF4-FFF2-40B4-BE49-F238E27FC236}">
                    <a16:creationId xmlns:a16="http://schemas.microsoft.com/office/drawing/2014/main" id="{AD86CEC7-3547-2FD7-C8E8-720FCB08D4DA}"/>
                  </a:ext>
                </a:extLst>
              </p:cNvPr>
              <p:cNvSpPr/>
              <p:nvPr/>
            </p:nvSpPr>
            <p:spPr>
              <a:xfrm>
                <a:off x="2641600" y="1981200"/>
                <a:ext cx="2861733" cy="770466"/>
              </a:xfrm>
              <a:custGeom>
                <a:avLst/>
                <a:gdLst/>
                <a:ahLst/>
                <a:cxnLst/>
                <a:rect l="0" t="0" r="0" b="0"/>
                <a:pathLst>
                  <a:path w="2861733" h="770466">
                    <a:moveTo>
                      <a:pt x="0" y="440266"/>
                    </a:moveTo>
                    <a:lnTo>
                      <a:pt x="0" y="330200"/>
                    </a:lnTo>
                    <a:lnTo>
                      <a:pt x="1430866" y="0"/>
                    </a:lnTo>
                    <a:lnTo>
                      <a:pt x="2861733" y="330200"/>
                    </a:lnTo>
                    <a:lnTo>
                      <a:pt x="2861733" y="440266"/>
                    </a:lnTo>
                    <a:lnTo>
                      <a:pt x="1430866" y="770466"/>
                    </a:lnTo>
                    <a:close/>
                  </a:path>
                </a:pathLst>
              </a:custGeom>
              <a:solidFill>
                <a:srgbClr val="986222"/>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84" name="Rounded Rectangle 107">
                <a:extLst>
                  <a:ext uri="{FF2B5EF4-FFF2-40B4-BE49-F238E27FC236}">
                    <a16:creationId xmlns:a16="http://schemas.microsoft.com/office/drawing/2014/main" id="{49376BDD-1A51-74ED-E8C9-B7215D9DDAB6}"/>
                  </a:ext>
                </a:extLst>
              </p:cNvPr>
              <p:cNvSpPr/>
              <p:nvPr/>
            </p:nvSpPr>
            <p:spPr>
              <a:xfrm>
                <a:off x="2641600" y="1981200"/>
                <a:ext cx="2861733" cy="770466"/>
              </a:xfrm>
              <a:custGeom>
                <a:avLst/>
                <a:gdLst/>
                <a:ahLst/>
                <a:cxnLst/>
                <a:rect l="0" t="0" r="0" b="0"/>
                <a:pathLst>
                  <a:path w="2861733" h="770466">
                    <a:moveTo>
                      <a:pt x="2861733" y="330200"/>
                    </a:moveTo>
                    <a:lnTo>
                      <a:pt x="2861733" y="440266"/>
                    </a:lnTo>
                    <a:lnTo>
                      <a:pt x="1430866" y="770466"/>
                    </a:lnTo>
                    <a:lnTo>
                      <a:pt x="0" y="440266"/>
                    </a:lnTo>
                    <a:lnTo>
                      <a:pt x="0" y="330200"/>
                    </a:lnTo>
                    <a:moveTo>
                      <a:pt x="0" y="330200"/>
                    </a:moveTo>
                    <a:lnTo>
                      <a:pt x="1430866" y="0"/>
                    </a:lnTo>
                    <a:lnTo>
                      <a:pt x="2861733" y="330200"/>
                    </a:lnTo>
                    <a:moveTo>
                      <a:pt x="0" y="330200"/>
                    </a:moveTo>
                    <a:lnTo>
                      <a:pt x="1430866" y="660400"/>
                    </a:lnTo>
                    <a:lnTo>
                      <a:pt x="2861733" y="330200"/>
                    </a:lnTo>
                  </a:path>
                </a:pathLst>
              </a:custGeom>
              <a:noFill/>
              <a:ln w="6879">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53" name="Group 52">
              <a:extLst>
                <a:ext uri="{FF2B5EF4-FFF2-40B4-BE49-F238E27FC236}">
                  <a16:creationId xmlns:a16="http://schemas.microsoft.com/office/drawing/2014/main" id="{6A5F5052-9509-892B-98AF-31B7F6F5E806}"/>
                </a:ext>
              </a:extLst>
            </p:cNvPr>
            <p:cNvGrpSpPr/>
            <p:nvPr/>
          </p:nvGrpSpPr>
          <p:grpSpPr>
            <a:xfrm>
              <a:off x="6324608" y="2227130"/>
              <a:ext cx="51364" cy="425591"/>
              <a:chOff x="2725984" y="1761066"/>
              <a:chExt cx="51364" cy="425591"/>
            </a:xfrm>
          </p:grpSpPr>
          <p:sp>
            <p:nvSpPr>
              <p:cNvPr id="2081" name="Rounded Rectangle 109">
                <a:extLst>
                  <a:ext uri="{FF2B5EF4-FFF2-40B4-BE49-F238E27FC236}">
                    <a16:creationId xmlns:a16="http://schemas.microsoft.com/office/drawing/2014/main" id="{EF2E8B87-8725-311D-CE6D-10D05E90765E}"/>
                  </a:ext>
                </a:extLst>
              </p:cNvPr>
              <p:cNvSpPr/>
              <p:nvPr/>
            </p:nvSpPr>
            <p:spPr>
              <a:xfrm>
                <a:off x="2751666" y="1761066"/>
                <a:ext cx="9172" cy="412199"/>
              </a:xfrm>
              <a:custGeom>
                <a:avLst/>
                <a:gdLst/>
                <a:ahLst/>
                <a:cxnLst/>
                <a:rect l="0" t="0" r="0" b="0"/>
                <a:pathLst>
                  <a:path w="9172" h="412199">
                    <a:moveTo>
                      <a:pt x="0" y="412199"/>
                    </a:moveTo>
                    <a:lnTo>
                      <a:pt x="0" y="0"/>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82" name="Rounded Rectangle 110">
                <a:extLst>
                  <a:ext uri="{FF2B5EF4-FFF2-40B4-BE49-F238E27FC236}">
                    <a16:creationId xmlns:a16="http://schemas.microsoft.com/office/drawing/2014/main" id="{B295079A-EE37-1E35-7734-F0605323D9B2}"/>
                  </a:ext>
                </a:extLst>
              </p:cNvPr>
              <p:cNvSpPr/>
              <p:nvPr/>
            </p:nvSpPr>
            <p:spPr>
              <a:xfrm>
                <a:off x="2725984" y="2140796"/>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54" name="Group 53">
              <a:extLst>
                <a:ext uri="{FF2B5EF4-FFF2-40B4-BE49-F238E27FC236}">
                  <a16:creationId xmlns:a16="http://schemas.microsoft.com/office/drawing/2014/main" id="{A03EB56C-2A26-7C3C-C48B-E33D2BA6E7D8}"/>
                </a:ext>
              </a:extLst>
            </p:cNvPr>
            <p:cNvGrpSpPr/>
            <p:nvPr/>
          </p:nvGrpSpPr>
          <p:grpSpPr>
            <a:xfrm>
              <a:off x="8305808" y="2337197"/>
              <a:ext cx="51364" cy="467783"/>
              <a:chOff x="4707184" y="1871133"/>
              <a:chExt cx="51364" cy="467783"/>
            </a:xfrm>
          </p:grpSpPr>
          <p:sp>
            <p:nvSpPr>
              <p:cNvPr id="2079" name="Rounded Rectangle 112">
                <a:extLst>
                  <a:ext uri="{FF2B5EF4-FFF2-40B4-BE49-F238E27FC236}">
                    <a16:creationId xmlns:a16="http://schemas.microsoft.com/office/drawing/2014/main" id="{1BA05E1F-DB80-9CD0-9350-AB1F549A98F1}"/>
                  </a:ext>
                </a:extLst>
              </p:cNvPr>
              <p:cNvSpPr/>
              <p:nvPr/>
            </p:nvSpPr>
            <p:spPr>
              <a:xfrm>
                <a:off x="4732866" y="1871133"/>
                <a:ext cx="9172" cy="454575"/>
              </a:xfrm>
              <a:custGeom>
                <a:avLst/>
                <a:gdLst/>
                <a:ahLst/>
                <a:cxnLst/>
                <a:rect l="0" t="0" r="0" b="0"/>
                <a:pathLst>
                  <a:path w="9172" h="454575">
                    <a:moveTo>
                      <a:pt x="0" y="454575"/>
                    </a:moveTo>
                    <a:lnTo>
                      <a:pt x="0" y="0"/>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80" name="Rounded Rectangle 113">
                <a:extLst>
                  <a:ext uri="{FF2B5EF4-FFF2-40B4-BE49-F238E27FC236}">
                    <a16:creationId xmlns:a16="http://schemas.microsoft.com/office/drawing/2014/main" id="{63394313-FC8F-2408-72E9-DACEDA525A4E}"/>
                  </a:ext>
                </a:extLst>
              </p:cNvPr>
              <p:cNvSpPr/>
              <p:nvPr/>
            </p:nvSpPr>
            <p:spPr>
              <a:xfrm>
                <a:off x="4707184" y="2293055"/>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55" name="Group 54">
              <a:extLst>
                <a:ext uri="{FF2B5EF4-FFF2-40B4-BE49-F238E27FC236}">
                  <a16:creationId xmlns:a16="http://schemas.microsoft.com/office/drawing/2014/main" id="{0759A31A-1EDE-BDD6-271C-6C7C7E82B645}"/>
                </a:ext>
              </a:extLst>
            </p:cNvPr>
            <p:cNvGrpSpPr/>
            <p:nvPr/>
          </p:nvGrpSpPr>
          <p:grpSpPr>
            <a:xfrm>
              <a:off x="7865541" y="2337197"/>
              <a:ext cx="51364" cy="568677"/>
              <a:chOff x="4266917" y="1871133"/>
              <a:chExt cx="51364" cy="568677"/>
            </a:xfrm>
          </p:grpSpPr>
          <p:sp>
            <p:nvSpPr>
              <p:cNvPr id="2077" name="Rounded Rectangle 115">
                <a:extLst>
                  <a:ext uri="{FF2B5EF4-FFF2-40B4-BE49-F238E27FC236}">
                    <a16:creationId xmlns:a16="http://schemas.microsoft.com/office/drawing/2014/main" id="{C391247C-962E-7DEE-3CE5-DB220EDB4AC4}"/>
                  </a:ext>
                </a:extLst>
              </p:cNvPr>
              <p:cNvSpPr/>
              <p:nvPr/>
            </p:nvSpPr>
            <p:spPr>
              <a:xfrm>
                <a:off x="4292600" y="1871133"/>
                <a:ext cx="9172" cy="556111"/>
              </a:xfrm>
              <a:custGeom>
                <a:avLst/>
                <a:gdLst/>
                <a:ahLst/>
                <a:cxnLst/>
                <a:rect l="0" t="0" r="0" b="0"/>
                <a:pathLst>
                  <a:path w="9172" h="556111">
                    <a:moveTo>
                      <a:pt x="0" y="0"/>
                    </a:moveTo>
                    <a:lnTo>
                      <a:pt x="0" y="556111"/>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78" name="Rounded Rectangle 116">
                <a:extLst>
                  <a:ext uri="{FF2B5EF4-FFF2-40B4-BE49-F238E27FC236}">
                    <a16:creationId xmlns:a16="http://schemas.microsoft.com/office/drawing/2014/main" id="{821BE53D-3F08-8491-FB81-765CA3948610}"/>
                  </a:ext>
                </a:extLst>
              </p:cNvPr>
              <p:cNvSpPr/>
              <p:nvPr/>
            </p:nvSpPr>
            <p:spPr>
              <a:xfrm>
                <a:off x="4266917" y="2394867"/>
                <a:ext cx="51364" cy="44943"/>
              </a:xfrm>
              <a:custGeom>
                <a:avLst/>
                <a:gdLst/>
                <a:ahLst/>
                <a:cxnLst/>
                <a:rect l="0" t="0" r="0" b="0"/>
                <a:pathLst>
                  <a:path w="51364" h="44943">
                    <a:moveTo>
                      <a:pt x="25682" y="44943"/>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56" name="Group 55">
              <a:extLst>
                <a:ext uri="{FF2B5EF4-FFF2-40B4-BE49-F238E27FC236}">
                  <a16:creationId xmlns:a16="http://schemas.microsoft.com/office/drawing/2014/main" id="{C10CB2AE-3758-446A-6D14-4D58307EE648}"/>
                </a:ext>
              </a:extLst>
            </p:cNvPr>
            <p:cNvGrpSpPr/>
            <p:nvPr/>
          </p:nvGrpSpPr>
          <p:grpSpPr>
            <a:xfrm>
              <a:off x="6985008" y="2337197"/>
              <a:ext cx="51364" cy="467783"/>
              <a:chOff x="3386384" y="1871133"/>
              <a:chExt cx="51364" cy="467783"/>
            </a:xfrm>
          </p:grpSpPr>
          <p:sp>
            <p:nvSpPr>
              <p:cNvPr id="2075" name="Rounded Rectangle 118">
                <a:extLst>
                  <a:ext uri="{FF2B5EF4-FFF2-40B4-BE49-F238E27FC236}">
                    <a16:creationId xmlns:a16="http://schemas.microsoft.com/office/drawing/2014/main" id="{EC81FEC2-BE6C-2F05-6DF4-F36DB24BCEB7}"/>
                  </a:ext>
                </a:extLst>
              </p:cNvPr>
              <p:cNvSpPr/>
              <p:nvPr/>
            </p:nvSpPr>
            <p:spPr>
              <a:xfrm>
                <a:off x="3412066" y="1871133"/>
                <a:ext cx="9172" cy="454483"/>
              </a:xfrm>
              <a:custGeom>
                <a:avLst/>
                <a:gdLst/>
                <a:ahLst/>
                <a:cxnLst/>
                <a:rect l="0" t="0" r="0" b="0"/>
                <a:pathLst>
                  <a:path w="9172" h="454483">
                    <a:moveTo>
                      <a:pt x="0" y="0"/>
                    </a:moveTo>
                    <a:lnTo>
                      <a:pt x="0" y="454483"/>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76" name="Rounded Rectangle 119">
                <a:extLst>
                  <a:ext uri="{FF2B5EF4-FFF2-40B4-BE49-F238E27FC236}">
                    <a16:creationId xmlns:a16="http://schemas.microsoft.com/office/drawing/2014/main" id="{764D9237-1014-B6D0-44A0-EDC4A98B591D}"/>
                  </a:ext>
                </a:extLst>
              </p:cNvPr>
              <p:cNvSpPr/>
              <p:nvPr/>
            </p:nvSpPr>
            <p:spPr>
              <a:xfrm>
                <a:off x="3386384" y="2293055"/>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57" name="Group 56">
              <a:extLst>
                <a:ext uri="{FF2B5EF4-FFF2-40B4-BE49-F238E27FC236}">
                  <a16:creationId xmlns:a16="http://schemas.microsoft.com/office/drawing/2014/main" id="{9E2F6FC3-9F15-2A26-CE47-6B1D4DB51BF5}"/>
                </a:ext>
              </a:extLst>
            </p:cNvPr>
            <p:cNvGrpSpPr/>
            <p:nvPr/>
          </p:nvGrpSpPr>
          <p:grpSpPr>
            <a:xfrm>
              <a:off x="8085675" y="2227130"/>
              <a:ext cx="51364" cy="628297"/>
              <a:chOff x="4487051" y="1761066"/>
              <a:chExt cx="51364" cy="628297"/>
            </a:xfrm>
          </p:grpSpPr>
          <p:sp>
            <p:nvSpPr>
              <p:cNvPr id="2073" name="Rounded Rectangle 121">
                <a:extLst>
                  <a:ext uri="{FF2B5EF4-FFF2-40B4-BE49-F238E27FC236}">
                    <a16:creationId xmlns:a16="http://schemas.microsoft.com/office/drawing/2014/main" id="{E726F728-D2CA-F356-3DA1-8A0C446B6B65}"/>
                  </a:ext>
                </a:extLst>
              </p:cNvPr>
              <p:cNvSpPr/>
              <p:nvPr/>
            </p:nvSpPr>
            <p:spPr>
              <a:xfrm>
                <a:off x="4512733" y="1761066"/>
                <a:ext cx="9172" cy="615456"/>
              </a:xfrm>
              <a:custGeom>
                <a:avLst/>
                <a:gdLst/>
                <a:ahLst/>
                <a:cxnLst/>
                <a:rect l="0" t="0" r="0" b="0"/>
                <a:pathLst>
                  <a:path w="9172" h="615456">
                    <a:moveTo>
                      <a:pt x="0" y="0"/>
                    </a:moveTo>
                    <a:lnTo>
                      <a:pt x="0" y="615456"/>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74" name="Rounded Rectangle 122">
                <a:extLst>
                  <a:ext uri="{FF2B5EF4-FFF2-40B4-BE49-F238E27FC236}">
                    <a16:creationId xmlns:a16="http://schemas.microsoft.com/office/drawing/2014/main" id="{E8603024-278E-7461-4A68-025B76286923}"/>
                  </a:ext>
                </a:extLst>
              </p:cNvPr>
              <p:cNvSpPr/>
              <p:nvPr/>
            </p:nvSpPr>
            <p:spPr>
              <a:xfrm>
                <a:off x="4487051" y="2344420"/>
                <a:ext cx="51364" cy="44943"/>
              </a:xfrm>
              <a:custGeom>
                <a:avLst/>
                <a:gdLst/>
                <a:ahLst/>
                <a:cxnLst/>
                <a:rect l="0" t="0" r="0" b="0"/>
                <a:pathLst>
                  <a:path w="51364" h="44943">
                    <a:moveTo>
                      <a:pt x="25682" y="44943"/>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58" name="Group 57">
              <a:extLst>
                <a:ext uri="{FF2B5EF4-FFF2-40B4-BE49-F238E27FC236}">
                  <a16:creationId xmlns:a16="http://schemas.microsoft.com/office/drawing/2014/main" id="{3C2076F0-6BAA-D832-9C8C-0F78B7CFD595}"/>
                </a:ext>
              </a:extLst>
            </p:cNvPr>
            <p:cNvGrpSpPr/>
            <p:nvPr/>
          </p:nvGrpSpPr>
          <p:grpSpPr>
            <a:xfrm>
              <a:off x="6544741" y="2337197"/>
              <a:ext cx="51364" cy="365971"/>
              <a:chOff x="2946117" y="1871133"/>
              <a:chExt cx="51364" cy="365971"/>
            </a:xfrm>
          </p:grpSpPr>
          <p:sp>
            <p:nvSpPr>
              <p:cNvPr id="2071" name="Rounded Rectangle 124">
                <a:extLst>
                  <a:ext uri="{FF2B5EF4-FFF2-40B4-BE49-F238E27FC236}">
                    <a16:creationId xmlns:a16="http://schemas.microsoft.com/office/drawing/2014/main" id="{5DE270DD-5FDA-EFFF-2E2F-2FF121058720}"/>
                  </a:ext>
                </a:extLst>
              </p:cNvPr>
              <p:cNvSpPr/>
              <p:nvPr/>
            </p:nvSpPr>
            <p:spPr>
              <a:xfrm>
                <a:off x="2971800" y="1871133"/>
                <a:ext cx="9172" cy="352947"/>
              </a:xfrm>
              <a:custGeom>
                <a:avLst/>
                <a:gdLst/>
                <a:ahLst/>
                <a:cxnLst/>
                <a:rect l="0" t="0" r="0" b="0"/>
                <a:pathLst>
                  <a:path w="9172" h="352947">
                    <a:moveTo>
                      <a:pt x="0" y="0"/>
                    </a:moveTo>
                    <a:lnTo>
                      <a:pt x="0" y="352947"/>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72" name="Rounded Rectangle 125">
                <a:extLst>
                  <a:ext uri="{FF2B5EF4-FFF2-40B4-BE49-F238E27FC236}">
                    <a16:creationId xmlns:a16="http://schemas.microsoft.com/office/drawing/2014/main" id="{82665698-EA93-99E0-0FA1-92A917AABAA7}"/>
                  </a:ext>
                </a:extLst>
              </p:cNvPr>
              <p:cNvSpPr/>
              <p:nvPr/>
            </p:nvSpPr>
            <p:spPr>
              <a:xfrm>
                <a:off x="2946117" y="2191243"/>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59" name="Group 58">
              <a:extLst>
                <a:ext uri="{FF2B5EF4-FFF2-40B4-BE49-F238E27FC236}">
                  <a16:creationId xmlns:a16="http://schemas.microsoft.com/office/drawing/2014/main" id="{5E1F6C3E-A8C3-7AD4-7EB4-91F836C8A77F}"/>
                </a:ext>
              </a:extLst>
            </p:cNvPr>
            <p:cNvGrpSpPr/>
            <p:nvPr/>
          </p:nvGrpSpPr>
          <p:grpSpPr>
            <a:xfrm>
              <a:off x="8966208" y="2227130"/>
              <a:ext cx="51364" cy="425591"/>
              <a:chOff x="5367584" y="1761066"/>
              <a:chExt cx="51364" cy="425591"/>
            </a:xfrm>
          </p:grpSpPr>
          <p:sp>
            <p:nvSpPr>
              <p:cNvPr id="2069" name="Rounded Rectangle 127">
                <a:extLst>
                  <a:ext uri="{FF2B5EF4-FFF2-40B4-BE49-F238E27FC236}">
                    <a16:creationId xmlns:a16="http://schemas.microsoft.com/office/drawing/2014/main" id="{E98D411C-43D1-E426-F420-6E8E0B1C7CD5}"/>
                  </a:ext>
                </a:extLst>
              </p:cNvPr>
              <p:cNvSpPr/>
              <p:nvPr/>
            </p:nvSpPr>
            <p:spPr>
              <a:xfrm>
                <a:off x="5393266" y="1761066"/>
                <a:ext cx="9172" cy="412383"/>
              </a:xfrm>
              <a:custGeom>
                <a:avLst/>
                <a:gdLst/>
                <a:ahLst/>
                <a:cxnLst/>
                <a:rect l="0" t="0" r="0" b="0"/>
                <a:pathLst>
                  <a:path w="9172" h="412383">
                    <a:moveTo>
                      <a:pt x="0" y="0"/>
                    </a:moveTo>
                    <a:lnTo>
                      <a:pt x="0" y="412383"/>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70" name="Rounded Rectangle 128">
                <a:extLst>
                  <a:ext uri="{FF2B5EF4-FFF2-40B4-BE49-F238E27FC236}">
                    <a16:creationId xmlns:a16="http://schemas.microsoft.com/office/drawing/2014/main" id="{48B0FDA0-6D81-1C96-94A9-9CA9AF9AE838}"/>
                  </a:ext>
                </a:extLst>
              </p:cNvPr>
              <p:cNvSpPr/>
              <p:nvPr/>
            </p:nvSpPr>
            <p:spPr>
              <a:xfrm>
                <a:off x="5367584" y="2140796"/>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60" name="Group 59">
              <a:extLst>
                <a:ext uri="{FF2B5EF4-FFF2-40B4-BE49-F238E27FC236}">
                  <a16:creationId xmlns:a16="http://schemas.microsoft.com/office/drawing/2014/main" id="{CBCF3057-8AF4-91DA-5CEA-CF5C40A8959F}"/>
                </a:ext>
              </a:extLst>
            </p:cNvPr>
            <p:cNvGrpSpPr/>
            <p:nvPr/>
          </p:nvGrpSpPr>
          <p:grpSpPr>
            <a:xfrm>
              <a:off x="8525941" y="2227130"/>
              <a:ext cx="51364" cy="526485"/>
              <a:chOff x="4927317" y="1761066"/>
              <a:chExt cx="51364" cy="526485"/>
            </a:xfrm>
          </p:grpSpPr>
          <p:sp>
            <p:nvSpPr>
              <p:cNvPr id="2067" name="Rounded Rectangle 130">
                <a:extLst>
                  <a:ext uri="{FF2B5EF4-FFF2-40B4-BE49-F238E27FC236}">
                    <a16:creationId xmlns:a16="http://schemas.microsoft.com/office/drawing/2014/main" id="{38FDA52F-9167-AB42-0358-C2960B16D28C}"/>
                  </a:ext>
                </a:extLst>
              </p:cNvPr>
              <p:cNvSpPr/>
              <p:nvPr/>
            </p:nvSpPr>
            <p:spPr>
              <a:xfrm>
                <a:off x="4953000" y="1761066"/>
                <a:ext cx="9172" cy="513919"/>
              </a:xfrm>
              <a:custGeom>
                <a:avLst/>
                <a:gdLst/>
                <a:ahLst/>
                <a:cxnLst/>
                <a:rect l="0" t="0" r="0" b="0"/>
                <a:pathLst>
                  <a:path w="9172" h="513919">
                    <a:moveTo>
                      <a:pt x="0" y="0"/>
                    </a:moveTo>
                    <a:lnTo>
                      <a:pt x="0" y="513919"/>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68" name="Rounded Rectangle 131">
                <a:extLst>
                  <a:ext uri="{FF2B5EF4-FFF2-40B4-BE49-F238E27FC236}">
                    <a16:creationId xmlns:a16="http://schemas.microsoft.com/office/drawing/2014/main" id="{52B52ACD-0639-DE97-1D0C-697811118DC5}"/>
                  </a:ext>
                </a:extLst>
              </p:cNvPr>
              <p:cNvSpPr/>
              <p:nvPr/>
            </p:nvSpPr>
            <p:spPr>
              <a:xfrm>
                <a:off x="4927317" y="2242608"/>
                <a:ext cx="51364" cy="44943"/>
              </a:xfrm>
              <a:custGeom>
                <a:avLst/>
                <a:gdLst/>
                <a:ahLst/>
                <a:cxnLst/>
                <a:rect l="0" t="0" r="0" b="0"/>
                <a:pathLst>
                  <a:path w="51364" h="44943">
                    <a:moveTo>
                      <a:pt x="25682" y="44943"/>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61" name="Group 60">
              <a:extLst>
                <a:ext uri="{FF2B5EF4-FFF2-40B4-BE49-F238E27FC236}">
                  <a16:creationId xmlns:a16="http://schemas.microsoft.com/office/drawing/2014/main" id="{2046F655-CE14-3B83-89D8-49CF630835BD}"/>
                </a:ext>
              </a:extLst>
            </p:cNvPr>
            <p:cNvGrpSpPr/>
            <p:nvPr/>
          </p:nvGrpSpPr>
          <p:grpSpPr>
            <a:xfrm>
              <a:off x="6764875" y="2227130"/>
              <a:ext cx="51364" cy="526485"/>
              <a:chOff x="3166251" y="1761066"/>
              <a:chExt cx="51364" cy="526485"/>
            </a:xfrm>
          </p:grpSpPr>
          <p:sp>
            <p:nvSpPr>
              <p:cNvPr id="2065" name="Rounded Rectangle 133">
                <a:extLst>
                  <a:ext uri="{FF2B5EF4-FFF2-40B4-BE49-F238E27FC236}">
                    <a16:creationId xmlns:a16="http://schemas.microsoft.com/office/drawing/2014/main" id="{09BA1C45-3149-F350-649F-CBF7D3EFFA7F}"/>
                  </a:ext>
                </a:extLst>
              </p:cNvPr>
              <p:cNvSpPr/>
              <p:nvPr/>
            </p:nvSpPr>
            <p:spPr>
              <a:xfrm>
                <a:off x="3191933" y="1761066"/>
                <a:ext cx="9172" cy="513827"/>
              </a:xfrm>
              <a:custGeom>
                <a:avLst/>
                <a:gdLst/>
                <a:ahLst/>
                <a:cxnLst/>
                <a:rect l="0" t="0" r="0" b="0"/>
                <a:pathLst>
                  <a:path w="9172" h="513827">
                    <a:moveTo>
                      <a:pt x="0" y="0"/>
                    </a:moveTo>
                    <a:lnTo>
                      <a:pt x="0" y="513827"/>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66" name="Rounded Rectangle 134">
                <a:extLst>
                  <a:ext uri="{FF2B5EF4-FFF2-40B4-BE49-F238E27FC236}">
                    <a16:creationId xmlns:a16="http://schemas.microsoft.com/office/drawing/2014/main" id="{24B6FD47-039E-2A9A-6CCD-14027B065AFA}"/>
                  </a:ext>
                </a:extLst>
              </p:cNvPr>
              <p:cNvSpPr/>
              <p:nvPr/>
            </p:nvSpPr>
            <p:spPr>
              <a:xfrm>
                <a:off x="3166251" y="2242608"/>
                <a:ext cx="51364" cy="44943"/>
              </a:xfrm>
              <a:custGeom>
                <a:avLst/>
                <a:gdLst/>
                <a:ahLst/>
                <a:cxnLst/>
                <a:rect l="0" t="0" r="0" b="0"/>
                <a:pathLst>
                  <a:path w="51364" h="44943">
                    <a:moveTo>
                      <a:pt x="25682" y="44943"/>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62" name="Group 61">
              <a:extLst>
                <a:ext uri="{FF2B5EF4-FFF2-40B4-BE49-F238E27FC236}">
                  <a16:creationId xmlns:a16="http://schemas.microsoft.com/office/drawing/2014/main" id="{BF171A95-902F-95E2-8E13-3B64CF44D241}"/>
                </a:ext>
              </a:extLst>
            </p:cNvPr>
            <p:cNvGrpSpPr/>
            <p:nvPr/>
          </p:nvGrpSpPr>
          <p:grpSpPr>
            <a:xfrm>
              <a:off x="7425275" y="2337197"/>
              <a:ext cx="51364" cy="568677"/>
              <a:chOff x="3826651" y="1871133"/>
              <a:chExt cx="51364" cy="568677"/>
            </a:xfrm>
          </p:grpSpPr>
          <p:sp>
            <p:nvSpPr>
              <p:cNvPr id="2063" name="Rounded Rectangle 136">
                <a:extLst>
                  <a:ext uri="{FF2B5EF4-FFF2-40B4-BE49-F238E27FC236}">
                    <a16:creationId xmlns:a16="http://schemas.microsoft.com/office/drawing/2014/main" id="{41B0BECD-9C5E-D8BD-A3AD-05AE99D46811}"/>
                  </a:ext>
                </a:extLst>
              </p:cNvPr>
              <p:cNvSpPr/>
              <p:nvPr/>
            </p:nvSpPr>
            <p:spPr>
              <a:xfrm>
                <a:off x="3852333" y="1871133"/>
                <a:ext cx="9172" cy="556111"/>
              </a:xfrm>
              <a:custGeom>
                <a:avLst/>
                <a:gdLst/>
                <a:ahLst/>
                <a:cxnLst/>
                <a:rect l="0" t="0" r="0" b="0"/>
                <a:pathLst>
                  <a:path w="9172" h="556111">
                    <a:moveTo>
                      <a:pt x="0" y="0"/>
                    </a:moveTo>
                    <a:lnTo>
                      <a:pt x="0" y="556111"/>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64" name="Rounded Rectangle 137">
                <a:extLst>
                  <a:ext uri="{FF2B5EF4-FFF2-40B4-BE49-F238E27FC236}">
                    <a16:creationId xmlns:a16="http://schemas.microsoft.com/office/drawing/2014/main" id="{678E705B-D59F-6483-29A7-B50E16F60934}"/>
                  </a:ext>
                </a:extLst>
              </p:cNvPr>
              <p:cNvSpPr/>
              <p:nvPr/>
            </p:nvSpPr>
            <p:spPr>
              <a:xfrm>
                <a:off x="3826651" y="2394867"/>
                <a:ext cx="51364" cy="44943"/>
              </a:xfrm>
              <a:custGeom>
                <a:avLst/>
                <a:gdLst/>
                <a:ahLst/>
                <a:cxnLst/>
                <a:rect l="0" t="0" r="0" b="0"/>
                <a:pathLst>
                  <a:path w="51364" h="44943">
                    <a:moveTo>
                      <a:pt x="25682" y="44943"/>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63" name="Group 62">
              <a:extLst>
                <a:ext uri="{FF2B5EF4-FFF2-40B4-BE49-F238E27FC236}">
                  <a16:creationId xmlns:a16="http://schemas.microsoft.com/office/drawing/2014/main" id="{8FD72865-A509-855B-59A7-6D3FAF099880}"/>
                </a:ext>
              </a:extLst>
            </p:cNvPr>
            <p:cNvGrpSpPr/>
            <p:nvPr/>
          </p:nvGrpSpPr>
          <p:grpSpPr>
            <a:xfrm>
              <a:off x="7205141" y="2227130"/>
              <a:ext cx="51364" cy="628297"/>
              <a:chOff x="3606517" y="1761066"/>
              <a:chExt cx="51364" cy="628297"/>
            </a:xfrm>
          </p:grpSpPr>
          <p:sp>
            <p:nvSpPr>
              <p:cNvPr id="2061" name="Rounded Rectangle 139">
                <a:extLst>
                  <a:ext uri="{FF2B5EF4-FFF2-40B4-BE49-F238E27FC236}">
                    <a16:creationId xmlns:a16="http://schemas.microsoft.com/office/drawing/2014/main" id="{085B478D-3663-F453-BCAD-5C42D0527C3E}"/>
                  </a:ext>
                </a:extLst>
              </p:cNvPr>
              <p:cNvSpPr/>
              <p:nvPr/>
            </p:nvSpPr>
            <p:spPr>
              <a:xfrm>
                <a:off x="3632200" y="1761066"/>
                <a:ext cx="9172" cy="615364"/>
              </a:xfrm>
              <a:custGeom>
                <a:avLst/>
                <a:gdLst/>
                <a:ahLst/>
                <a:cxnLst/>
                <a:rect l="0" t="0" r="0" b="0"/>
                <a:pathLst>
                  <a:path w="9172" h="615364">
                    <a:moveTo>
                      <a:pt x="0" y="0"/>
                    </a:moveTo>
                    <a:lnTo>
                      <a:pt x="0" y="615364"/>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62" name="Rounded Rectangle 140">
                <a:extLst>
                  <a:ext uri="{FF2B5EF4-FFF2-40B4-BE49-F238E27FC236}">
                    <a16:creationId xmlns:a16="http://schemas.microsoft.com/office/drawing/2014/main" id="{6BBB1507-0B01-045D-CB14-DB0BACDBD0DF}"/>
                  </a:ext>
                </a:extLst>
              </p:cNvPr>
              <p:cNvSpPr/>
              <p:nvPr/>
            </p:nvSpPr>
            <p:spPr>
              <a:xfrm>
                <a:off x="3606517" y="2344420"/>
                <a:ext cx="51364" cy="44943"/>
              </a:xfrm>
              <a:custGeom>
                <a:avLst/>
                <a:gdLst/>
                <a:ahLst/>
                <a:cxnLst/>
                <a:rect l="0" t="0" r="0" b="0"/>
                <a:pathLst>
                  <a:path w="51364" h="44943">
                    <a:moveTo>
                      <a:pt x="25682" y="44943"/>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2048" name="Group 2047">
              <a:extLst>
                <a:ext uri="{FF2B5EF4-FFF2-40B4-BE49-F238E27FC236}">
                  <a16:creationId xmlns:a16="http://schemas.microsoft.com/office/drawing/2014/main" id="{6CA1A664-C709-DD7D-73DB-6782D5AC2D37}"/>
                </a:ext>
              </a:extLst>
            </p:cNvPr>
            <p:cNvGrpSpPr/>
            <p:nvPr/>
          </p:nvGrpSpPr>
          <p:grpSpPr>
            <a:xfrm>
              <a:off x="8746075" y="2337197"/>
              <a:ext cx="51364" cy="365971"/>
              <a:chOff x="5147451" y="1871133"/>
              <a:chExt cx="51364" cy="365971"/>
            </a:xfrm>
          </p:grpSpPr>
          <p:sp>
            <p:nvSpPr>
              <p:cNvPr id="2059" name="Rounded Rectangle 142">
                <a:extLst>
                  <a:ext uri="{FF2B5EF4-FFF2-40B4-BE49-F238E27FC236}">
                    <a16:creationId xmlns:a16="http://schemas.microsoft.com/office/drawing/2014/main" id="{5079E3F0-B518-A8EE-29C0-959425E89C67}"/>
                  </a:ext>
                </a:extLst>
              </p:cNvPr>
              <p:cNvSpPr/>
              <p:nvPr/>
            </p:nvSpPr>
            <p:spPr>
              <a:xfrm>
                <a:off x="5173133" y="1871133"/>
                <a:ext cx="9172" cy="353038"/>
              </a:xfrm>
              <a:custGeom>
                <a:avLst/>
                <a:gdLst/>
                <a:ahLst/>
                <a:cxnLst/>
                <a:rect l="0" t="0" r="0" b="0"/>
                <a:pathLst>
                  <a:path w="9172" h="353038">
                    <a:moveTo>
                      <a:pt x="0" y="0"/>
                    </a:moveTo>
                    <a:lnTo>
                      <a:pt x="0" y="353038"/>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60" name="Rounded Rectangle 143">
                <a:extLst>
                  <a:ext uri="{FF2B5EF4-FFF2-40B4-BE49-F238E27FC236}">
                    <a16:creationId xmlns:a16="http://schemas.microsoft.com/office/drawing/2014/main" id="{1660FBED-3B61-F927-8B8F-EA9344E47F23}"/>
                  </a:ext>
                </a:extLst>
              </p:cNvPr>
              <p:cNvSpPr/>
              <p:nvPr/>
            </p:nvSpPr>
            <p:spPr>
              <a:xfrm>
                <a:off x="5147451" y="2192161"/>
                <a:ext cx="51364" cy="44943"/>
              </a:xfrm>
              <a:custGeom>
                <a:avLst/>
                <a:gdLst/>
                <a:ahLst/>
                <a:cxnLst/>
                <a:rect l="0" t="0" r="0" b="0"/>
                <a:pathLst>
                  <a:path w="51364" h="44943">
                    <a:moveTo>
                      <a:pt x="25682" y="44943"/>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2049" name="Group 2048">
              <a:extLst>
                <a:ext uri="{FF2B5EF4-FFF2-40B4-BE49-F238E27FC236}">
                  <a16:creationId xmlns:a16="http://schemas.microsoft.com/office/drawing/2014/main" id="{C9DE8999-273F-E411-EE9C-9C2D8F370F35}"/>
                </a:ext>
              </a:extLst>
            </p:cNvPr>
            <p:cNvGrpSpPr/>
            <p:nvPr/>
          </p:nvGrpSpPr>
          <p:grpSpPr>
            <a:xfrm>
              <a:off x="7645408" y="2227130"/>
              <a:ext cx="51364" cy="730109"/>
              <a:chOff x="4046784" y="1761066"/>
              <a:chExt cx="51364" cy="730109"/>
            </a:xfrm>
          </p:grpSpPr>
          <p:sp>
            <p:nvSpPr>
              <p:cNvPr id="2057" name="Rounded Rectangle 145">
                <a:extLst>
                  <a:ext uri="{FF2B5EF4-FFF2-40B4-BE49-F238E27FC236}">
                    <a16:creationId xmlns:a16="http://schemas.microsoft.com/office/drawing/2014/main" id="{43CF5D87-3B38-9194-FD21-08E50B14BC1A}"/>
                  </a:ext>
                </a:extLst>
              </p:cNvPr>
              <p:cNvSpPr/>
              <p:nvPr/>
            </p:nvSpPr>
            <p:spPr>
              <a:xfrm>
                <a:off x="4072466" y="1761066"/>
                <a:ext cx="9172" cy="716992"/>
              </a:xfrm>
              <a:custGeom>
                <a:avLst/>
                <a:gdLst/>
                <a:ahLst/>
                <a:cxnLst/>
                <a:rect l="0" t="0" r="0" b="0"/>
                <a:pathLst>
                  <a:path w="9172" h="716992">
                    <a:moveTo>
                      <a:pt x="0" y="0"/>
                    </a:moveTo>
                    <a:lnTo>
                      <a:pt x="0" y="716992"/>
                    </a:lnTo>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58" name="Rounded Rectangle 146">
                <a:extLst>
                  <a:ext uri="{FF2B5EF4-FFF2-40B4-BE49-F238E27FC236}">
                    <a16:creationId xmlns:a16="http://schemas.microsoft.com/office/drawing/2014/main" id="{B7F5936E-57E4-7240-7913-D258F26C77FA}"/>
                  </a:ext>
                </a:extLst>
              </p:cNvPr>
              <p:cNvSpPr/>
              <p:nvPr/>
            </p:nvSpPr>
            <p:spPr>
              <a:xfrm>
                <a:off x="4046784" y="2445314"/>
                <a:ext cx="51364" cy="45861"/>
              </a:xfrm>
              <a:custGeom>
                <a:avLst/>
                <a:gdLst/>
                <a:ahLst/>
                <a:cxnLst/>
                <a:rect l="0" t="0" r="0" b="0"/>
                <a:pathLst>
                  <a:path w="51364" h="45861">
                    <a:moveTo>
                      <a:pt x="25682" y="45861"/>
                    </a:moveTo>
                    <a:lnTo>
                      <a:pt x="0" y="0"/>
                    </a:lnTo>
                    <a:lnTo>
                      <a:pt x="51364" y="0"/>
                    </a:lnTo>
                    <a:close/>
                  </a:path>
                </a:pathLst>
              </a:custGeom>
              <a:noFill/>
              <a:ln w="6879">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sp>
        <p:nvSpPr>
          <p:cNvPr id="2051" name="TextBox 148">
            <a:extLst>
              <a:ext uri="{FF2B5EF4-FFF2-40B4-BE49-F238E27FC236}">
                <a16:creationId xmlns:a16="http://schemas.microsoft.com/office/drawing/2014/main" id="{C3897C3F-C18F-1454-D02C-3ACD995223B7}"/>
              </a:ext>
            </a:extLst>
          </p:cNvPr>
          <p:cNvSpPr txBox="1"/>
          <p:nvPr/>
        </p:nvSpPr>
        <p:spPr>
          <a:xfrm>
            <a:off x="7133179" y="5429578"/>
            <a:ext cx="2026196" cy="33855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100" b="0" noProof="0">
                <a:solidFill>
                  <a:srgbClr val="464646"/>
                </a:solidFill>
                <a:latin typeface="Avenir LT Pro 45Book"/>
              </a:rPr>
              <a:t>Enhanced Customer Loyalty &amp;</a:t>
            </a:r>
          </a:p>
          <a:p>
            <a:pPr algn="ctr"/>
            <a:r>
              <a:rPr lang="en-GB" sz="1100" noProof="0">
                <a:solidFill>
                  <a:srgbClr val="464646"/>
                </a:solidFill>
                <a:latin typeface="Avenir LT Pro 45Book"/>
              </a:rPr>
              <a:t>Opportunities for Value Innovation</a:t>
            </a:r>
            <a:endParaRPr lang="en-GB" sz="1100" b="0" noProof="0">
              <a:solidFill>
                <a:srgbClr val="464646"/>
              </a:solidFill>
              <a:latin typeface="Avenir LT Pro 45Book"/>
            </a:endParaRPr>
          </a:p>
        </p:txBody>
      </p:sp>
      <p:sp>
        <p:nvSpPr>
          <p:cNvPr id="2052" name="TextBox 149">
            <a:extLst>
              <a:ext uri="{FF2B5EF4-FFF2-40B4-BE49-F238E27FC236}">
                <a16:creationId xmlns:a16="http://schemas.microsoft.com/office/drawing/2014/main" id="{D706DFA5-E179-ED82-D193-1C440CBE7C0E}"/>
              </a:ext>
            </a:extLst>
          </p:cNvPr>
          <p:cNvSpPr txBox="1"/>
          <p:nvPr/>
        </p:nvSpPr>
        <p:spPr>
          <a:xfrm>
            <a:off x="5967597" y="4641924"/>
            <a:ext cx="1106707" cy="338554"/>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100" b="0" noProof="0">
                <a:solidFill>
                  <a:srgbClr val="464646"/>
                </a:solidFill>
                <a:latin typeface="Avenir LT Pro 45Book"/>
              </a:rPr>
              <a:t>Systematic Value Enhancement</a:t>
            </a:r>
          </a:p>
        </p:txBody>
      </p:sp>
      <p:sp>
        <p:nvSpPr>
          <p:cNvPr id="2053" name="TextBox 150">
            <a:extLst>
              <a:ext uri="{FF2B5EF4-FFF2-40B4-BE49-F238E27FC236}">
                <a16:creationId xmlns:a16="http://schemas.microsoft.com/office/drawing/2014/main" id="{9DE6A9E4-1F8D-6AA0-DCA3-A3F50A80035C}"/>
              </a:ext>
            </a:extLst>
          </p:cNvPr>
          <p:cNvSpPr txBox="1"/>
          <p:nvPr/>
        </p:nvSpPr>
        <p:spPr>
          <a:xfrm>
            <a:off x="6095999" y="4194429"/>
            <a:ext cx="974405" cy="338554"/>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100" b="0" noProof="0">
                <a:solidFill>
                  <a:srgbClr val="464646"/>
                </a:solidFill>
                <a:latin typeface="Avenir LT Pro 45Book"/>
              </a:rPr>
              <a:t>Select Strategic Elements (4-6)</a:t>
            </a:r>
          </a:p>
        </p:txBody>
      </p:sp>
      <p:sp>
        <p:nvSpPr>
          <p:cNvPr id="2054" name="TextBox 151">
            <a:extLst>
              <a:ext uri="{FF2B5EF4-FFF2-40B4-BE49-F238E27FC236}">
                <a16:creationId xmlns:a16="http://schemas.microsoft.com/office/drawing/2014/main" id="{C52C514F-252F-05F9-8770-FC9531998101}"/>
              </a:ext>
            </a:extLst>
          </p:cNvPr>
          <p:cNvSpPr txBox="1"/>
          <p:nvPr/>
        </p:nvSpPr>
        <p:spPr>
          <a:xfrm>
            <a:off x="6096000" y="3746934"/>
            <a:ext cx="974404" cy="338554"/>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100" b="0" noProof="0" err="1">
                <a:solidFill>
                  <a:srgbClr val="464646"/>
                </a:solidFill>
                <a:latin typeface="Avenir LT Pro 45Book"/>
              </a:rPr>
              <a:t>Analyze</a:t>
            </a:r>
            <a:r>
              <a:rPr lang="en-GB" sz="1100" b="0" noProof="0">
                <a:solidFill>
                  <a:srgbClr val="464646"/>
                </a:solidFill>
                <a:latin typeface="Avenir LT Pro 45Book"/>
              </a:rPr>
              <a:t> Loyalty Drivers</a:t>
            </a:r>
          </a:p>
        </p:txBody>
      </p:sp>
      <p:sp>
        <p:nvSpPr>
          <p:cNvPr id="2055" name="TextBox 152">
            <a:extLst>
              <a:ext uri="{FF2B5EF4-FFF2-40B4-BE49-F238E27FC236}">
                <a16:creationId xmlns:a16="http://schemas.microsoft.com/office/drawing/2014/main" id="{78C01349-28C6-47E2-28C8-606664722F02}"/>
              </a:ext>
            </a:extLst>
          </p:cNvPr>
          <p:cNvSpPr txBox="1"/>
          <p:nvPr/>
        </p:nvSpPr>
        <p:spPr>
          <a:xfrm>
            <a:off x="5967598" y="3274947"/>
            <a:ext cx="1102806" cy="338554"/>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100" b="0" noProof="0">
                <a:solidFill>
                  <a:srgbClr val="464646"/>
                </a:solidFill>
                <a:latin typeface="Avenir LT Pro 45Book"/>
              </a:rPr>
              <a:t>Identify and Measure Elements</a:t>
            </a:r>
          </a:p>
        </p:txBody>
      </p:sp>
      <p:sp>
        <p:nvSpPr>
          <p:cNvPr id="2056" name="TextBox 153">
            <a:extLst>
              <a:ext uri="{FF2B5EF4-FFF2-40B4-BE49-F238E27FC236}">
                <a16:creationId xmlns:a16="http://schemas.microsoft.com/office/drawing/2014/main" id="{90AA6823-762F-6DF1-A30F-3BBD06177BF6}"/>
              </a:ext>
            </a:extLst>
          </p:cNvPr>
          <p:cNvSpPr txBox="1"/>
          <p:nvPr/>
        </p:nvSpPr>
        <p:spPr>
          <a:xfrm>
            <a:off x="7545496" y="2657223"/>
            <a:ext cx="1131720" cy="16927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100" b="0" noProof="0">
                <a:solidFill>
                  <a:srgbClr val="464646"/>
                </a:solidFill>
                <a:latin typeface="Avenir LT Pro 45Book"/>
              </a:rPr>
              <a:t>Customer Feedback</a:t>
            </a:r>
          </a:p>
        </p:txBody>
      </p:sp>
      <p:sp>
        <p:nvSpPr>
          <p:cNvPr id="3" name="Arrow: Chevron 2">
            <a:extLst>
              <a:ext uri="{FF2B5EF4-FFF2-40B4-BE49-F238E27FC236}">
                <a16:creationId xmlns:a16="http://schemas.microsoft.com/office/drawing/2014/main" id="{3018E21F-F249-384C-BD3C-1444C8319741}"/>
              </a:ext>
            </a:extLst>
          </p:cNvPr>
          <p:cNvSpPr/>
          <p:nvPr/>
        </p:nvSpPr>
        <p:spPr>
          <a:xfrm>
            <a:off x="8113996"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11" name="Arrow: Chevron 10">
            <a:extLst>
              <a:ext uri="{FF2B5EF4-FFF2-40B4-BE49-F238E27FC236}">
                <a16:creationId xmlns:a16="http://schemas.microsoft.com/office/drawing/2014/main" id="{A5500205-CA10-B597-2E92-44335C75FE8E}"/>
              </a:ext>
            </a:extLst>
          </p:cNvPr>
          <p:cNvSpPr/>
          <p:nvPr/>
        </p:nvSpPr>
        <p:spPr>
          <a:xfrm>
            <a:off x="9076754"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2155" name="Arrow: Chevron 2154">
            <a:extLst>
              <a:ext uri="{FF2B5EF4-FFF2-40B4-BE49-F238E27FC236}">
                <a16:creationId xmlns:a16="http://schemas.microsoft.com/office/drawing/2014/main" id="{4A55D855-12F6-F511-5296-110E83E89C7A}"/>
              </a:ext>
            </a:extLst>
          </p:cNvPr>
          <p:cNvSpPr/>
          <p:nvPr/>
        </p:nvSpPr>
        <p:spPr>
          <a:xfrm>
            <a:off x="1003951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2157" name="Arrow: Chevron 2156">
            <a:extLst>
              <a:ext uri="{FF2B5EF4-FFF2-40B4-BE49-F238E27FC236}">
                <a16:creationId xmlns:a16="http://schemas.microsoft.com/office/drawing/2014/main" id="{1D9049C0-127D-34F0-7BD9-C2B8176183B3}"/>
              </a:ext>
            </a:extLst>
          </p:cNvPr>
          <p:cNvSpPr/>
          <p:nvPr/>
        </p:nvSpPr>
        <p:spPr>
          <a:xfrm>
            <a:off x="10999632"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15684327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754B38-037E-B349-0ED1-53AC781616B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5513908-CB52-DBFB-1578-3D8979964AA0}"/>
              </a:ext>
            </a:extLst>
          </p:cNvPr>
          <p:cNvGraphicFramePr>
            <a:graphicFrameLocks noChangeAspect="1"/>
          </p:cNvGraphicFramePr>
          <p:nvPr>
            <p:custDataLst>
              <p:tags r:id="rId1"/>
            </p:custDataLst>
            <p:extLst>
              <p:ext uri="{D42A27DB-BD31-4B8C-83A1-F6EECF244321}">
                <p14:modId xmlns:p14="http://schemas.microsoft.com/office/powerpoint/2010/main" val="3731955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15513908-CB52-DBFB-1578-3D8979964A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47489D-2967-4724-091A-964DF1D56D71}"/>
              </a:ext>
            </a:extLst>
          </p:cNvPr>
          <p:cNvSpPr>
            <a:spLocks noGrp="1"/>
          </p:cNvSpPr>
          <p:nvPr>
            <p:ph type="title"/>
          </p:nvPr>
        </p:nvSpPr>
        <p:spPr>
          <a:xfrm>
            <a:off x="137786" y="125260"/>
            <a:ext cx="6880635" cy="806754"/>
          </a:xfrm>
        </p:spPr>
        <p:txBody>
          <a:bodyPr vert="horz">
            <a:normAutofit fontScale="90000"/>
          </a:bodyPr>
          <a:lstStyle/>
          <a:p>
            <a:r>
              <a:rPr lang="en-GB" b="1" noProof="0"/>
              <a:t>The Three Value Disciplines Framework</a:t>
            </a:r>
          </a:p>
        </p:txBody>
      </p:sp>
      <p:sp>
        <p:nvSpPr>
          <p:cNvPr id="10" name="Rectangle 9">
            <a:extLst>
              <a:ext uri="{FF2B5EF4-FFF2-40B4-BE49-F238E27FC236}">
                <a16:creationId xmlns:a16="http://schemas.microsoft.com/office/drawing/2014/main" id="{8698D7BD-545A-A530-DE43-61AF08318776}"/>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To achieve sustained competitive advantage, excel in one value discipline and maintain threshold in the other two. Dominate your market by improving continuously. Build a superior operating model to deliver your value proposition.</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The choices of value discipline and customer category are actually one choice.</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Companies pursuing the same value discipline have remarkable similarities regardless of industry.</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Some companies successfully master two disciplines by resolving inherent tensions between different operating models.</a:t>
            </a:r>
          </a:p>
        </p:txBody>
      </p:sp>
      <p:sp>
        <p:nvSpPr>
          <p:cNvPr id="27" name="TextBox 26">
            <a:extLst>
              <a:ext uri="{FF2B5EF4-FFF2-40B4-BE49-F238E27FC236}">
                <a16:creationId xmlns:a16="http://schemas.microsoft.com/office/drawing/2014/main" id="{77DD652B-0A63-6634-B47E-97636B3ED64E}"/>
              </a:ext>
            </a:extLst>
          </p:cNvPr>
          <p:cNvSpPr txBox="1"/>
          <p:nvPr/>
        </p:nvSpPr>
        <p:spPr>
          <a:xfrm>
            <a:off x="9357085" y="6466114"/>
            <a:ext cx="2571750" cy="338554"/>
          </a:xfrm>
          <a:prstGeom prst="rect">
            <a:avLst/>
          </a:prstGeom>
          <a:noFill/>
        </p:spPr>
        <p:txBody>
          <a:bodyPr wrap="square" rtlCol="0">
            <a:spAutoFit/>
          </a:bodyPr>
          <a:lstStyle/>
          <a:p>
            <a:r>
              <a:rPr lang="en-GB" sz="800" i="1" noProof="0">
                <a:latin typeface="Avenir LT Pro 45Book"/>
              </a:rPr>
              <a:t>Source: Customer Intimacy and Other Value Disciplines, Treacy &amp; Wiersema, 1993</a:t>
            </a:r>
          </a:p>
        </p:txBody>
      </p:sp>
      <p:grpSp>
        <p:nvGrpSpPr>
          <p:cNvPr id="11" name="Group 10">
            <a:extLst>
              <a:ext uri="{FF2B5EF4-FFF2-40B4-BE49-F238E27FC236}">
                <a16:creationId xmlns:a16="http://schemas.microsoft.com/office/drawing/2014/main" id="{CBFDCBF6-91B5-50B9-2DAB-F973430C4729}"/>
              </a:ext>
            </a:extLst>
          </p:cNvPr>
          <p:cNvGrpSpPr/>
          <p:nvPr/>
        </p:nvGrpSpPr>
        <p:grpSpPr>
          <a:xfrm>
            <a:off x="2834967" y="1774070"/>
            <a:ext cx="1789719" cy="3097590"/>
            <a:chOff x="1226457" y="943428"/>
            <a:chExt cx="1789719" cy="3097590"/>
          </a:xfrm>
        </p:grpSpPr>
        <p:sp>
          <p:nvSpPr>
            <p:cNvPr id="29" name="Rounded Rectangle 1">
              <a:extLst>
                <a:ext uri="{FF2B5EF4-FFF2-40B4-BE49-F238E27FC236}">
                  <a16:creationId xmlns:a16="http://schemas.microsoft.com/office/drawing/2014/main" id="{0B773513-75C0-21EA-6C1B-1F8A6F073E5D}"/>
                </a:ext>
              </a:extLst>
            </p:cNvPr>
            <p:cNvSpPr/>
            <p:nvPr/>
          </p:nvSpPr>
          <p:spPr>
            <a:xfrm>
              <a:off x="1226457" y="943428"/>
              <a:ext cx="1789719" cy="3097590"/>
            </a:xfrm>
            <a:custGeom>
              <a:avLst/>
              <a:gdLst/>
              <a:ahLst/>
              <a:cxnLst/>
              <a:rect l="0" t="0" r="0" b="0"/>
              <a:pathLst>
                <a:path w="1789719" h="3097590">
                  <a:moveTo>
                    <a:pt x="1789719" y="1161596"/>
                  </a:moveTo>
                  <a:lnTo>
                    <a:pt x="1032529" y="2478072"/>
                  </a:lnTo>
                  <a:lnTo>
                    <a:pt x="0" y="3097590"/>
                  </a:lnTo>
                  <a:lnTo>
                    <a:pt x="1789718" y="0"/>
                  </a:ln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30" name="Rounded Rectangle 2">
              <a:extLst>
                <a:ext uri="{FF2B5EF4-FFF2-40B4-BE49-F238E27FC236}">
                  <a16:creationId xmlns:a16="http://schemas.microsoft.com/office/drawing/2014/main" id="{8D04F629-9215-DE26-C730-5D04E243AF00}"/>
                </a:ext>
              </a:extLst>
            </p:cNvPr>
            <p:cNvSpPr/>
            <p:nvPr/>
          </p:nvSpPr>
          <p:spPr>
            <a:xfrm>
              <a:off x="1226457" y="943428"/>
              <a:ext cx="1789719" cy="3097590"/>
            </a:xfrm>
            <a:custGeom>
              <a:avLst/>
              <a:gdLst/>
              <a:ahLst/>
              <a:cxnLst/>
              <a:rect l="0" t="0" r="0" b="0"/>
              <a:pathLst>
                <a:path w="1789719" h="3097590">
                  <a:moveTo>
                    <a:pt x="1789719" y="1161596"/>
                  </a:moveTo>
                  <a:lnTo>
                    <a:pt x="1032529" y="2478072"/>
                  </a:lnTo>
                  <a:lnTo>
                    <a:pt x="0" y="3097590"/>
                  </a:lnTo>
                  <a:lnTo>
                    <a:pt x="1789718" y="0"/>
                  </a:lnTo>
                  <a:close/>
                </a:path>
              </a:pathLst>
            </a:custGeom>
            <a:noFill/>
            <a:ln w="5895">
              <a:solidFill>
                <a:srgbClr val="FFC47F"/>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grpSp>
      <p:grpSp>
        <p:nvGrpSpPr>
          <p:cNvPr id="12" name="Group 11">
            <a:extLst>
              <a:ext uri="{FF2B5EF4-FFF2-40B4-BE49-F238E27FC236}">
                <a16:creationId xmlns:a16="http://schemas.microsoft.com/office/drawing/2014/main" id="{12A6583D-5902-DD1B-3EB8-1D022869289E}"/>
              </a:ext>
            </a:extLst>
          </p:cNvPr>
          <p:cNvGrpSpPr/>
          <p:nvPr/>
        </p:nvGrpSpPr>
        <p:grpSpPr>
          <a:xfrm>
            <a:off x="2834967" y="4252129"/>
            <a:ext cx="3579437" cy="619518"/>
            <a:chOff x="1226457" y="3421487"/>
            <a:chExt cx="3579437" cy="619518"/>
          </a:xfrm>
        </p:grpSpPr>
        <p:sp>
          <p:nvSpPr>
            <p:cNvPr id="26" name="Rounded Rectangle 4">
              <a:extLst>
                <a:ext uri="{FF2B5EF4-FFF2-40B4-BE49-F238E27FC236}">
                  <a16:creationId xmlns:a16="http://schemas.microsoft.com/office/drawing/2014/main" id="{3229AC60-0C74-170C-35F3-018916CB1E81}"/>
                </a:ext>
              </a:extLst>
            </p:cNvPr>
            <p:cNvSpPr/>
            <p:nvPr/>
          </p:nvSpPr>
          <p:spPr>
            <a:xfrm>
              <a:off x="1226457" y="3421487"/>
              <a:ext cx="3579437" cy="619518"/>
            </a:xfrm>
            <a:custGeom>
              <a:avLst/>
              <a:gdLst/>
              <a:ahLst/>
              <a:cxnLst/>
              <a:rect l="0" t="0" r="0" b="0"/>
              <a:pathLst>
                <a:path w="3579437" h="619518">
                  <a:moveTo>
                    <a:pt x="3579437" y="619518"/>
                  </a:moveTo>
                  <a:lnTo>
                    <a:pt x="0" y="619518"/>
                  </a:lnTo>
                  <a:lnTo>
                    <a:pt x="1032529" y="0"/>
                  </a:lnTo>
                  <a:lnTo>
                    <a:pt x="2546908" y="0"/>
                  </a:lnTo>
                  <a:close/>
                </a:path>
              </a:pathLst>
            </a:custGeom>
            <a:solidFill>
              <a:srgbClr val="FF9518"/>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28" name="Rounded Rectangle 5">
              <a:extLst>
                <a:ext uri="{FF2B5EF4-FFF2-40B4-BE49-F238E27FC236}">
                  <a16:creationId xmlns:a16="http://schemas.microsoft.com/office/drawing/2014/main" id="{9342442B-8244-78FA-7941-F806412EF4EE}"/>
                </a:ext>
              </a:extLst>
            </p:cNvPr>
            <p:cNvSpPr/>
            <p:nvPr/>
          </p:nvSpPr>
          <p:spPr>
            <a:xfrm>
              <a:off x="1226457" y="3421487"/>
              <a:ext cx="3579437" cy="619518"/>
            </a:xfrm>
            <a:custGeom>
              <a:avLst/>
              <a:gdLst/>
              <a:ahLst/>
              <a:cxnLst/>
              <a:rect l="0" t="0" r="0" b="0"/>
              <a:pathLst>
                <a:path w="3579437" h="619518">
                  <a:moveTo>
                    <a:pt x="3579437" y="619518"/>
                  </a:moveTo>
                  <a:lnTo>
                    <a:pt x="0" y="619518"/>
                  </a:lnTo>
                  <a:lnTo>
                    <a:pt x="1032529" y="0"/>
                  </a:lnTo>
                  <a:lnTo>
                    <a:pt x="2546908" y="0"/>
                  </a:lnTo>
                  <a:close/>
                </a:path>
              </a:pathLst>
            </a:custGeom>
            <a:noFill/>
            <a:ln w="5895">
              <a:solidFill>
                <a:srgbClr val="FF9518"/>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grpSp>
      <p:grpSp>
        <p:nvGrpSpPr>
          <p:cNvPr id="13" name="Group 12">
            <a:extLst>
              <a:ext uri="{FF2B5EF4-FFF2-40B4-BE49-F238E27FC236}">
                <a16:creationId xmlns:a16="http://schemas.microsoft.com/office/drawing/2014/main" id="{1A7B20E8-D5CF-01D9-71AE-F53ED2DAFED1}"/>
              </a:ext>
            </a:extLst>
          </p:cNvPr>
          <p:cNvGrpSpPr/>
          <p:nvPr/>
        </p:nvGrpSpPr>
        <p:grpSpPr>
          <a:xfrm>
            <a:off x="4624690" y="1774070"/>
            <a:ext cx="1789718" cy="3097590"/>
            <a:chOff x="3016180" y="943428"/>
            <a:chExt cx="1789718" cy="3097590"/>
          </a:xfrm>
        </p:grpSpPr>
        <p:sp>
          <p:nvSpPr>
            <p:cNvPr id="24" name="Rounded Rectangle 7">
              <a:extLst>
                <a:ext uri="{FF2B5EF4-FFF2-40B4-BE49-F238E27FC236}">
                  <a16:creationId xmlns:a16="http://schemas.microsoft.com/office/drawing/2014/main" id="{A7EB94D8-FB71-CD0D-5F5D-4DBC26BE357D}"/>
                </a:ext>
              </a:extLst>
            </p:cNvPr>
            <p:cNvSpPr/>
            <p:nvPr/>
          </p:nvSpPr>
          <p:spPr>
            <a:xfrm>
              <a:off x="3016180" y="943428"/>
              <a:ext cx="1789718" cy="3097590"/>
            </a:xfrm>
            <a:custGeom>
              <a:avLst/>
              <a:gdLst/>
              <a:ahLst/>
              <a:cxnLst/>
              <a:rect l="0" t="0" r="0" b="0"/>
              <a:pathLst>
                <a:path w="1789718" h="3097590">
                  <a:moveTo>
                    <a:pt x="0" y="0"/>
                  </a:moveTo>
                  <a:lnTo>
                    <a:pt x="1789718" y="3097590"/>
                  </a:lnTo>
                  <a:lnTo>
                    <a:pt x="757188" y="2478072"/>
                  </a:lnTo>
                  <a:lnTo>
                    <a:pt x="0" y="1161596"/>
                  </a:lnTo>
                  <a:close/>
                </a:path>
              </a:pathLst>
            </a:custGeom>
            <a:solidFill>
              <a:srgbClr val="BA7019"/>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25" name="Rounded Rectangle 8">
              <a:extLst>
                <a:ext uri="{FF2B5EF4-FFF2-40B4-BE49-F238E27FC236}">
                  <a16:creationId xmlns:a16="http://schemas.microsoft.com/office/drawing/2014/main" id="{4DDDE490-CB4B-49BE-3AC7-671477172740}"/>
                </a:ext>
              </a:extLst>
            </p:cNvPr>
            <p:cNvSpPr/>
            <p:nvPr/>
          </p:nvSpPr>
          <p:spPr>
            <a:xfrm>
              <a:off x="3016180" y="943428"/>
              <a:ext cx="1789718" cy="3097590"/>
            </a:xfrm>
            <a:custGeom>
              <a:avLst/>
              <a:gdLst/>
              <a:ahLst/>
              <a:cxnLst/>
              <a:rect l="0" t="0" r="0" b="0"/>
              <a:pathLst>
                <a:path w="1789718" h="3097590">
                  <a:moveTo>
                    <a:pt x="0" y="0"/>
                  </a:moveTo>
                  <a:lnTo>
                    <a:pt x="1789718" y="3097590"/>
                  </a:lnTo>
                  <a:lnTo>
                    <a:pt x="757188" y="2478072"/>
                  </a:lnTo>
                  <a:lnTo>
                    <a:pt x="0" y="1161596"/>
                  </a:lnTo>
                  <a:close/>
                </a:path>
              </a:pathLst>
            </a:custGeom>
            <a:noFill/>
            <a:ln w="5895">
              <a:solidFill>
                <a:srgbClr val="BA7019"/>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grpSp>
      <p:sp>
        <p:nvSpPr>
          <p:cNvPr id="14" name="TextBox 11">
            <a:extLst>
              <a:ext uri="{FF2B5EF4-FFF2-40B4-BE49-F238E27FC236}">
                <a16:creationId xmlns:a16="http://schemas.microsoft.com/office/drawing/2014/main" id="{A0B8A61E-AB69-8972-2E52-B0DAF4377466}"/>
              </a:ext>
            </a:extLst>
          </p:cNvPr>
          <p:cNvSpPr txBox="1"/>
          <p:nvPr/>
        </p:nvSpPr>
        <p:spPr>
          <a:xfrm>
            <a:off x="5920026" y="3076453"/>
            <a:ext cx="1341714" cy="16927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100" b="1" noProof="0">
                <a:latin typeface="Avenir LT Pro 45Book"/>
              </a:rPr>
              <a:t>Operational Excellence</a:t>
            </a:r>
          </a:p>
        </p:txBody>
      </p:sp>
      <p:sp>
        <p:nvSpPr>
          <p:cNvPr id="15" name="TextBox 12">
            <a:extLst>
              <a:ext uri="{FF2B5EF4-FFF2-40B4-BE49-F238E27FC236}">
                <a16:creationId xmlns:a16="http://schemas.microsoft.com/office/drawing/2014/main" id="{D08C330F-6B3B-FD6A-6FCB-93E4EE59DCCB}"/>
              </a:ext>
            </a:extLst>
          </p:cNvPr>
          <p:cNvSpPr txBox="1"/>
          <p:nvPr/>
        </p:nvSpPr>
        <p:spPr>
          <a:xfrm>
            <a:off x="2174332" y="3076453"/>
            <a:ext cx="1128514" cy="16927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100" b="1" noProof="0">
                <a:latin typeface="Avenir LT Pro 45Book"/>
              </a:rPr>
              <a:t>Product Leadership</a:t>
            </a:r>
          </a:p>
        </p:txBody>
      </p:sp>
      <p:sp>
        <p:nvSpPr>
          <p:cNvPr id="16" name="TextBox 13">
            <a:extLst>
              <a:ext uri="{FF2B5EF4-FFF2-40B4-BE49-F238E27FC236}">
                <a16:creationId xmlns:a16="http://schemas.microsoft.com/office/drawing/2014/main" id="{A92C08DF-41CC-7D5A-37CE-11127B377969}"/>
              </a:ext>
            </a:extLst>
          </p:cNvPr>
          <p:cNvSpPr txBox="1"/>
          <p:nvPr/>
        </p:nvSpPr>
        <p:spPr>
          <a:xfrm>
            <a:off x="1850410" y="3247740"/>
            <a:ext cx="1452436" cy="615553"/>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000" b="0" noProof="0">
                <a:latin typeface="Avenir LT Pro 45Book"/>
              </a:rPr>
              <a:t>Strives for continuous innovation and cutting-edge products to outpace competitors.</a:t>
            </a:r>
          </a:p>
        </p:txBody>
      </p:sp>
      <p:sp>
        <p:nvSpPr>
          <p:cNvPr id="17" name="TextBox 14">
            <a:extLst>
              <a:ext uri="{FF2B5EF4-FFF2-40B4-BE49-F238E27FC236}">
                <a16:creationId xmlns:a16="http://schemas.microsoft.com/office/drawing/2014/main" id="{CE796830-8621-1A26-BC24-88B951DE155B}"/>
              </a:ext>
            </a:extLst>
          </p:cNvPr>
          <p:cNvSpPr txBox="1"/>
          <p:nvPr/>
        </p:nvSpPr>
        <p:spPr>
          <a:xfrm>
            <a:off x="5920026" y="3255402"/>
            <a:ext cx="1415502" cy="615553"/>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000" b="0" noProof="0">
                <a:latin typeface="Avenir LT Pro 45Book"/>
              </a:rPr>
              <a:t>Focuses on efficiency and cost reduction to deliver reliable products at competitive prices.</a:t>
            </a:r>
          </a:p>
        </p:txBody>
      </p:sp>
      <p:sp>
        <p:nvSpPr>
          <p:cNvPr id="18" name="TextBox 15">
            <a:extLst>
              <a:ext uri="{FF2B5EF4-FFF2-40B4-BE49-F238E27FC236}">
                <a16:creationId xmlns:a16="http://schemas.microsoft.com/office/drawing/2014/main" id="{74CC3D84-5CE6-2080-FB37-46DD4A2309C3}"/>
              </a:ext>
            </a:extLst>
          </p:cNvPr>
          <p:cNvSpPr txBox="1"/>
          <p:nvPr/>
        </p:nvSpPr>
        <p:spPr>
          <a:xfrm>
            <a:off x="4075065" y="5016525"/>
            <a:ext cx="1107676" cy="16927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100" b="1" noProof="0">
                <a:latin typeface="Avenir LT Pro 45Book"/>
              </a:rPr>
              <a:t>Customer Intimacy</a:t>
            </a:r>
          </a:p>
        </p:txBody>
      </p:sp>
      <p:sp>
        <p:nvSpPr>
          <p:cNvPr id="19" name="TextBox 16">
            <a:extLst>
              <a:ext uri="{FF2B5EF4-FFF2-40B4-BE49-F238E27FC236}">
                <a16:creationId xmlns:a16="http://schemas.microsoft.com/office/drawing/2014/main" id="{9E6469DE-23BB-01EF-EB4C-C469CC0D518D}"/>
              </a:ext>
            </a:extLst>
          </p:cNvPr>
          <p:cNvSpPr txBox="1"/>
          <p:nvPr/>
        </p:nvSpPr>
        <p:spPr>
          <a:xfrm>
            <a:off x="3898467" y="5215195"/>
            <a:ext cx="1452436" cy="615553"/>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000" b="0" noProof="0">
                <a:latin typeface="Avenir LT Pro 45Book"/>
              </a:rPr>
              <a:t>Emphasizes understanding and catering to individual customer needs for long-term value.</a:t>
            </a:r>
          </a:p>
        </p:txBody>
      </p:sp>
      <p:sp>
        <p:nvSpPr>
          <p:cNvPr id="20" name="Rounded Rectangle 17">
            <a:extLst>
              <a:ext uri="{FF2B5EF4-FFF2-40B4-BE49-F238E27FC236}">
                <a16:creationId xmlns:a16="http://schemas.microsoft.com/office/drawing/2014/main" id="{6769D1EE-88A6-5AE1-6E24-A8A2FC6039FC}"/>
              </a:ext>
            </a:extLst>
          </p:cNvPr>
          <p:cNvSpPr/>
          <p:nvPr/>
        </p:nvSpPr>
        <p:spPr>
          <a:xfrm>
            <a:off x="3847187" y="3336624"/>
            <a:ext cx="271235" cy="271235"/>
          </a:xfrm>
          <a:custGeom>
            <a:avLst/>
            <a:gdLst/>
            <a:ahLst/>
            <a:cxnLst/>
            <a:rect l="0" t="0" r="0" b="0"/>
            <a:pathLst>
              <a:path w="271235" h="271235">
                <a:moveTo>
                  <a:pt x="23585" y="268287"/>
                </a:moveTo>
                <a:cubicBezTo>
                  <a:pt x="10559" y="268287"/>
                  <a:pt x="0" y="257727"/>
                  <a:pt x="0" y="244701"/>
                </a:cubicBezTo>
                <a:cubicBezTo>
                  <a:pt x="0" y="231675"/>
                  <a:pt x="10559" y="221116"/>
                  <a:pt x="23585" y="221116"/>
                </a:cubicBezTo>
                <a:cubicBezTo>
                  <a:pt x="78919" y="221051"/>
                  <a:pt x="123759" y="176210"/>
                  <a:pt x="123825" y="120876"/>
                </a:cubicBezTo>
                <a:lnTo>
                  <a:pt x="123825" y="47171"/>
                </a:lnTo>
                <a:lnTo>
                  <a:pt x="23585" y="47171"/>
                </a:lnTo>
                <a:cubicBezTo>
                  <a:pt x="10559" y="47171"/>
                  <a:pt x="0" y="36611"/>
                  <a:pt x="0" y="23585"/>
                </a:cubicBezTo>
                <a:cubicBezTo>
                  <a:pt x="0" y="10559"/>
                  <a:pt x="10559" y="0"/>
                  <a:pt x="23585" y="0"/>
                </a:cubicBezTo>
                <a:lnTo>
                  <a:pt x="147410" y="0"/>
                </a:lnTo>
                <a:cubicBezTo>
                  <a:pt x="160436" y="0"/>
                  <a:pt x="170996" y="10559"/>
                  <a:pt x="170996" y="23585"/>
                </a:cubicBezTo>
                <a:lnTo>
                  <a:pt x="170996" y="120876"/>
                </a:lnTo>
                <a:cubicBezTo>
                  <a:pt x="170905" y="202251"/>
                  <a:pt x="104960" y="268196"/>
                  <a:pt x="23585" y="268287"/>
                </a:cubicBezTo>
                <a:close/>
                <a:moveTo>
                  <a:pt x="247650" y="271235"/>
                </a:moveTo>
                <a:cubicBezTo>
                  <a:pt x="234623" y="271235"/>
                  <a:pt x="224064" y="260676"/>
                  <a:pt x="224064" y="247650"/>
                </a:cubicBezTo>
                <a:lnTo>
                  <a:pt x="224064" y="23585"/>
                </a:lnTo>
                <a:cubicBezTo>
                  <a:pt x="224064" y="10559"/>
                  <a:pt x="234623" y="0"/>
                  <a:pt x="247650" y="0"/>
                </a:cubicBezTo>
                <a:cubicBezTo>
                  <a:pt x="260676" y="0"/>
                  <a:pt x="271235" y="10559"/>
                  <a:pt x="271235" y="23585"/>
                </a:cubicBezTo>
                <a:lnTo>
                  <a:pt x="271235" y="247650"/>
                </a:lnTo>
                <a:cubicBezTo>
                  <a:pt x="271235" y="260676"/>
                  <a:pt x="260676" y="271235"/>
                  <a:pt x="247650" y="271235"/>
                </a:cubicBezTo>
                <a:close/>
                <a:moveTo>
                  <a:pt x="0" y="129721"/>
                </a:moveTo>
                <a:cubicBezTo>
                  <a:pt x="0" y="108554"/>
                  <a:pt x="17159" y="91394"/>
                  <a:pt x="38326" y="91394"/>
                </a:cubicBezTo>
                <a:cubicBezTo>
                  <a:pt x="59494" y="91394"/>
                  <a:pt x="76653" y="108554"/>
                  <a:pt x="76653" y="129721"/>
                </a:cubicBezTo>
                <a:cubicBezTo>
                  <a:pt x="76653" y="150888"/>
                  <a:pt x="59494" y="168048"/>
                  <a:pt x="38326" y="168048"/>
                </a:cubicBezTo>
                <a:cubicBezTo>
                  <a:pt x="17159" y="168048"/>
                  <a:pt x="0" y="150888"/>
                  <a:pt x="0" y="129721"/>
                </a:cubicBezTo>
              </a:path>
            </a:pathLst>
          </a:custGeom>
          <a:noFill/>
          <a:ln w="5895">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21" name="Rounded Rectangle 18">
            <a:extLst>
              <a:ext uri="{FF2B5EF4-FFF2-40B4-BE49-F238E27FC236}">
                <a16:creationId xmlns:a16="http://schemas.microsoft.com/office/drawing/2014/main" id="{AC8E264B-DC04-65E1-167B-C3FC7FF51D96}"/>
              </a:ext>
            </a:extLst>
          </p:cNvPr>
          <p:cNvSpPr/>
          <p:nvPr/>
        </p:nvSpPr>
        <p:spPr>
          <a:xfrm>
            <a:off x="5130643" y="3330727"/>
            <a:ext cx="274183" cy="274183"/>
          </a:xfrm>
          <a:custGeom>
            <a:avLst/>
            <a:gdLst/>
            <a:ahLst/>
            <a:cxnLst/>
            <a:rect l="0" t="0" r="0" b="0"/>
            <a:pathLst>
              <a:path w="274183" h="274183">
                <a:moveTo>
                  <a:pt x="274183" y="250598"/>
                </a:moveTo>
                <a:cubicBezTo>
                  <a:pt x="274183" y="263570"/>
                  <a:pt x="263570" y="274183"/>
                  <a:pt x="250598" y="274183"/>
                </a:cubicBezTo>
                <a:lnTo>
                  <a:pt x="32430" y="274183"/>
                </a:lnTo>
                <a:cubicBezTo>
                  <a:pt x="19458" y="274183"/>
                  <a:pt x="8844" y="263570"/>
                  <a:pt x="8844" y="250598"/>
                </a:cubicBezTo>
                <a:lnTo>
                  <a:pt x="8844" y="32430"/>
                </a:lnTo>
                <a:cubicBezTo>
                  <a:pt x="8844" y="19458"/>
                  <a:pt x="19458" y="8844"/>
                  <a:pt x="32430" y="8844"/>
                </a:cubicBezTo>
                <a:lnTo>
                  <a:pt x="250598" y="8844"/>
                </a:lnTo>
                <a:cubicBezTo>
                  <a:pt x="263570" y="8844"/>
                  <a:pt x="274183" y="19458"/>
                  <a:pt x="274183" y="32430"/>
                </a:cubicBezTo>
                <a:close/>
                <a:moveTo>
                  <a:pt x="229543" y="124211"/>
                </a:moveTo>
                <a:cubicBezTo>
                  <a:pt x="213776" y="91609"/>
                  <a:pt x="179615" y="69439"/>
                  <a:pt x="141514" y="69439"/>
                </a:cubicBezTo>
                <a:cubicBezTo>
                  <a:pt x="103412" y="69439"/>
                  <a:pt x="69252" y="91609"/>
                  <a:pt x="53486" y="124211"/>
                </a:cubicBezTo>
                <a:moveTo>
                  <a:pt x="0" y="0"/>
                </a:moveTo>
                <a:moveTo>
                  <a:pt x="141514" y="69439"/>
                </a:moveTo>
                <a:lnTo>
                  <a:pt x="141514" y="90306"/>
                </a:lnTo>
                <a:moveTo>
                  <a:pt x="170935" y="133343"/>
                </a:moveTo>
                <a:cubicBezTo>
                  <a:pt x="170935" y="133343"/>
                  <a:pt x="126595" y="151600"/>
                  <a:pt x="116162" y="167251"/>
                </a:cubicBezTo>
                <a:cubicBezTo>
                  <a:pt x="108337" y="178987"/>
                  <a:pt x="112250" y="195941"/>
                  <a:pt x="123987" y="203766"/>
                </a:cubicBezTo>
                <a:cubicBezTo>
                  <a:pt x="135725" y="211590"/>
                  <a:pt x="152678" y="207678"/>
                  <a:pt x="160503" y="195940"/>
                </a:cubicBezTo>
                <a:cubicBezTo>
                  <a:pt x="170936" y="180291"/>
                  <a:pt x="170935" y="133343"/>
                  <a:pt x="170935" y="133343"/>
                </a:cubicBezTo>
                <a:close/>
                <a:moveTo>
                  <a:pt x="0" y="0"/>
                </a:moveTo>
                <a:moveTo>
                  <a:pt x="229543" y="124211"/>
                </a:moveTo>
                <a:lnTo>
                  <a:pt x="212588" y="135949"/>
                </a:lnTo>
                <a:moveTo>
                  <a:pt x="0" y="0"/>
                </a:moveTo>
                <a:moveTo>
                  <a:pt x="53486" y="124211"/>
                </a:moveTo>
                <a:lnTo>
                  <a:pt x="70439" y="135949"/>
                </a:lnTo>
              </a:path>
            </a:pathLst>
          </a:custGeom>
          <a:noFill/>
          <a:ln w="5895">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22" name="Rounded Rectangle 19">
            <a:extLst>
              <a:ext uri="{FF2B5EF4-FFF2-40B4-BE49-F238E27FC236}">
                <a16:creationId xmlns:a16="http://schemas.microsoft.com/office/drawing/2014/main" id="{A5E69C61-A834-0369-DC34-481D39C14EFE}"/>
              </a:ext>
            </a:extLst>
          </p:cNvPr>
          <p:cNvSpPr/>
          <p:nvPr/>
        </p:nvSpPr>
        <p:spPr>
          <a:xfrm>
            <a:off x="4364830" y="3578352"/>
            <a:ext cx="525301" cy="542496"/>
          </a:xfrm>
          <a:custGeom>
            <a:avLst/>
            <a:gdLst/>
            <a:ahLst/>
            <a:cxnLst/>
            <a:rect l="0" t="0" r="0" b="0"/>
            <a:pathLst>
              <a:path w="525301" h="542496">
                <a:moveTo>
                  <a:pt x="22595" y="82905"/>
                </a:moveTo>
                <a:cubicBezTo>
                  <a:pt x="22581" y="37121"/>
                  <a:pt x="59692" y="0"/>
                  <a:pt x="105475" y="0"/>
                </a:cubicBezTo>
                <a:cubicBezTo>
                  <a:pt x="151258" y="0"/>
                  <a:pt x="188369" y="37121"/>
                  <a:pt x="188355" y="82905"/>
                </a:cubicBezTo>
                <a:cubicBezTo>
                  <a:pt x="188369" y="128688"/>
                  <a:pt x="151258" y="165810"/>
                  <a:pt x="105475" y="165810"/>
                </a:cubicBezTo>
                <a:cubicBezTo>
                  <a:pt x="59692" y="165810"/>
                  <a:pt x="22581" y="128688"/>
                  <a:pt x="22595" y="82905"/>
                </a:cubicBezTo>
                <a:moveTo>
                  <a:pt x="150689" y="542496"/>
                </a:moveTo>
                <a:lnTo>
                  <a:pt x="60285" y="542496"/>
                </a:lnTo>
                <a:lnTo>
                  <a:pt x="47713" y="391807"/>
                </a:lnTo>
                <a:lnTo>
                  <a:pt x="0" y="391807"/>
                </a:lnTo>
                <a:lnTo>
                  <a:pt x="0" y="301403"/>
                </a:lnTo>
                <a:cubicBezTo>
                  <a:pt x="5" y="264161"/>
                  <a:pt x="19646" y="229681"/>
                  <a:pt x="51676" y="210682"/>
                </a:cubicBezTo>
                <a:cubicBezTo>
                  <a:pt x="83707" y="191682"/>
                  <a:pt x="123381" y="190978"/>
                  <a:pt x="156066" y="208829"/>
                </a:cubicBezTo>
                <a:moveTo>
                  <a:pt x="418316" y="341829"/>
                </a:moveTo>
                <a:cubicBezTo>
                  <a:pt x="434804" y="405916"/>
                  <a:pt x="406199" y="473088"/>
                  <a:pt x="348570" y="505613"/>
                </a:cubicBezTo>
                <a:cubicBezTo>
                  <a:pt x="290941" y="538138"/>
                  <a:pt x="218652" y="527908"/>
                  <a:pt x="172310" y="480670"/>
                </a:cubicBezTo>
                <a:cubicBezTo>
                  <a:pt x="125968" y="433432"/>
                  <a:pt x="117124" y="360961"/>
                  <a:pt x="150746" y="303965"/>
                </a:cubicBezTo>
                <a:cubicBezTo>
                  <a:pt x="184369" y="246969"/>
                  <a:pt x="252076" y="219656"/>
                  <a:pt x="315836" y="237367"/>
                </a:cubicBezTo>
                <a:moveTo>
                  <a:pt x="276424" y="305271"/>
                </a:moveTo>
                <a:cubicBezTo>
                  <a:pt x="235965" y="305271"/>
                  <a:pt x="203167" y="338069"/>
                  <a:pt x="203167" y="378528"/>
                </a:cubicBezTo>
                <a:cubicBezTo>
                  <a:pt x="203167" y="418987"/>
                  <a:pt x="235965" y="451785"/>
                  <a:pt x="276424" y="451785"/>
                </a:cubicBezTo>
                <a:cubicBezTo>
                  <a:pt x="316883" y="451785"/>
                  <a:pt x="349681" y="418987"/>
                  <a:pt x="349681" y="378528"/>
                </a:cubicBezTo>
                <a:moveTo>
                  <a:pt x="280386" y="378528"/>
                </a:moveTo>
                <a:lnTo>
                  <a:pt x="382112" y="270222"/>
                </a:lnTo>
                <a:moveTo>
                  <a:pt x="382112" y="270222"/>
                </a:moveTo>
                <a:lnTo>
                  <a:pt x="378574" y="185597"/>
                </a:lnTo>
                <a:lnTo>
                  <a:pt x="450628" y="119297"/>
                </a:lnTo>
                <a:lnTo>
                  <a:pt x="450699" y="198192"/>
                </a:lnTo>
                <a:moveTo>
                  <a:pt x="450699" y="198192"/>
                </a:moveTo>
                <a:lnTo>
                  <a:pt x="525301" y="198192"/>
                </a:lnTo>
                <a:lnTo>
                  <a:pt x="459001" y="270222"/>
                </a:lnTo>
                <a:lnTo>
                  <a:pt x="382112" y="270222"/>
                </a:lnTo>
              </a:path>
            </a:pathLst>
          </a:custGeom>
          <a:noFill/>
          <a:ln w="5895">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sp>
        <p:nvSpPr>
          <p:cNvPr id="23" name="Rounded Rectangle 20">
            <a:extLst>
              <a:ext uri="{FF2B5EF4-FFF2-40B4-BE49-F238E27FC236}">
                <a16:creationId xmlns:a16="http://schemas.microsoft.com/office/drawing/2014/main" id="{85AEE30C-EFAF-2E89-3CEF-03F0510E9D45}"/>
              </a:ext>
            </a:extLst>
          </p:cNvPr>
          <p:cNvSpPr/>
          <p:nvPr/>
        </p:nvSpPr>
        <p:spPr>
          <a:xfrm>
            <a:off x="4491863" y="4429428"/>
            <a:ext cx="271235" cy="271235"/>
          </a:xfrm>
          <a:custGeom>
            <a:avLst/>
            <a:gdLst/>
            <a:ahLst/>
            <a:cxnLst/>
            <a:rect l="0" t="0" r="0" b="0"/>
            <a:pathLst>
              <a:path w="271235" h="271235">
                <a:moveTo>
                  <a:pt x="125947" y="165100"/>
                </a:moveTo>
                <a:cubicBezTo>
                  <a:pt x="122108" y="186465"/>
                  <a:pt x="104951" y="202931"/>
                  <a:pt x="83446" y="205888"/>
                </a:cubicBezTo>
                <a:cubicBezTo>
                  <a:pt x="61941" y="208846"/>
                  <a:pt x="40976" y="197623"/>
                  <a:pt x="31512" y="178087"/>
                </a:cubicBezTo>
                <a:cubicBezTo>
                  <a:pt x="22048" y="158551"/>
                  <a:pt x="26236" y="135143"/>
                  <a:pt x="41887" y="120101"/>
                </a:cubicBezTo>
                <a:cubicBezTo>
                  <a:pt x="57538" y="105058"/>
                  <a:pt x="81093" y="101801"/>
                  <a:pt x="100239" y="112032"/>
                </a:cubicBezTo>
                <a:moveTo>
                  <a:pt x="33491" y="130782"/>
                </a:moveTo>
                <a:cubicBezTo>
                  <a:pt x="49128" y="147121"/>
                  <a:pt x="70784" y="156329"/>
                  <a:pt x="93399" y="156255"/>
                </a:cubicBezTo>
                <a:lnTo>
                  <a:pt x="100239" y="156255"/>
                </a:lnTo>
                <a:moveTo>
                  <a:pt x="0" y="271235"/>
                </a:moveTo>
                <a:cubicBezTo>
                  <a:pt x="14595" y="242298"/>
                  <a:pt x="44243" y="224046"/>
                  <a:pt x="76653" y="224046"/>
                </a:cubicBezTo>
                <a:cubicBezTo>
                  <a:pt x="109063" y="224046"/>
                  <a:pt x="138711" y="242298"/>
                  <a:pt x="153307" y="271235"/>
                </a:cubicBezTo>
                <a:moveTo>
                  <a:pt x="271235" y="67337"/>
                </a:moveTo>
                <a:cubicBezTo>
                  <a:pt x="271235" y="104484"/>
                  <a:pt x="234324" y="134674"/>
                  <a:pt x="188685" y="134674"/>
                </a:cubicBezTo>
                <a:cubicBezTo>
                  <a:pt x="178899" y="134678"/>
                  <a:pt x="169164" y="133248"/>
                  <a:pt x="159793" y="130428"/>
                </a:cubicBezTo>
                <a:lnTo>
                  <a:pt x="119933" y="143636"/>
                </a:lnTo>
                <a:lnTo>
                  <a:pt x="130900" y="115452"/>
                </a:lnTo>
                <a:cubicBezTo>
                  <a:pt x="115674" y="104084"/>
                  <a:pt x="106538" y="86334"/>
                  <a:pt x="106135" y="67337"/>
                </a:cubicBezTo>
                <a:cubicBezTo>
                  <a:pt x="106135" y="30189"/>
                  <a:pt x="143047" y="0"/>
                  <a:pt x="188685" y="0"/>
                </a:cubicBezTo>
                <a:cubicBezTo>
                  <a:pt x="234324" y="0"/>
                  <a:pt x="271235" y="30189"/>
                  <a:pt x="271235" y="67337"/>
                </a:cubicBezTo>
                <a:close/>
                <a:moveTo>
                  <a:pt x="219465" y="69459"/>
                </a:moveTo>
                <a:cubicBezTo>
                  <a:pt x="224777" y="64086"/>
                  <a:pt x="226059" y="55918"/>
                  <a:pt x="222649" y="49176"/>
                </a:cubicBezTo>
                <a:lnTo>
                  <a:pt x="222649" y="49176"/>
                </a:lnTo>
                <a:cubicBezTo>
                  <a:pt x="220123" y="44147"/>
                  <a:pt x="215341" y="40631"/>
                  <a:pt x="209788" y="39721"/>
                </a:cubicBezTo>
                <a:cubicBezTo>
                  <a:pt x="204234" y="38811"/>
                  <a:pt x="198580" y="40616"/>
                  <a:pt x="194582" y="44577"/>
                </a:cubicBezTo>
                <a:lnTo>
                  <a:pt x="189747" y="49530"/>
                </a:lnTo>
                <a:lnTo>
                  <a:pt x="184794" y="44577"/>
                </a:lnTo>
                <a:cubicBezTo>
                  <a:pt x="180795" y="40616"/>
                  <a:pt x="175141" y="38811"/>
                  <a:pt x="169588" y="39721"/>
                </a:cubicBezTo>
                <a:cubicBezTo>
                  <a:pt x="164034" y="40631"/>
                  <a:pt x="159252" y="44147"/>
                  <a:pt x="156727" y="49176"/>
                </a:cubicBezTo>
                <a:lnTo>
                  <a:pt x="156727" y="49176"/>
                </a:lnTo>
                <a:cubicBezTo>
                  <a:pt x="153269" y="55931"/>
                  <a:pt x="154607" y="64150"/>
                  <a:pt x="160029" y="69459"/>
                </a:cubicBezTo>
                <a:lnTo>
                  <a:pt x="184558" y="95286"/>
                </a:lnTo>
                <a:cubicBezTo>
                  <a:pt x="185869" y="96648"/>
                  <a:pt x="187679" y="97418"/>
                  <a:pt x="189570" y="97418"/>
                </a:cubicBezTo>
                <a:cubicBezTo>
                  <a:pt x="191461" y="97418"/>
                  <a:pt x="193270" y="96648"/>
                  <a:pt x="194582" y="95286"/>
                </a:cubicBezTo>
                <a:close/>
              </a:path>
            </a:pathLst>
          </a:custGeom>
          <a:noFill/>
          <a:ln w="5895">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3200" noProof="0"/>
          </a:p>
        </p:txBody>
      </p:sp>
      <p:pic>
        <p:nvPicPr>
          <p:cNvPr id="4098" name="Picture 2">
            <a:extLst>
              <a:ext uri="{FF2B5EF4-FFF2-40B4-BE49-F238E27FC236}">
                <a16:creationId xmlns:a16="http://schemas.microsoft.com/office/drawing/2014/main" id="{BEC5A578-424C-5BD3-ECFC-0076329CE26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58328" y="1307144"/>
            <a:ext cx="571141" cy="571141"/>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11">
            <a:extLst>
              <a:ext uri="{FF2B5EF4-FFF2-40B4-BE49-F238E27FC236}">
                <a16:creationId xmlns:a16="http://schemas.microsoft.com/office/drawing/2014/main" id="{18F87ED9-6453-9889-0984-6C9ED6A15A55}"/>
              </a:ext>
            </a:extLst>
          </p:cNvPr>
          <p:cNvSpPr txBox="1"/>
          <p:nvPr/>
        </p:nvSpPr>
        <p:spPr>
          <a:xfrm>
            <a:off x="7280818" y="1903346"/>
            <a:ext cx="726161" cy="153888"/>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000" b="1" noProof="0">
                <a:solidFill>
                  <a:srgbClr val="464646"/>
                </a:solidFill>
                <a:latin typeface="Avenir LT Pro 45Book"/>
              </a:rPr>
              <a:t>Example: Dell</a:t>
            </a:r>
          </a:p>
        </p:txBody>
      </p:sp>
      <p:sp>
        <p:nvSpPr>
          <p:cNvPr id="32" name="TextBox 14">
            <a:extLst>
              <a:ext uri="{FF2B5EF4-FFF2-40B4-BE49-F238E27FC236}">
                <a16:creationId xmlns:a16="http://schemas.microsoft.com/office/drawing/2014/main" id="{3C52DB41-D5BF-AA4D-ABC0-7B957E678AEF}"/>
              </a:ext>
            </a:extLst>
          </p:cNvPr>
          <p:cNvSpPr txBox="1"/>
          <p:nvPr/>
        </p:nvSpPr>
        <p:spPr>
          <a:xfrm>
            <a:off x="6713976" y="2082295"/>
            <a:ext cx="1859845" cy="615553"/>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000" b="0" noProof="0">
                <a:solidFill>
                  <a:srgbClr val="464646"/>
                </a:solidFill>
                <a:latin typeface="Avenir LT Pro 45Book"/>
              </a:rPr>
              <a:t>Dell focused on the delivery system instead of th</a:t>
            </a:r>
            <a:r>
              <a:rPr lang="en-GB" sz="1000" noProof="0">
                <a:solidFill>
                  <a:srgbClr val="464646"/>
                </a:solidFill>
                <a:latin typeface="Avenir LT Pro 45Book"/>
              </a:rPr>
              <a:t>e product, selling directly to customers, enabling high-quality products at low prices</a:t>
            </a:r>
            <a:endParaRPr lang="en-GB" sz="1000" b="0" noProof="0">
              <a:solidFill>
                <a:srgbClr val="464646"/>
              </a:solidFill>
              <a:latin typeface="Avenir LT Pro 45Book"/>
            </a:endParaRPr>
          </a:p>
        </p:txBody>
      </p:sp>
      <p:pic>
        <p:nvPicPr>
          <p:cNvPr id="33" name="Picture 2">
            <a:extLst>
              <a:ext uri="{FF2B5EF4-FFF2-40B4-BE49-F238E27FC236}">
                <a16:creationId xmlns:a16="http://schemas.microsoft.com/office/drawing/2014/main" id="{04DC48B3-3121-B018-9794-B04EECD96EF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1299538" y="1563377"/>
            <a:ext cx="794998" cy="283019"/>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11">
            <a:extLst>
              <a:ext uri="{FF2B5EF4-FFF2-40B4-BE49-F238E27FC236}">
                <a16:creationId xmlns:a16="http://schemas.microsoft.com/office/drawing/2014/main" id="{E795F054-2E20-5957-23B3-B176D3F2AE90}"/>
              </a:ext>
            </a:extLst>
          </p:cNvPr>
          <p:cNvSpPr txBox="1"/>
          <p:nvPr/>
        </p:nvSpPr>
        <p:spPr>
          <a:xfrm>
            <a:off x="1317127" y="1903346"/>
            <a:ext cx="759823" cy="153888"/>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000" b="1" noProof="0">
                <a:solidFill>
                  <a:srgbClr val="464646"/>
                </a:solidFill>
                <a:latin typeface="Avenir LT Pro 45Book"/>
              </a:rPr>
              <a:t>Example: Nike</a:t>
            </a:r>
          </a:p>
        </p:txBody>
      </p:sp>
      <p:sp>
        <p:nvSpPr>
          <p:cNvPr id="35" name="TextBox 14">
            <a:extLst>
              <a:ext uri="{FF2B5EF4-FFF2-40B4-BE49-F238E27FC236}">
                <a16:creationId xmlns:a16="http://schemas.microsoft.com/office/drawing/2014/main" id="{BDA4948F-C598-123E-47BF-D83E3A3AA076}"/>
              </a:ext>
            </a:extLst>
          </p:cNvPr>
          <p:cNvSpPr txBox="1"/>
          <p:nvPr/>
        </p:nvSpPr>
        <p:spPr>
          <a:xfrm>
            <a:off x="529209" y="2082295"/>
            <a:ext cx="2335656" cy="615553"/>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000" b="0" noProof="0">
                <a:solidFill>
                  <a:srgbClr val="464646"/>
                </a:solidFill>
                <a:latin typeface="Avenir LT Pro 45Book"/>
              </a:rPr>
              <a:t>Nike excels in product leadership in sport shoes by continuously pushing performance boundaries through innovation in materials, design, and technology.</a:t>
            </a:r>
          </a:p>
        </p:txBody>
      </p:sp>
      <p:pic>
        <p:nvPicPr>
          <p:cNvPr id="36" name="Picture 2">
            <a:extLst>
              <a:ext uri="{FF2B5EF4-FFF2-40B4-BE49-F238E27FC236}">
                <a16:creationId xmlns:a16="http://schemas.microsoft.com/office/drawing/2014/main" id="{09B0D47C-2CEB-CDC1-C049-559DE707D56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p:blipFill>
        <p:spPr bwMode="auto">
          <a:xfrm>
            <a:off x="2136060" y="5236463"/>
            <a:ext cx="881136" cy="587423"/>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11">
            <a:extLst>
              <a:ext uri="{FF2B5EF4-FFF2-40B4-BE49-F238E27FC236}">
                <a16:creationId xmlns:a16="http://schemas.microsoft.com/office/drawing/2014/main" id="{2B30DA19-3636-9C49-9750-32BE660ED36A}"/>
              </a:ext>
            </a:extLst>
          </p:cNvPr>
          <p:cNvSpPr txBox="1"/>
          <p:nvPr/>
        </p:nvSpPr>
        <p:spPr>
          <a:xfrm>
            <a:off x="1981446" y="5753804"/>
            <a:ext cx="1191032" cy="153888"/>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000" b="1" noProof="0">
                <a:solidFill>
                  <a:srgbClr val="464646"/>
                </a:solidFill>
                <a:latin typeface="Avenir LT Pro 45Book"/>
              </a:rPr>
              <a:t>Example: Home Depot</a:t>
            </a:r>
          </a:p>
        </p:txBody>
      </p:sp>
      <p:sp>
        <p:nvSpPr>
          <p:cNvPr id="38" name="TextBox 14">
            <a:extLst>
              <a:ext uri="{FF2B5EF4-FFF2-40B4-BE49-F238E27FC236}">
                <a16:creationId xmlns:a16="http://schemas.microsoft.com/office/drawing/2014/main" id="{8E318038-34D3-ADA8-552B-C2E34A981E4D}"/>
              </a:ext>
            </a:extLst>
          </p:cNvPr>
          <p:cNvSpPr txBox="1"/>
          <p:nvPr/>
        </p:nvSpPr>
        <p:spPr>
          <a:xfrm>
            <a:off x="1641933" y="5932753"/>
            <a:ext cx="1859845" cy="615553"/>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000" b="0" noProof="0">
                <a:solidFill>
                  <a:srgbClr val="464646"/>
                </a:solidFill>
                <a:latin typeface="Avenir LT Pro 45Book"/>
              </a:rPr>
              <a:t>Home Depot focuses on customers’ needs for information and service, not just inexpensive products. Their forte is individual service.</a:t>
            </a:r>
          </a:p>
        </p:txBody>
      </p:sp>
      <p:sp>
        <p:nvSpPr>
          <p:cNvPr id="3" name="Arrow: Chevron 2">
            <a:extLst>
              <a:ext uri="{FF2B5EF4-FFF2-40B4-BE49-F238E27FC236}">
                <a16:creationId xmlns:a16="http://schemas.microsoft.com/office/drawing/2014/main" id="{AF3E2CCA-D511-8E28-96E5-F78D432BFC69}"/>
              </a:ext>
            </a:extLst>
          </p:cNvPr>
          <p:cNvSpPr/>
          <p:nvPr/>
        </p:nvSpPr>
        <p:spPr>
          <a:xfrm>
            <a:off x="8113996"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39" name="Arrow: Chevron 38">
            <a:extLst>
              <a:ext uri="{FF2B5EF4-FFF2-40B4-BE49-F238E27FC236}">
                <a16:creationId xmlns:a16="http://schemas.microsoft.com/office/drawing/2014/main" id="{BBFC8774-013D-B64D-A9FF-BCF63BFB0817}"/>
              </a:ext>
            </a:extLst>
          </p:cNvPr>
          <p:cNvSpPr/>
          <p:nvPr/>
        </p:nvSpPr>
        <p:spPr>
          <a:xfrm>
            <a:off x="9076754"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40" name="Arrow: Chevron 39">
            <a:extLst>
              <a:ext uri="{FF2B5EF4-FFF2-40B4-BE49-F238E27FC236}">
                <a16:creationId xmlns:a16="http://schemas.microsoft.com/office/drawing/2014/main" id="{41D6F5DB-8C63-F568-7E02-0E895B02E278}"/>
              </a:ext>
            </a:extLst>
          </p:cNvPr>
          <p:cNvSpPr/>
          <p:nvPr/>
        </p:nvSpPr>
        <p:spPr>
          <a:xfrm>
            <a:off x="1003951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41" name="Arrow: Chevron 40">
            <a:extLst>
              <a:ext uri="{FF2B5EF4-FFF2-40B4-BE49-F238E27FC236}">
                <a16:creationId xmlns:a16="http://schemas.microsoft.com/office/drawing/2014/main" id="{C6813779-8F29-75B3-7E58-C01D83D3E82E}"/>
              </a:ext>
            </a:extLst>
          </p:cNvPr>
          <p:cNvSpPr/>
          <p:nvPr/>
        </p:nvSpPr>
        <p:spPr>
          <a:xfrm>
            <a:off x="10999632"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10528791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57F6E8-906D-C8FA-7612-490243A4724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27AB1D1-9BD3-82B4-EBAE-5BDFB409BD1F}"/>
              </a:ext>
            </a:extLst>
          </p:cNvPr>
          <p:cNvGraphicFramePr>
            <a:graphicFrameLocks noChangeAspect="1"/>
          </p:cNvGraphicFramePr>
          <p:nvPr>
            <p:custDataLst>
              <p:tags r:id="rId1"/>
            </p:custDataLst>
            <p:extLst>
              <p:ext uri="{D42A27DB-BD31-4B8C-83A1-F6EECF244321}">
                <p14:modId xmlns:p14="http://schemas.microsoft.com/office/powerpoint/2010/main" val="2355741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C27AB1D1-9BD3-82B4-EBAE-5BDFB409BD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9" name="Rectangle 128">
            <a:extLst>
              <a:ext uri="{FF2B5EF4-FFF2-40B4-BE49-F238E27FC236}">
                <a16:creationId xmlns:a16="http://schemas.microsoft.com/office/drawing/2014/main" id="{6DEF486C-19DC-0E1E-8042-0EDDC54007CC}"/>
              </a:ext>
            </a:extLst>
          </p:cNvPr>
          <p:cNvSpPr/>
          <p:nvPr/>
        </p:nvSpPr>
        <p:spPr>
          <a:xfrm>
            <a:off x="5308051" y="6576852"/>
            <a:ext cx="1654035" cy="251373"/>
          </a:xfrm>
          <a:prstGeom prst="rect">
            <a:avLst/>
          </a:prstGeom>
          <a:solidFill>
            <a:srgbClr val="F1F1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 name="Title 1">
            <a:extLst>
              <a:ext uri="{FF2B5EF4-FFF2-40B4-BE49-F238E27FC236}">
                <a16:creationId xmlns:a16="http://schemas.microsoft.com/office/drawing/2014/main" id="{A209DF69-B468-8C23-2F13-E52A904DB4CC}"/>
              </a:ext>
            </a:extLst>
          </p:cNvPr>
          <p:cNvSpPr>
            <a:spLocks noGrp="1"/>
          </p:cNvSpPr>
          <p:nvPr>
            <p:ph type="title"/>
          </p:nvPr>
        </p:nvSpPr>
        <p:spPr>
          <a:xfrm>
            <a:off x="137786" y="125260"/>
            <a:ext cx="7888614" cy="806754"/>
          </a:xfrm>
        </p:spPr>
        <p:txBody>
          <a:bodyPr vert="horz"/>
          <a:lstStyle/>
          <a:p>
            <a:r>
              <a:rPr lang="en-GB" b="1" noProof="0"/>
              <a:t>The Jobs To Be Done Framework</a:t>
            </a:r>
          </a:p>
        </p:txBody>
      </p:sp>
      <p:sp>
        <p:nvSpPr>
          <p:cNvPr id="10" name="Rectangle 9">
            <a:extLst>
              <a:ext uri="{FF2B5EF4-FFF2-40B4-BE49-F238E27FC236}">
                <a16:creationId xmlns:a16="http://schemas.microsoft.com/office/drawing/2014/main" id="{13608748-3321-23B0-4BD3-2E9009D31C61}"/>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100" noProof="0">
                <a:solidFill>
                  <a:schemeClr val="tx1"/>
                </a:solidFill>
                <a:latin typeface="Avenir Next LT Pro" panose="020B0504020202020204" pitchFamily="34" charset="0"/>
              </a:rPr>
              <a:t>The fundamental insight is that </a:t>
            </a:r>
            <a:r>
              <a:rPr lang="en-GB" sz="1100" b="1" noProof="0">
                <a:solidFill>
                  <a:schemeClr val="tx1"/>
                </a:solidFill>
                <a:latin typeface="Avenir Next LT Pro" panose="020B0504020202020204" pitchFamily="34" charset="0"/>
              </a:rPr>
              <a:t>customers don't buy products—they "hire" them to get a job done</a:t>
            </a:r>
            <a:r>
              <a:rPr lang="en-GB" sz="1100" noProof="0">
                <a:solidFill>
                  <a:schemeClr val="tx1"/>
                </a:solidFill>
                <a:latin typeface="Avenir Next LT Pro" panose="020B0504020202020204" pitchFamily="34" charset="0"/>
              </a:rPr>
              <a:t>. When a product does the job well, customers hire it again. When it fails, they "fire" it and look for alternatives. Correlation-based customer data (demographics, etc.) fails to capture the actual reasons behind purchase decisions.</a:t>
            </a:r>
          </a:p>
          <a:p>
            <a:pPr marL="285750" indent="-285750">
              <a:spcAft>
                <a:spcPts val="600"/>
              </a:spcAft>
              <a:buFont typeface="Arial" panose="020B0604020202020204" pitchFamily="34" charset="0"/>
              <a:buChar char="•"/>
            </a:pPr>
            <a:r>
              <a:rPr lang="en-GB" sz="1100" noProof="0">
                <a:solidFill>
                  <a:schemeClr val="tx1"/>
                </a:solidFill>
                <a:latin typeface="Avenir Next LT Pro" panose="020B0504020202020204" pitchFamily="34" charset="0"/>
              </a:rPr>
              <a:t>The framework transforms value proposition development by: Revealing True Competition, Identifying Emotional Dimensions, Uncovering Hidden Segments, Guiding Feature Prioritisation and Enabling Predictive Innovation.</a:t>
            </a:r>
          </a:p>
        </p:txBody>
      </p:sp>
      <p:sp>
        <p:nvSpPr>
          <p:cNvPr id="27" name="TextBox 26">
            <a:extLst>
              <a:ext uri="{FF2B5EF4-FFF2-40B4-BE49-F238E27FC236}">
                <a16:creationId xmlns:a16="http://schemas.microsoft.com/office/drawing/2014/main" id="{2FE7919D-60EC-5CE7-6062-E6B2A1468F7B}"/>
              </a:ext>
            </a:extLst>
          </p:cNvPr>
          <p:cNvSpPr txBox="1"/>
          <p:nvPr/>
        </p:nvSpPr>
        <p:spPr>
          <a:xfrm>
            <a:off x="9357085" y="6335394"/>
            <a:ext cx="2571750" cy="461665"/>
          </a:xfrm>
          <a:prstGeom prst="rect">
            <a:avLst/>
          </a:prstGeom>
          <a:noFill/>
        </p:spPr>
        <p:txBody>
          <a:bodyPr wrap="square" rtlCol="0">
            <a:spAutoFit/>
          </a:bodyPr>
          <a:lstStyle/>
          <a:p>
            <a:r>
              <a:rPr lang="en-GB" sz="800" i="1" noProof="0">
                <a:latin typeface="Avenir LT Pro 45Book"/>
              </a:rPr>
              <a:t>Source: Know Your Customers' "Jobs to Be Done", Clayton Christensen, 2016; Outcome-Driven Innovation, Anthony </a:t>
            </a:r>
            <a:r>
              <a:rPr lang="en-GB" sz="800" i="1" noProof="0" err="1">
                <a:latin typeface="Avenir LT Pro 45Book"/>
              </a:rPr>
              <a:t>Ulwick</a:t>
            </a:r>
            <a:r>
              <a:rPr lang="en-GB" sz="800" i="1" noProof="0">
                <a:latin typeface="Avenir LT Pro 45Book"/>
              </a:rPr>
              <a:t>, 1991</a:t>
            </a:r>
          </a:p>
        </p:txBody>
      </p:sp>
      <p:sp>
        <p:nvSpPr>
          <p:cNvPr id="18" name="TextBox 22">
            <a:extLst>
              <a:ext uri="{FF2B5EF4-FFF2-40B4-BE49-F238E27FC236}">
                <a16:creationId xmlns:a16="http://schemas.microsoft.com/office/drawing/2014/main" id="{EE973288-6BA8-1917-D132-9AA61FB2F368}"/>
              </a:ext>
            </a:extLst>
          </p:cNvPr>
          <p:cNvSpPr txBox="1"/>
          <p:nvPr/>
        </p:nvSpPr>
        <p:spPr>
          <a:xfrm>
            <a:off x="814515" y="1262823"/>
            <a:ext cx="2864098" cy="215444"/>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400" b="1" noProof="0">
                <a:solidFill>
                  <a:srgbClr val="464646"/>
                </a:solidFill>
                <a:latin typeface="Avenir LT Pro 45Book"/>
              </a:rPr>
              <a:t>The JTBD Framework Architecture</a:t>
            </a:r>
          </a:p>
        </p:txBody>
      </p:sp>
      <p:grpSp>
        <p:nvGrpSpPr>
          <p:cNvPr id="41" name="Group 40">
            <a:extLst>
              <a:ext uri="{FF2B5EF4-FFF2-40B4-BE49-F238E27FC236}">
                <a16:creationId xmlns:a16="http://schemas.microsoft.com/office/drawing/2014/main" id="{DE848790-AACA-A76E-F3A4-5D5F83C4D3BD}"/>
              </a:ext>
            </a:extLst>
          </p:cNvPr>
          <p:cNvGrpSpPr/>
          <p:nvPr/>
        </p:nvGrpSpPr>
        <p:grpSpPr>
          <a:xfrm>
            <a:off x="512436" y="1605309"/>
            <a:ext cx="3315532" cy="2329149"/>
            <a:chOff x="211503" y="2322671"/>
            <a:chExt cx="4577585" cy="3215736"/>
          </a:xfrm>
        </p:grpSpPr>
        <p:grpSp>
          <p:nvGrpSpPr>
            <p:cNvPr id="11" name="Group 10">
              <a:extLst>
                <a:ext uri="{FF2B5EF4-FFF2-40B4-BE49-F238E27FC236}">
                  <a16:creationId xmlns:a16="http://schemas.microsoft.com/office/drawing/2014/main" id="{192EB052-8D2E-398A-782D-724A1D8DF4DC}"/>
                </a:ext>
              </a:extLst>
            </p:cNvPr>
            <p:cNvGrpSpPr/>
            <p:nvPr/>
          </p:nvGrpSpPr>
          <p:grpSpPr>
            <a:xfrm>
              <a:off x="1553732" y="3109785"/>
              <a:ext cx="442915" cy="518214"/>
              <a:chOff x="1856161" y="2177764"/>
              <a:chExt cx="442915" cy="518214"/>
            </a:xfrm>
          </p:grpSpPr>
          <p:sp>
            <p:nvSpPr>
              <p:cNvPr id="39" name="Rounded Rectangle 1">
                <a:extLst>
                  <a:ext uri="{FF2B5EF4-FFF2-40B4-BE49-F238E27FC236}">
                    <a16:creationId xmlns:a16="http://schemas.microsoft.com/office/drawing/2014/main" id="{444EA89C-8BB6-7DD2-61DA-B182315E3DC9}"/>
                  </a:ext>
                </a:extLst>
              </p:cNvPr>
              <p:cNvSpPr/>
              <p:nvPr/>
            </p:nvSpPr>
            <p:spPr>
              <a:xfrm>
                <a:off x="1856161" y="2177764"/>
                <a:ext cx="442915" cy="518214"/>
              </a:xfrm>
              <a:custGeom>
                <a:avLst/>
                <a:gdLst/>
                <a:ahLst/>
                <a:cxnLst/>
                <a:rect l="0" t="0" r="0" b="0"/>
                <a:pathLst>
                  <a:path w="442915" h="518214">
                    <a:moveTo>
                      <a:pt x="62437" y="518214"/>
                    </a:moveTo>
                    <a:lnTo>
                      <a:pt x="0" y="494824"/>
                    </a:lnTo>
                    <a:lnTo>
                      <a:pt x="11694" y="463605"/>
                    </a:lnTo>
                    <a:cubicBezTo>
                      <a:pt x="73327" y="299077"/>
                      <a:pt x="179348" y="156302"/>
                      <a:pt x="315147" y="49818"/>
                    </a:cubicBezTo>
                    <a:lnTo>
                      <a:pt x="289476" y="12881"/>
                    </a:lnTo>
                    <a:lnTo>
                      <a:pt x="442915" y="0"/>
                    </a:lnTo>
                    <a:lnTo>
                      <a:pt x="377351" y="139323"/>
                    </a:lnTo>
                    <a:lnTo>
                      <a:pt x="353266" y="104667"/>
                    </a:lnTo>
                    <a:cubicBezTo>
                      <a:pt x="228399" y="203458"/>
                      <a:pt x="130944" y="335335"/>
                      <a:pt x="74132" y="486995"/>
                    </a:cubicBez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200" noProof="0"/>
              </a:p>
            </p:txBody>
          </p:sp>
          <p:sp>
            <p:nvSpPr>
              <p:cNvPr id="40" name="Rounded Rectangle 2">
                <a:extLst>
                  <a:ext uri="{FF2B5EF4-FFF2-40B4-BE49-F238E27FC236}">
                    <a16:creationId xmlns:a16="http://schemas.microsoft.com/office/drawing/2014/main" id="{646FBF65-821D-CC34-7743-32DEF8705176}"/>
                  </a:ext>
                </a:extLst>
              </p:cNvPr>
              <p:cNvSpPr/>
              <p:nvPr/>
            </p:nvSpPr>
            <p:spPr>
              <a:xfrm>
                <a:off x="1856161" y="2177764"/>
                <a:ext cx="442915" cy="518214"/>
              </a:xfrm>
              <a:custGeom>
                <a:avLst/>
                <a:gdLst/>
                <a:ahLst/>
                <a:cxnLst/>
                <a:rect l="0" t="0" r="0" b="0"/>
                <a:pathLst>
                  <a:path w="442915" h="518214">
                    <a:moveTo>
                      <a:pt x="62437" y="518214"/>
                    </a:moveTo>
                    <a:lnTo>
                      <a:pt x="0" y="494824"/>
                    </a:lnTo>
                    <a:lnTo>
                      <a:pt x="11694" y="463606"/>
                    </a:lnTo>
                    <a:cubicBezTo>
                      <a:pt x="73327" y="299077"/>
                      <a:pt x="179348" y="156302"/>
                      <a:pt x="315147" y="49818"/>
                    </a:cubicBezTo>
                    <a:lnTo>
                      <a:pt x="289476" y="12881"/>
                    </a:lnTo>
                    <a:lnTo>
                      <a:pt x="442915" y="0"/>
                    </a:lnTo>
                    <a:lnTo>
                      <a:pt x="377351" y="139323"/>
                    </a:lnTo>
                    <a:lnTo>
                      <a:pt x="353266" y="104667"/>
                    </a:lnTo>
                    <a:cubicBezTo>
                      <a:pt x="228399" y="203458"/>
                      <a:pt x="130944" y="335335"/>
                      <a:pt x="74132" y="486995"/>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200" noProof="0"/>
              </a:p>
            </p:txBody>
          </p:sp>
        </p:grpSp>
        <p:grpSp>
          <p:nvGrpSpPr>
            <p:cNvPr id="12" name="Group 11">
              <a:extLst>
                <a:ext uri="{FF2B5EF4-FFF2-40B4-BE49-F238E27FC236}">
                  <a16:creationId xmlns:a16="http://schemas.microsoft.com/office/drawing/2014/main" id="{DAE4641A-B1BB-9CE6-E24F-55BDF9A2D14A}"/>
                </a:ext>
              </a:extLst>
            </p:cNvPr>
            <p:cNvGrpSpPr/>
            <p:nvPr/>
          </p:nvGrpSpPr>
          <p:grpSpPr>
            <a:xfrm>
              <a:off x="1460677" y="3762964"/>
              <a:ext cx="249755" cy="651950"/>
              <a:chOff x="1763106" y="2830943"/>
              <a:chExt cx="249755" cy="651950"/>
            </a:xfrm>
          </p:grpSpPr>
          <p:sp>
            <p:nvSpPr>
              <p:cNvPr id="37" name="Rounded Rectangle 4">
                <a:extLst>
                  <a:ext uri="{FF2B5EF4-FFF2-40B4-BE49-F238E27FC236}">
                    <a16:creationId xmlns:a16="http://schemas.microsoft.com/office/drawing/2014/main" id="{0BE578EB-98D7-B24F-C875-D188759019AC}"/>
                  </a:ext>
                </a:extLst>
              </p:cNvPr>
              <p:cNvSpPr/>
              <p:nvPr/>
            </p:nvSpPr>
            <p:spPr>
              <a:xfrm>
                <a:off x="1763106" y="2830943"/>
                <a:ext cx="249755" cy="651950"/>
              </a:xfrm>
              <a:custGeom>
                <a:avLst/>
                <a:gdLst/>
                <a:ahLst/>
                <a:cxnLst/>
                <a:rect l="0" t="0" r="0" b="0"/>
                <a:pathLst>
                  <a:path w="249755" h="651950">
                    <a:moveTo>
                      <a:pt x="192308" y="651950"/>
                    </a:moveTo>
                    <a:lnTo>
                      <a:pt x="175386" y="623227"/>
                    </a:lnTo>
                    <a:cubicBezTo>
                      <a:pt x="92387" y="482338"/>
                      <a:pt x="44786" y="318098"/>
                      <a:pt x="44786" y="142842"/>
                    </a:cubicBezTo>
                    <a:cubicBezTo>
                      <a:pt x="44786" y="138823"/>
                      <a:pt x="44811" y="134810"/>
                      <a:pt x="44861" y="130802"/>
                    </a:cubicBezTo>
                    <a:lnTo>
                      <a:pt x="0" y="127677"/>
                    </a:lnTo>
                    <a:lnTo>
                      <a:pt x="86070" y="0"/>
                    </a:lnTo>
                    <a:lnTo>
                      <a:pt x="153607" y="138378"/>
                    </a:lnTo>
                    <a:lnTo>
                      <a:pt x="111492" y="135444"/>
                    </a:lnTo>
                    <a:cubicBezTo>
                      <a:pt x="111471" y="137907"/>
                      <a:pt x="111461" y="140373"/>
                      <a:pt x="111461" y="142842"/>
                    </a:cubicBezTo>
                    <a:cubicBezTo>
                      <a:pt x="111461" y="305874"/>
                      <a:pt x="155710" y="458469"/>
                      <a:pt x="232834" y="589384"/>
                    </a:cubicBezTo>
                    <a:lnTo>
                      <a:pt x="249755" y="618107"/>
                    </a:lnTo>
                    <a:close/>
                  </a:path>
                </a:pathLst>
              </a:custGeom>
              <a:solidFill>
                <a:srgbClr val="FFAA46"/>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200" noProof="0"/>
              </a:p>
            </p:txBody>
          </p:sp>
          <p:sp>
            <p:nvSpPr>
              <p:cNvPr id="38" name="Rounded Rectangle 5">
                <a:extLst>
                  <a:ext uri="{FF2B5EF4-FFF2-40B4-BE49-F238E27FC236}">
                    <a16:creationId xmlns:a16="http://schemas.microsoft.com/office/drawing/2014/main" id="{99B02040-C39D-00A2-CC15-EA686B996A83}"/>
                  </a:ext>
                </a:extLst>
              </p:cNvPr>
              <p:cNvSpPr/>
              <p:nvPr/>
            </p:nvSpPr>
            <p:spPr>
              <a:xfrm>
                <a:off x="1763106" y="2830943"/>
                <a:ext cx="249755" cy="651950"/>
              </a:xfrm>
              <a:custGeom>
                <a:avLst/>
                <a:gdLst/>
                <a:ahLst/>
                <a:cxnLst/>
                <a:rect l="0" t="0" r="0" b="0"/>
                <a:pathLst>
                  <a:path w="249755" h="651950">
                    <a:moveTo>
                      <a:pt x="192308" y="651950"/>
                    </a:moveTo>
                    <a:lnTo>
                      <a:pt x="175386" y="623227"/>
                    </a:lnTo>
                    <a:cubicBezTo>
                      <a:pt x="92387" y="482338"/>
                      <a:pt x="44786" y="318098"/>
                      <a:pt x="44786" y="142842"/>
                    </a:cubicBezTo>
                    <a:cubicBezTo>
                      <a:pt x="44786" y="138823"/>
                      <a:pt x="44811" y="134810"/>
                      <a:pt x="44861" y="130802"/>
                    </a:cubicBezTo>
                    <a:lnTo>
                      <a:pt x="0" y="127677"/>
                    </a:lnTo>
                    <a:lnTo>
                      <a:pt x="86070" y="0"/>
                    </a:lnTo>
                    <a:lnTo>
                      <a:pt x="153607" y="138378"/>
                    </a:lnTo>
                    <a:lnTo>
                      <a:pt x="111492" y="135444"/>
                    </a:lnTo>
                    <a:cubicBezTo>
                      <a:pt x="111471" y="137907"/>
                      <a:pt x="111461" y="140373"/>
                      <a:pt x="111461" y="142842"/>
                    </a:cubicBezTo>
                    <a:cubicBezTo>
                      <a:pt x="111461" y="305874"/>
                      <a:pt x="155710" y="458469"/>
                      <a:pt x="232834" y="589384"/>
                    </a:cubicBezTo>
                    <a:lnTo>
                      <a:pt x="249755" y="618107"/>
                    </a:ln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200" noProof="0"/>
              </a:p>
            </p:txBody>
          </p:sp>
        </p:grpSp>
        <p:grpSp>
          <p:nvGrpSpPr>
            <p:cNvPr id="13" name="Group 12">
              <a:extLst>
                <a:ext uri="{FF2B5EF4-FFF2-40B4-BE49-F238E27FC236}">
                  <a16:creationId xmlns:a16="http://schemas.microsoft.com/office/drawing/2014/main" id="{4537100B-45C7-C58F-DFB6-90DCC6940887}"/>
                </a:ext>
              </a:extLst>
            </p:cNvPr>
            <p:cNvGrpSpPr/>
            <p:nvPr/>
          </p:nvGrpSpPr>
          <p:grpSpPr>
            <a:xfrm>
              <a:off x="1774870" y="4523615"/>
              <a:ext cx="602442" cy="326842"/>
              <a:chOff x="2077299" y="3591594"/>
              <a:chExt cx="602442" cy="326842"/>
            </a:xfrm>
          </p:grpSpPr>
          <p:sp>
            <p:nvSpPr>
              <p:cNvPr id="35" name="Rounded Rectangle 7">
                <a:extLst>
                  <a:ext uri="{FF2B5EF4-FFF2-40B4-BE49-F238E27FC236}">
                    <a16:creationId xmlns:a16="http://schemas.microsoft.com/office/drawing/2014/main" id="{8C44668B-1508-2CFA-2FB4-102F26F1213A}"/>
                  </a:ext>
                </a:extLst>
              </p:cNvPr>
              <p:cNvSpPr/>
              <p:nvPr/>
            </p:nvSpPr>
            <p:spPr>
              <a:xfrm>
                <a:off x="2077299" y="3591594"/>
                <a:ext cx="602442" cy="326842"/>
              </a:xfrm>
              <a:custGeom>
                <a:avLst/>
                <a:gdLst/>
                <a:ahLst/>
                <a:cxnLst/>
                <a:rect l="0" t="0" r="0" b="0"/>
                <a:pathLst>
                  <a:path w="602442" h="326842">
                    <a:moveTo>
                      <a:pt x="594282" y="326842"/>
                    </a:moveTo>
                    <a:lnTo>
                      <a:pt x="561195" y="322763"/>
                    </a:lnTo>
                    <a:cubicBezTo>
                      <a:pt x="378238" y="300202"/>
                      <a:pt x="211441" y="225508"/>
                      <a:pt x="76142" y="114058"/>
                    </a:cubicBezTo>
                    <a:lnTo>
                      <a:pt x="45597" y="147073"/>
                    </a:lnTo>
                    <a:lnTo>
                      <a:pt x="0" y="0"/>
                    </a:lnTo>
                    <a:lnTo>
                      <a:pt x="150168" y="34049"/>
                    </a:lnTo>
                    <a:lnTo>
                      <a:pt x="121503" y="65030"/>
                    </a:lnTo>
                    <a:cubicBezTo>
                      <a:pt x="246792" y="167326"/>
                      <a:pt x="400702" y="235792"/>
                      <a:pt x="569356" y="256589"/>
                    </a:cubicBezTo>
                    <a:lnTo>
                      <a:pt x="602442" y="260668"/>
                    </a:lnTo>
                    <a:close/>
                  </a:path>
                </a:pathLst>
              </a:custGeom>
              <a:solidFill>
                <a:srgbClr val="FF9920"/>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200" noProof="0"/>
              </a:p>
            </p:txBody>
          </p:sp>
          <p:sp>
            <p:nvSpPr>
              <p:cNvPr id="36" name="Rounded Rectangle 8">
                <a:extLst>
                  <a:ext uri="{FF2B5EF4-FFF2-40B4-BE49-F238E27FC236}">
                    <a16:creationId xmlns:a16="http://schemas.microsoft.com/office/drawing/2014/main" id="{9ADD15B7-800F-A2E1-3BA2-AEFDE8454C30}"/>
                  </a:ext>
                </a:extLst>
              </p:cNvPr>
              <p:cNvSpPr/>
              <p:nvPr/>
            </p:nvSpPr>
            <p:spPr>
              <a:xfrm>
                <a:off x="2077299" y="3591594"/>
                <a:ext cx="602442" cy="326842"/>
              </a:xfrm>
              <a:custGeom>
                <a:avLst/>
                <a:gdLst/>
                <a:ahLst/>
                <a:cxnLst/>
                <a:rect l="0" t="0" r="0" b="0"/>
                <a:pathLst>
                  <a:path w="602442" h="326842">
                    <a:moveTo>
                      <a:pt x="594282" y="326842"/>
                    </a:moveTo>
                    <a:lnTo>
                      <a:pt x="561195" y="322763"/>
                    </a:lnTo>
                    <a:cubicBezTo>
                      <a:pt x="378238" y="300202"/>
                      <a:pt x="211441" y="225508"/>
                      <a:pt x="76142" y="114058"/>
                    </a:cubicBezTo>
                    <a:lnTo>
                      <a:pt x="45597" y="147073"/>
                    </a:lnTo>
                    <a:lnTo>
                      <a:pt x="0" y="0"/>
                    </a:lnTo>
                    <a:lnTo>
                      <a:pt x="150168" y="34049"/>
                    </a:lnTo>
                    <a:lnTo>
                      <a:pt x="121503" y="65030"/>
                    </a:lnTo>
                    <a:cubicBezTo>
                      <a:pt x="246792" y="167326"/>
                      <a:pt x="400702" y="235792"/>
                      <a:pt x="569356" y="256589"/>
                    </a:cubicBezTo>
                    <a:lnTo>
                      <a:pt x="602442" y="260668"/>
                    </a:ln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200" noProof="0"/>
              </a:p>
            </p:txBody>
          </p:sp>
        </p:grpSp>
        <p:grpSp>
          <p:nvGrpSpPr>
            <p:cNvPr id="14" name="Group 13">
              <a:extLst>
                <a:ext uri="{FF2B5EF4-FFF2-40B4-BE49-F238E27FC236}">
                  <a16:creationId xmlns:a16="http://schemas.microsoft.com/office/drawing/2014/main" id="{3E239C27-EACF-088F-1654-C8A2ED31574F}"/>
                </a:ext>
              </a:extLst>
            </p:cNvPr>
            <p:cNvGrpSpPr/>
            <p:nvPr/>
          </p:nvGrpSpPr>
          <p:grpSpPr>
            <a:xfrm>
              <a:off x="2515496" y="4519364"/>
              <a:ext cx="616988" cy="357724"/>
              <a:chOff x="2817925" y="3587343"/>
              <a:chExt cx="616988" cy="357724"/>
            </a:xfrm>
          </p:grpSpPr>
          <p:sp>
            <p:nvSpPr>
              <p:cNvPr id="33" name="Rounded Rectangle 10">
                <a:extLst>
                  <a:ext uri="{FF2B5EF4-FFF2-40B4-BE49-F238E27FC236}">
                    <a16:creationId xmlns:a16="http://schemas.microsoft.com/office/drawing/2014/main" id="{D01FCFDE-5E12-9085-93BA-AB6ADC71785C}"/>
                  </a:ext>
                </a:extLst>
              </p:cNvPr>
              <p:cNvSpPr/>
              <p:nvPr/>
            </p:nvSpPr>
            <p:spPr>
              <a:xfrm>
                <a:off x="2817925" y="3587343"/>
                <a:ext cx="616988" cy="357724"/>
              </a:xfrm>
              <a:custGeom>
                <a:avLst/>
                <a:gdLst/>
                <a:ahLst/>
                <a:cxnLst/>
                <a:rect l="0" t="0" r="0" b="0"/>
                <a:pathLst>
                  <a:path w="616988" h="357724">
                    <a:moveTo>
                      <a:pt x="143495" y="357724"/>
                    </a:moveTo>
                    <a:lnTo>
                      <a:pt x="0" y="301879"/>
                    </a:lnTo>
                    <a:lnTo>
                      <a:pt x="120111" y="205531"/>
                    </a:lnTo>
                    <a:lnTo>
                      <a:pt x="126518" y="247235"/>
                    </a:lnTo>
                    <a:cubicBezTo>
                      <a:pt x="287425" y="212107"/>
                      <a:pt x="431935" y="132988"/>
                      <a:pt x="546802" y="23050"/>
                    </a:cubicBezTo>
                    <a:lnTo>
                      <a:pt x="570887" y="0"/>
                    </a:lnTo>
                    <a:lnTo>
                      <a:pt x="616988" y="48168"/>
                    </a:lnTo>
                    <a:lnTo>
                      <a:pt x="592904" y="71219"/>
                    </a:lnTo>
                    <a:cubicBezTo>
                      <a:pt x="468444" y="190336"/>
                      <a:pt x="311507" y="275897"/>
                      <a:pt x="136663" y="313256"/>
                    </a:cubicBezTo>
                    <a:close/>
                  </a:path>
                </a:pathLst>
              </a:custGeom>
              <a:solidFill>
                <a:srgbClr val="FF8D07"/>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200" noProof="0"/>
              </a:p>
            </p:txBody>
          </p:sp>
          <p:sp>
            <p:nvSpPr>
              <p:cNvPr id="34" name="Rounded Rectangle 11">
                <a:extLst>
                  <a:ext uri="{FF2B5EF4-FFF2-40B4-BE49-F238E27FC236}">
                    <a16:creationId xmlns:a16="http://schemas.microsoft.com/office/drawing/2014/main" id="{F91102D0-2647-263D-F663-D118D79820B8}"/>
                  </a:ext>
                </a:extLst>
              </p:cNvPr>
              <p:cNvSpPr/>
              <p:nvPr/>
            </p:nvSpPr>
            <p:spPr>
              <a:xfrm>
                <a:off x="2817925" y="3587343"/>
                <a:ext cx="616988" cy="357724"/>
              </a:xfrm>
              <a:custGeom>
                <a:avLst/>
                <a:gdLst/>
                <a:ahLst/>
                <a:cxnLst/>
                <a:rect l="0" t="0" r="0" b="0"/>
                <a:pathLst>
                  <a:path w="616988" h="357724">
                    <a:moveTo>
                      <a:pt x="143495" y="357724"/>
                    </a:moveTo>
                    <a:lnTo>
                      <a:pt x="0" y="301879"/>
                    </a:lnTo>
                    <a:lnTo>
                      <a:pt x="120111" y="205531"/>
                    </a:lnTo>
                    <a:lnTo>
                      <a:pt x="126518" y="247235"/>
                    </a:lnTo>
                    <a:cubicBezTo>
                      <a:pt x="287425" y="212107"/>
                      <a:pt x="431935" y="132988"/>
                      <a:pt x="546802" y="23050"/>
                    </a:cubicBezTo>
                    <a:lnTo>
                      <a:pt x="570887" y="0"/>
                    </a:lnTo>
                    <a:lnTo>
                      <a:pt x="616988" y="48168"/>
                    </a:lnTo>
                    <a:lnTo>
                      <a:pt x="592904" y="71219"/>
                    </a:lnTo>
                    <a:cubicBezTo>
                      <a:pt x="468444" y="190336"/>
                      <a:pt x="311507" y="275897"/>
                      <a:pt x="136663" y="313256"/>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200" noProof="0"/>
              </a:p>
            </p:txBody>
          </p:sp>
        </p:grpSp>
        <p:grpSp>
          <p:nvGrpSpPr>
            <p:cNvPr id="15" name="Group 14">
              <a:extLst>
                <a:ext uri="{FF2B5EF4-FFF2-40B4-BE49-F238E27FC236}">
                  <a16:creationId xmlns:a16="http://schemas.microsoft.com/office/drawing/2014/main" id="{5D4346B3-41A5-8E2B-1901-2EDF9AD417C1}"/>
                </a:ext>
              </a:extLst>
            </p:cNvPr>
            <p:cNvGrpSpPr/>
            <p:nvPr/>
          </p:nvGrpSpPr>
          <p:grpSpPr>
            <a:xfrm>
              <a:off x="3207190" y="3781986"/>
              <a:ext cx="193756" cy="646174"/>
              <a:chOff x="3509619" y="2849965"/>
              <a:chExt cx="193756" cy="646174"/>
            </a:xfrm>
          </p:grpSpPr>
          <p:sp>
            <p:nvSpPr>
              <p:cNvPr id="31" name="Rounded Rectangle 13">
                <a:extLst>
                  <a:ext uri="{FF2B5EF4-FFF2-40B4-BE49-F238E27FC236}">
                    <a16:creationId xmlns:a16="http://schemas.microsoft.com/office/drawing/2014/main" id="{1D9E598A-016C-EFC6-6AF2-FE370D7A2215}"/>
                  </a:ext>
                </a:extLst>
              </p:cNvPr>
              <p:cNvSpPr/>
              <p:nvPr/>
            </p:nvSpPr>
            <p:spPr>
              <a:xfrm>
                <a:off x="3509619" y="2849965"/>
                <a:ext cx="193756" cy="646174"/>
              </a:xfrm>
              <a:custGeom>
                <a:avLst/>
                <a:gdLst/>
                <a:ahLst/>
                <a:cxnLst/>
                <a:rect l="0" t="0" r="0" b="0"/>
                <a:pathLst>
                  <a:path w="193756" h="646174">
                    <a:moveTo>
                      <a:pt x="434" y="646174"/>
                    </a:moveTo>
                    <a:lnTo>
                      <a:pt x="0" y="492195"/>
                    </a:lnTo>
                    <a:lnTo>
                      <a:pt x="36602" y="513190"/>
                    </a:lnTo>
                    <a:cubicBezTo>
                      <a:pt x="94525" y="395814"/>
                      <a:pt x="127081" y="263662"/>
                      <a:pt x="127081" y="123821"/>
                    </a:cubicBezTo>
                    <a:cubicBezTo>
                      <a:pt x="127081" y="95366"/>
                      <a:pt x="125733" y="67235"/>
                      <a:pt x="123099" y="39488"/>
                    </a:cubicBezTo>
                    <a:lnTo>
                      <a:pt x="119950" y="6300"/>
                    </a:lnTo>
                    <a:lnTo>
                      <a:pt x="186326" y="0"/>
                    </a:lnTo>
                    <a:lnTo>
                      <a:pt x="189477" y="33189"/>
                    </a:lnTo>
                    <a:cubicBezTo>
                      <a:pt x="192308" y="63027"/>
                      <a:pt x="193756" y="93260"/>
                      <a:pt x="193756" y="123821"/>
                    </a:cubicBezTo>
                    <a:cubicBezTo>
                      <a:pt x="193756" y="275618"/>
                      <a:pt x="158045" y="419161"/>
                      <a:pt x="94542" y="546425"/>
                    </a:cubicBezTo>
                    <a:lnTo>
                      <a:pt x="133565" y="568809"/>
                    </a:lnTo>
                    <a:close/>
                  </a:path>
                </a:pathLst>
              </a:custGeom>
              <a:solidFill>
                <a:srgbClr val="E27F0A"/>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200" noProof="0"/>
              </a:p>
            </p:txBody>
          </p:sp>
          <p:sp>
            <p:nvSpPr>
              <p:cNvPr id="32" name="Rounded Rectangle 14">
                <a:extLst>
                  <a:ext uri="{FF2B5EF4-FFF2-40B4-BE49-F238E27FC236}">
                    <a16:creationId xmlns:a16="http://schemas.microsoft.com/office/drawing/2014/main" id="{3DE0A8C8-A9D7-6C3A-9410-EAC50B203040}"/>
                  </a:ext>
                </a:extLst>
              </p:cNvPr>
              <p:cNvSpPr/>
              <p:nvPr/>
            </p:nvSpPr>
            <p:spPr>
              <a:xfrm>
                <a:off x="3509619" y="2849965"/>
                <a:ext cx="193756" cy="646174"/>
              </a:xfrm>
              <a:custGeom>
                <a:avLst/>
                <a:gdLst/>
                <a:ahLst/>
                <a:cxnLst/>
                <a:rect l="0" t="0" r="0" b="0"/>
                <a:pathLst>
                  <a:path w="193756" h="646174">
                    <a:moveTo>
                      <a:pt x="434" y="646174"/>
                    </a:moveTo>
                    <a:lnTo>
                      <a:pt x="0" y="492195"/>
                    </a:lnTo>
                    <a:lnTo>
                      <a:pt x="36602" y="513190"/>
                    </a:lnTo>
                    <a:cubicBezTo>
                      <a:pt x="94525" y="395814"/>
                      <a:pt x="127081" y="263662"/>
                      <a:pt x="127081" y="123821"/>
                    </a:cubicBezTo>
                    <a:cubicBezTo>
                      <a:pt x="127081" y="95366"/>
                      <a:pt x="125733" y="67235"/>
                      <a:pt x="123099" y="39488"/>
                    </a:cubicBezTo>
                    <a:lnTo>
                      <a:pt x="119950" y="6300"/>
                    </a:lnTo>
                    <a:lnTo>
                      <a:pt x="186326" y="0"/>
                    </a:lnTo>
                    <a:lnTo>
                      <a:pt x="189477" y="33189"/>
                    </a:lnTo>
                    <a:cubicBezTo>
                      <a:pt x="192308" y="63027"/>
                      <a:pt x="193756" y="93260"/>
                      <a:pt x="193756" y="123821"/>
                    </a:cubicBezTo>
                    <a:cubicBezTo>
                      <a:pt x="193756" y="275618"/>
                      <a:pt x="158045" y="419161"/>
                      <a:pt x="94542" y="546425"/>
                    </a:cubicBezTo>
                    <a:lnTo>
                      <a:pt x="133565" y="568809"/>
                    </a:ln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200" noProof="0"/>
              </a:p>
            </p:txBody>
          </p:sp>
        </p:grpSp>
        <p:grpSp>
          <p:nvGrpSpPr>
            <p:cNvPr id="16" name="Group 15">
              <a:extLst>
                <a:ext uri="{FF2B5EF4-FFF2-40B4-BE49-F238E27FC236}">
                  <a16:creationId xmlns:a16="http://schemas.microsoft.com/office/drawing/2014/main" id="{36E25915-D784-D39D-75B2-B374D9221D58}"/>
                </a:ext>
              </a:extLst>
            </p:cNvPr>
            <p:cNvGrpSpPr/>
            <p:nvPr/>
          </p:nvGrpSpPr>
          <p:grpSpPr>
            <a:xfrm>
              <a:off x="2907925" y="3094521"/>
              <a:ext cx="445569" cy="545050"/>
              <a:chOff x="3210354" y="2162500"/>
              <a:chExt cx="445569" cy="545050"/>
            </a:xfrm>
          </p:grpSpPr>
          <p:sp>
            <p:nvSpPr>
              <p:cNvPr id="29" name="Rounded Rectangle 16">
                <a:extLst>
                  <a:ext uri="{FF2B5EF4-FFF2-40B4-BE49-F238E27FC236}">
                    <a16:creationId xmlns:a16="http://schemas.microsoft.com/office/drawing/2014/main" id="{B6751D9A-BE49-9C33-A2A0-1750AE2B487A}"/>
                  </a:ext>
                </a:extLst>
              </p:cNvPr>
              <p:cNvSpPr/>
              <p:nvPr/>
            </p:nvSpPr>
            <p:spPr>
              <a:xfrm>
                <a:off x="3210354" y="2162500"/>
                <a:ext cx="445569" cy="545050"/>
              </a:xfrm>
              <a:custGeom>
                <a:avLst/>
                <a:gdLst/>
                <a:ahLst/>
                <a:cxnLst/>
                <a:rect l="0" t="0" r="0" b="0"/>
                <a:pathLst>
                  <a:path w="445569" h="545050">
                    <a:moveTo>
                      <a:pt x="423589" y="545050"/>
                    </a:moveTo>
                    <a:lnTo>
                      <a:pt x="302594" y="449813"/>
                    </a:lnTo>
                    <a:lnTo>
                      <a:pt x="341770" y="434149"/>
                    </a:lnTo>
                    <a:cubicBezTo>
                      <a:pt x="272065" y="287209"/>
                      <a:pt x="162867" y="162587"/>
                      <a:pt x="27875" y="74035"/>
                    </a:cubicBezTo>
                    <a:lnTo>
                      <a:pt x="0" y="55749"/>
                    </a:lnTo>
                    <a:lnTo>
                      <a:pt x="36571" y="0"/>
                    </a:lnTo>
                    <a:lnTo>
                      <a:pt x="64446" y="18285"/>
                    </a:lnTo>
                    <a:cubicBezTo>
                      <a:pt x="210741" y="114252"/>
                      <a:pt x="328884" y="249617"/>
                      <a:pt x="403792" y="409351"/>
                    </a:cubicBezTo>
                    <a:lnTo>
                      <a:pt x="445569" y="392647"/>
                    </a:lnTo>
                    <a:close/>
                  </a:path>
                </a:pathLst>
              </a:custGeom>
              <a:solidFill>
                <a:srgbClr val="A6681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200" noProof="0"/>
              </a:p>
            </p:txBody>
          </p:sp>
          <p:sp>
            <p:nvSpPr>
              <p:cNvPr id="30" name="Rounded Rectangle 17">
                <a:extLst>
                  <a:ext uri="{FF2B5EF4-FFF2-40B4-BE49-F238E27FC236}">
                    <a16:creationId xmlns:a16="http://schemas.microsoft.com/office/drawing/2014/main" id="{4BEB6B0A-6C86-1A0D-BCE4-B11B50D8B577}"/>
                  </a:ext>
                </a:extLst>
              </p:cNvPr>
              <p:cNvSpPr/>
              <p:nvPr/>
            </p:nvSpPr>
            <p:spPr>
              <a:xfrm>
                <a:off x="3210354" y="2162500"/>
                <a:ext cx="445569" cy="545050"/>
              </a:xfrm>
              <a:custGeom>
                <a:avLst/>
                <a:gdLst/>
                <a:ahLst/>
                <a:cxnLst/>
                <a:rect l="0" t="0" r="0" b="0"/>
                <a:pathLst>
                  <a:path w="445569" h="545050">
                    <a:moveTo>
                      <a:pt x="423589" y="545050"/>
                    </a:moveTo>
                    <a:lnTo>
                      <a:pt x="302594" y="449813"/>
                    </a:lnTo>
                    <a:lnTo>
                      <a:pt x="341770" y="434149"/>
                    </a:lnTo>
                    <a:cubicBezTo>
                      <a:pt x="272065" y="287209"/>
                      <a:pt x="162867" y="162587"/>
                      <a:pt x="27875" y="74035"/>
                    </a:cubicBezTo>
                    <a:lnTo>
                      <a:pt x="0" y="55749"/>
                    </a:lnTo>
                    <a:lnTo>
                      <a:pt x="36571" y="0"/>
                    </a:lnTo>
                    <a:lnTo>
                      <a:pt x="64446" y="18285"/>
                    </a:lnTo>
                    <a:cubicBezTo>
                      <a:pt x="210741" y="114252"/>
                      <a:pt x="328884" y="249617"/>
                      <a:pt x="403792" y="409351"/>
                    </a:cubicBezTo>
                    <a:lnTo>
                      <a:pt x="445569" y="392647"/>
                    </a:ln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200" noProof="0"/>
              </a:p>
            </p:txBody>
          </p:sp>
        </p:grpSp>
        <p:grpSp>
          <p:nvGrpSpPr>
            <p:cNvPr id="17" name="Group 16">
              <a:extLst>
                <a:ext uri="{FF2B5EF4-FFF2-40B4-BE49-F238E27FC236}">
                  <a16:creationId xmlns:a16="http://schemas.microsoft.com/office/drawing/2014/main" id="{641518E0-3BAA-0CAA-C62E-BACB8DF2419A}"/>
                </a:ext>
              </a:extLst>
            </p:cNvPr>
            <p:cNvGrpSpPr/>
            <p:nvPr/>
          </p:nvGrpSpPr>
          <p:grpSpPr>
            <a:xfrm>
              <a:off x="2129613" y="2940744"/>
              <a:ext cx="662432" cy="147460"/>
              <a:chOff x="2432042" y="2008723"/>
              <a:chExt cx="662432" cy="147460"/>
            </a:xfrm>
          </p:grpSpPr>
          <p:sp>
            <p:nvSpPr>
              <p:cNvPr id="26" name="Rounded Rectangle 19">
                <a:extLst>
                  <a:ext uri="{FF2B5EF4-FFF2-40B4-BE49-F238E27FC236}">
                    <a16:creationId xmlns:a16="http://schemas.microsoft.com/office/drawing/2014/main" id="{13CB33D8-0FB3-C1E2-B7DD-16DE1A1320C1}"/>
                  </a:ext>
                </a:extLst>
              </p:cNvPr>
              <p:cNvSpPr/>
              <p:nvPr/>
            </p:nvSpPr>
            <p:spPr>
              <a:xfrm>
                <a:off x="2432042" y="2008723"/>
                <a:ext cx="662432" cy="147460"/>
              </a:xfrm>
              <a:custGeom>
                <a:avLst/>
                <a:gdLst/>
                <a:ahLst/>
                <a:cxnLst/>
                <a:rect l="0" t="0" r="0" b="0"/>
                <a:pathLst>
                  <a:path w="662432" h="147460">
                    <a:moveTo>
                      <a:pt x="323593" y="84007"/>
                    </a:moveTo>
                    <a:cubicBezTo>
                      <a:pt x="228856" y="84007"/>
                      <a:pt x="137672" y="98948"/>
                      <a:pt x="52234" y="126577"/>
                    </a:cubicBezTo>
                    <a:lnTo>
                      <a:pt x="20514" y="136835"/>
                    </a:lnTo>
                    <a:lnTo>
                      <a:pt x="0" y="73394"/>
                    </a:lnTo>
                    <a:lnTo>
                      <a:pt x="31720" y="63137"/>
                    </a:lnTo>
                    <a:cubicBezTo>
                      <a:pt x="123704" y="33390"/>
                      <a:pt x="221806" y="17332"/>
                      <a:pt x="323593" y="17332"/>
                    </a:cubicBezTo>
                    <a:cubicBezTo>
                      <a:pt x="399418" y="17332"/>
                      <a:pt x="473202" y="26244"/>
                      <a:pt x="543940" y="43089"/>
                    </a:cubicBezTo>
                    <a:lnTo>
                      <a:pt x="556893" y="0"/>
                    </a:lnTo>
                    <a:lnTo>
                      <a:pt x="662432" y="112120"/>
                    </a:lnTo>
                    <a:lnTo>
                      <a:pt x="512563" y="147460"/>
                    </a:lnTo>
                    <a:lnTo>
                      <a:pt x="524709" y="107058"/>
                    </a:lnTo>
                    <a:cubicBezTo>
                      <a:pt x="460142" y="91984"/>
                      <a:pt x="392819" y="84007"/>
                      <a:pt x="323593" y="84007"/>
                    </a:cubicBezTo>
                    <a:close/>
                  </a:path>
                </a:pathLst>
              </a:custGeom>
              <a:solidFill>
                <a:srgbClr val="755229"/>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200" noProof="0"/>
              </a:p>
            </p:txBody>
          </p:sp>
          <p:sp>
            <p:nvSpPr>
              <p:cNvPr id="28" name="Rounded Rectangle 20">
                <a:extLst>
                  <a:ext uri="{FF2B5EF4-FFF2-40B4-BE49-F238E27FC236}">
                    <a16:creationId xmlns:a16="http://schemas.microsoft.com/office/drawing/2014/main" id="{6E19FFE2-2AE9-7BE6-F1CB-242EE13C8FCB}"/>
                  </a:ext>
                </a:extLst>
              </p:cNvPr>
              <p:cNvSpPr/>
              <p:nvPr/>
            </p:nvSpPr>
            <p:spPr>
              <a:xfrm>
                <a:off x="2432042" y="2008723"/>
                <a:ext cx="662432" cy="147460"/>
              </a:xfrm>
              <a:custGeom>
                <a:avLst/>
                <a:gdLst/>
                <a:ahLst/>
                <a:cxnLst/>
                <a:rect l="0" t="0" r="0" b="0"/>
                <a:pathLst>
                  <a:path w="662432" h="147460">
                    <a:moveTo>
                      <a:pt x="323593" y="84007"/>
                    </a:moveTo>
                    <a:cubicBezTo>
                      <a:pt x="228856" y="84007"/>
                      <a:pt x="137672" y="98948"/>
                      <a:pt x="52234" y="126577"/>
                    </a:cubicBezTo>
                    <a:lnTo>
                      <a:pt x="20514" y="136835"/>
                    </a:lnTo>
                    <a:lnTo>
                      <a:pt x="0" y="73394"/>
                    </a:lnTo>
                    <a:lnTo>
                      <a:pt x="31720" y="63137"/>
                    </a:lnTo>
                    <a:cubicBezTo>
                      <a:pt x="123704" y="33390"/>
                      <a:pt x="221806" y="17332"/>
                      <a:pt x="323593" y="17332"/>
                    </a:cubicBezTo>
                    <a:cubicBezTo>
                      <a:pt x="399418" y="17332"/>
                      <a:pt x="473202" y="26244"/>
                      <a:pt x="543940" y="43089"/>
                    </a:cubicBezTo>
                    <a:lnTo>
                      <a:pt x="556893" y="0"/>
                    </a:lnTo>
                    <a:lnTo>
                      <a:pt x="662432" y="112120"/>
                    </a:lnTo>
                    <a:lnTo>
                      <a:pt x="512563" y="147460"/>
                    </a:lnTo>
                    <a:lnTo>
                      <a:pt x="524709" y="107058"/>
                    </a:lnTo>
                    <a:cubicBezTo>
                      <a:pt x="460142" y="91984"/>
                      <a:pt x="392819" y="84007"/>
                      <a:pt x="323593" y="84007"/>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200" noProof="0"/>
              </a:p>
            </p:txBody>
          </p:sp>
        </p:grpSp>
        <p:sp>
          <p:nvSpPr>
            <p:cNvPr id="19" name="TextBox 23">
              <a:extLst>
                <a:ext uri="{FF2B5EF4-FFF2-40B4-BE49-F238E27FC236}">
                  <a16:creationId xmlns:a16="http://schemas.microsoft.com/office/drawing/2014/main" id="{AC91809C-0827-426B-E664-E558B2507A73}"/>
                </a:ext>
              </a:extLst>
            </p:cNvPr>
            <p:cNvSpPr txBox="1"/>
            <p:nvPr/>
          </p:nvSpPr>
          <p:spPr>
            <a:xfrm>
              <a:off x="1946109" y="2322671"/>
              <a:ext cx="1133151" cy="46742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100" b="0" noProof="0">
                  <a:solidFill>
                    <a:srgbClr val="464646"/>
                  </a:solidFill>
                  <a:latin typeface="Avenir LT Pro 45Book"/>
                </a:rPr>
                <a:t>Identify Core
Functional Job</a:t>
              </a:r>
            </a:p>
          </p:txBody>
        </p:sp>
        <p:sp>
          <p:nvSpPr>
            <p:cNvPr id="20" name="TextBox 24">
              <a:extLst>
                <a:ext uri="{FF2B5EF4-FFF2-40B4-BE49-F238E27FC236}">
                  <a16:creationId xmlns:a16="http://schemas.microsoft.com/office/drawing/2014/main" id="{5E86943F-8B69-3228-7257-28582A9B755F}"/>
                </a:ext>
              </a:extLst>
            </p:cNvPr>
            <p:cNvSpPr txBox="1"/>
            <p:nvPr/>
          </p:nvSpPr>
          <p:spPr>
            <a:xfrm>
              <a:off x="805351" y="2779871"/>
              <a:ext cx="805600" cy="701136"/>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100" b="0" noProof="0">
                  <a:solidFill>
                    <a:srgbClr val="464646"/>
                  </a:solidFill>
                  <a:latin typeface="Avenir LT Pro 45Book"/>
                </a:rPr>
                <a:t>Evaluate
Financial
Outcomes</a:t>
              </a:r>
            </a:p>
          </p:txBody>
        </p:sp>
        <p:sp>
          <p:nvSpPr>
            <p:cNvPr id="21" name="TextBox 25">
              <a:extLst>
                <a:ext uri="{FF2B5EF4-FFF2-40B4-BE49-F238E27FC236}">
                  <a16:creationId xmlns:a16="http://schemas.microsoft.com/office/drawing/2014/main" id="{EB02862D-2189-FACA-95C8-7CD366CBDCAC}"/>
                </a:ext>
              </a:extLst>
            </p:cNvPr>
            <p:cNvSpPr txBox="1"/>
            <p:nvPr/>
          </p:nvSpPr>
          <p:spPr>
            <a:xfrm>
              <a:off x="3374220" y="3008471"/>
              <a:ext cx="989294" cy="46742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100" b="0" noProof="0">
                  <a:solidFill>
                    <a:srgbClr val="464646"/>
                  </a:solidFill>
                  <a:latin typeface="Avenir LT Pro 45Book"/>
                </a:rPr>
                <a:t>Recognize
Related Jobs</a:t>
              </a:r>
            </a:p>
          </p:txBody>
        </p:sp>
        <p:sp>
          <p:nvSpPr>
            <p:cNvPr id="22" name="TextBox 26">
              <a:extLst>
                <a:ext uri="{FF2B5EF4-FFF2-40B4-BE49-F238E27FC236}">
                  <a16:creationId xmlns:a16="http://schemas.microsoft.com/office/drawing/2014/main" id="{73DA8D46-8C8C-4B18-0855-6BD76441121F}"/>
                </a:ext>
              </a:extLst>
            </p:cNvPr>
            <p:cNvSpPr txBox="1"/>
            <p:nvPr/>
          </p:nvSpPr>
          <p:spPr>
            <a:xfrm>
              <a:off x="211503" y="3922870"/>
              <a:ext cx="1168563" cy="46742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100" b="0" noProof="0">
                  <a:solidFill>
                    <a:srgbClr val="464646"/>
                  </a:solidFill>
                  <a:latin typeface="Avenir LT Pro 45Book"/>
                </a:rPr>
                <a:t>Define Desired
Outcomes</a:t>
              </a:r>
            </a:p>
          </p:txBody>
        </p:sp>
        <p:sp>
          <p:nvSpPr>
            <p:cNvPr id="23" name="TextBox 27">
              <a:extLst>
                <a:ext uri="{FF2B5EF4-FFF2-40B4-BE49-F238E27FC236}">
                  <a16:creationId xmlns:a16="http://schemas.microsoft.com/office/drawing/2014/main" id="{97BD04CD-9101-216F-8216-3AAED4E5464D}"/>
                </a:ext>
              </a:extLst>
            </p:cNvPr>
            <p:cNvSpPr txBox="1"/>
            <p:nvPr/>
          </p:nvSpPr>
          <p:spPr>
            <a:xfrm>
              <a:off x="3602821" y="3922870"/>
              <a:ext cx="1186267" cy="46742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100" b="0" noProof="0">
                  <a:solidFill>
                    <a:srgbClr val="464646"/>
                  </a:solidFill>
                  <a:latin typeface="Avenir LT Pro 45Book"/>
                </a:rPr>
                <a:t>Understand
Emotional Jobs</a:t>
              </a:r>
            </a:p>
          </p:txBody>
        </p:sp>
        <p:sp>
          <p:nvSpPr>
            <p:cNvPr id="24" name="TextBox 28">
              <a:extLst>
                <a:ext uri="{FF2B5EF4-FFF2-40B4-BE49-F238E27FC236}">
                  <a16:creationId xmlns:a16="http://schemas.microsoft.com/office/drawing/2014/main" id="{6264C7F0-3B54-765C-EACA-307650A49E81}"/>
                </a:ext>
              </a:extLst>
            </p:cNvPr>
            <p:cNvSpPr txBox="1"/>
            <p:nvPr/>
          </p:nvSpPr>
          <p:spPr>
            <a:xfrm>
              <a:off x="921521" y="4837271"/>
              <a:ext cx="1053476" cy="701136"/>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100" b="0" noProof="0">
                  <a:solidFill>
                    <a:srgbClr val="464646"/>
                  </a:solidFill>
                  <a:latin typeface="Avenir LT Pro 45Book"/>
                </a:rPr>
                <a:t>Analyse
Consumption
Chain Jobs</a:t>
              </a:r>
            </a:p>
          </p:txBody>
        </p:sp>
        <p:sp>
          <p:nvSpPr>
            <p:cNvPr id="25" name="TextBox 29">
              <a:extLst>
                <a:ext uri="{FF2B5EF4-FFF2-40B4-BE49-F238E27FC236}">
                  <a16:creationId xmlns:a16="http://schemas.microsoft.com/office/drawing/2014/main" id="{FDEA8417-F38E-F3CF-5363-8A6520DD28EE}"/>
                </a:ext>
              </a:extLst>
            </p:cNvPr>
            <p:cNvSpPr txBox="1"/>
            <p:nvPr/>
          </p:nvSpPr>
          <p:spPr>
            <a:xfrm>
              <a:off x="3031321" y="4837271"/>
              <a:ext cx="1192907" cy="46742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100" b="0" noProof="0">
                  <a:solidFill>
                    <a:srgbClr val="464646"/>
                  </a:solidFill>
                  <a:latin typeface="Avenir LT Pro 45Book"/>
                </a:rPr>
                <a:t>Consider Social
Jobs</a:t>
              </a:r>
            </a:p>
          </p:txBody>
        </p:sp>
      </p:grpSp>
      <p:grpSp>
        <p:nvGrpSpPr>
          <p:cNvPr id="42" name="Group 41">
            <a:extLst>
              <a:ext uri="{FF2B5EF4-FFF2-40B4-BE49-F238E27FC236}">
                <a16:creationId xmlns:a16="http://schemas.microsoft.com/office/drawing/2014/main" id="{BE1855FA-C4E7-C8FD-49C7-8C83CC0D7CB9}"/>
              </a:ext>
            </a:extLst>
          </p:cNvPr>
          <p:cNvGrpSpPr/>
          <p:nvPr/>
        </p:nvGrpSpPr>
        <p:grpSpPr>
          <a:xfrm>
            <a:off x="5023162" y="1617313"/>
            <a:ext cx="1075339" cy="1201659"/>
            <a:chOff x="476250" y="1104900"/>
            <a:chExt cx="1568363" cy="1752600"/>
          </a:xfrm>
        </p:grpSpPr>
        <p:sp>
          <p:nvSpPr>
            <p:cNvPr id="75" name="Rounded Rectangle 1">
              <a:extLst>
                <a:ext uri="{FF2B5EF4-FFF2-40B4-BE49-F238E27FC236}">
                  <a16:creationId xmlns:a16="http://schemas.microsoft.com/office/drawing/2014/main" id="{A2A070E7-2085-B644-B7A3-EB39D225FE77}"/>
                </a:ext>
              </a:extLst>
            </p:cNvPr>
            <p:cNvSpPr/>
            <p:nvPr/>
          </p:nvSpPr>
          <p:spPr>
            <a:xfrm>
              <a:off x="885825" y="2095500"/>
              <a:ext cx="752475" cy="762000"/>
            </a:xfrm>
            <a:custGeom>
              <a:avLst/>
              <a:gdLst/>
              <a:ahLst/>
              <a:cxnLst/>
              <a:rect l="0" t="0" r="0" b="0"/>
              <a:pathLst>
                <a:path w="752475" h="762000">
                  <a:moveTo>
                    <a:pt x="0" y="381000"/>
                  </a:moveTo>
                  <a:cubicBezTo>
                    <a:pt x="0" y="170579"/>
                    <a:pt x="168445" y="0"/>
                    <a:pt x="376237" y="0"/>
                  </a:cubicBezTo>
                  <a:cubicBezTo>
                    <a:pt x="584029" y="0"/>
                    <a:pt x="752475" y="170579"/>
                    <a:pt x="752475" y="381000"/>
                  </a:cubicBezTo>
                  <a:cubicBezTo>
                    <a:pt x="752475" y="591420"/>
                    <a:pt x="584029" y="762000"/>
                    <a:pt x="376237" y="762000"/>
                  </a:cubicBezTo>
                  <a:cubicBezTo>
                    <a:pt x="168445" y="762000"/>
                    <a:pt x="0" y="591420"/>
                    <a:pt x="0" y="381000"/>
                  </a:cubicBezTo>
                  <a:close/>
                </a:path>
              </a:pathLst>
            </a:custGeom>
            <a:solidFill>
              <a:srgbClr val="BA7019"/>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76" name="Rounded Rectangle 2">
              <a:extLst>
                <a:ext uri="{FF2B5EF4-FFF2-40B4-BE49-F238E27FC236}">
                  <a16:creationId xmlns:a16="http://schemas.microsoft.com/office/drawing/2014/main" id="{4C1A5A02-D260-76CA-06DF-61B995B8F0CA}"/>
                </a:ext>
              </a:extLst>
            </p:cNvPr>
            <p:cNvSpPr/>
            <p:nvPr/>
          </p:nvSpPr>
          <p:spPr>
            <a:xfrm>
              <a:off x="952500" y="2162175"/>
              <a:ext cx="619125" cy="628650"/>
            </a:xfrm>
            <a:custGeom>
              <a:avLst/>
              <a:gdLst/>
              <a:ahLst/>
              <a:cxnLst/>
              <a:rect l="0" t="0" r="0" b="0"/>
              <a:pathLst>
                <a:path w="619125" h="628650">
                  <a:moveTo>
                    <a:pt x="0" y="314325"/>
                  </a:moveTo>
                  <a:cubicBezTo>
                    <a:pt x="0" y="140869"/>
                    <a:pt x="138455" y="0"/>
                    <a:pt x="309562" y="0"/>
                  </a:cubicBezTo>
                  <a:cubicBezTo>
                    <a:pt x="480669" y="0"/>
                    <a:pt x="619125" y="140869"/>
                    <a:pt x="619125" y="314325"/>
                  </a:cubicBezTo>
                  <a:cubicBezTo>
                    <a:pt x="619125" y="487780"/>
                    <a:pt x="480669" y="628650"/>
                    <a:pt x="309562" y="628650"/>
                  </a:cubicBezTo>
                  <a:cubicBezTo>
                    <a:pt x="138455" y="628650"/>
                    <a:pt x="0" y="487780"/>
                    <a:pt x="0" y="314325"/>
                  </a:cubicBezTo>
                  <a:close/>
                </a:path>
              </a:pathLst>
            </a:custGeom>
            <a:solidFill>
              <a:srgbClr val="BA7019"/>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77" name="Rounded Rectangle 3">
              <a:extLst>
                <a:ext uri="{FF2B5EF4-FFF2-40B4-BE49-F238E27FC236}">
                  <a16:creationId xmlns:a16="http://schemas.microsoft.com/office/drawing/2014/main" id="{716D75FA-B576-7854-C4F6-AECCFDAED7D7}"/>
                </a:ext>
              </a:extLst>
            </p:cNvPr>
            <p:cNvSpPr/>
            <p:nvPr/>
          </p:nvSpPr>
          <p:spPr>
            <a:xfrm>
              <a:off x="476250" y="1104900"/>
              <a:ext cx="768916" cy="1173232"/>
            </a:xfrm>
            <a:custGeom>
              <a:avLst/>
              <a:gdLst/>
              <a:ahLst/>
              <a:cxnLst/>
              <a:rect l="0" t="0" r="0" b="0"/>
              <a:pathLst>
                <a:path w="768916" h="1173232">
                  <a:moveTo>
                    <a:pt x="0" y="145109"/>
                  </a:moveTo>
                  <a:lnTo>
                    <a:pt x="321166" y="0"/>
                  </a:lnTo>
                  <a:lnTo>
                    <a:pt x="768916" y="990981"/>
                  </a:lnTo>
                  <a:cubicBezTo>
                    <a:pt x="639956" y="996753"/>
                    <a:pt x="527865" y="1068266"/>
                    <a:pt x="464529" y="1173232"/>
                  </a:cubicBezTo>
                  <a:close/>
                </a:path>
              </a:pathLst>
            </a:custGeom>
            <a:solidFill>
              <a:srgbClr val="BA7019"/>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78" name="Rounded Rectangle 4">
              <a:extLst>
                <a:ext uri="{FF2B5EF4-FFF2-40B4-BE49-F238E27FC236}">
                  <a16:creationId xmlns:a16="http://schemas.microsoft.com/office/drawing/2014/main" id="{47DD5D27-33D0-ADD5-771D-FC5B46D02BEF}"/>
                </a:ext>
              </a:extLst>
            </p:cNvPr>
            <p:cNvSpPr/>
            <p:nvPr/>
          </p:nvSpPr>
          <p:spPr>
            <a:xfrm>
              <a:off x="1275759" y="1104900"/>
              <a:ext cx="768854" cy="1170155"/>
            </a:xfrm>
            <a:custGeom>
              <a:avLst/>
              <a:gdLst/>
              <a:ahLst/>
              <a:cxnLst/>
              <a:rect l="0" t="0" r="0" b="0"/>
              <a:pathLst>
                <a:path w="768854" h="1170155">
                  <a:moveTo>
                    <a:pt x="447689" y="0"/>
                  </a:moveTo>
                  <a:lnTo>
                    <a:pt x="768854" y="145109"/>
                  </a:lnTo>
                  <a:lnTo>
                    <a:pt x="305712" y="1170155"/>
                  </a:lnTo>
                  <a:cubicBezTo>
                    <a:pt x="241523" y="1066009"/>
                    <a:pt x="129039" y="995524"/>
                    <a:pt x="0" y="990847"/>
                  </a:cubicBezTo>
                  <a:close/>
                </a:path>
              </a:pathLst>
            </a:custGeom>
            <a:solidFill>
              <a:srgbClr val="BA7019"/>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79" name="Rounded Rectangle 5">
              <a:extLst>
                <a:ext uri="{FF2B5EF4-FFF2-40B4-BE49-F238E27FC236}">
                  <a16:creationId xmlns:a16="http://schemas.microsoft.com/office/drawing/2014/main" id="{C85E2767-B1DB-429D-5E31-399D1402D0CA}"/>
                </a:ext>
              </a:extLst>
            </p:cNvPr>
            <p:cNvSpPr/>
            <p:nvPr/>
          </p:nvSpPr>
          <p:spPr>
            <a:xfrm>
              <a:off x="800100" y="1104900"/>
              <a:ext cx="923924" cy="352425"/>
            </a:xfrm>
            <a:custGeom>
              <a:avLst/>
              <a:gdLst/>
              <a:ahLst/>
              <a:cxnLst/>
              <a:rect l="0" t="0" r="0" b="0"/>
              <a:pathLst>
                <a:path w="923924" h="352425">
                  <a:moveTo>
                    <a:pt x="923348" y="0"/>
                  </a:moveTo>
                  <a:lnTo>
                    <a:pt x="923924" y="0"/>
                  </a:lnTo>
                  <a:lnTo>
                    <a:pt x="923924" y="260"/>
                  </a:lnTo>
                  <a:lnTo>
                    <a:pt x="923348" y="0"/>
                  </a:lnTo>
                  <a:lnTo>
                    <a:pt x="764116" y="352425"/>
                  </a:lnTo>
                  <a:lnTo>
                    <a:pt x="156548" y="352425"/>
                  </a:lnTo>
                  <a:lnTo>
                    <a:pt x="0" y="5939"/>
                  </a:lnTo>
                  <a:lnTo>
                    <a:pt x="0" y="0"/>
                  </a:lnTo>
                  <a:close/>
                </a:path>
              </a:pathLst>
            </a:custGeom>
            <a:solidFill>
              <a:srgbClr val="BA7019"/>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80" name="Rounded Rectangle 6">
              <a:extLst>
                <a:ext uri="{FF2B5EF4-FFF2-40B4-BE49-F238E27FC236}">
                  <a16:creationId xmlns:a16="http://schemas.microsoft.com/office/drawing/2014/main" id="{B6252D60-F6A7-BE86-7FA0-B1A681805934}"/>
                </a:ext>
              </a:extLst>
            </p:cNvPr>
            <p:cNvSpPr/>
            <p:nvPr/>
          </p:nvSpPr>
          <p:spPr>
            <a:xfrm>
              <a:off x="885825" y="2095500"/>
              <a:ext cx="752475" cy="762000"/>
            </a:xfrm>
            <a:custGeom>
              <a:avLst/>
              <a:gdLst/>
              <a:ahLst/>
              <a:cxnLst/>
              <a:rect l="0" t="0" r="0" b="0"/>
              <a:pathLst>
                <a:path w="752475" h="762000">
                  <a:moveTo>
                    <a:pt x="0" y="381000"/>
                  </a:moveTo>
                  <a:cubicBezTo>
                    <a:pt x="0" y="170579"/>
                    <a:pt x="168445" y="0"/>
                    <a:pt x="376237" y="0"/>
                  </a:cubicBezTo>
                  <a:cubicBezTo>
                    <a:pt x="584029" y="0"/>
                    <a:pt x="752475" y="170579"/>
                    <a:pt x="752475" y="381000"/>
                  </a:cubicBezTo>
                  <a:cubicBezTo>
                    <a:pt x="752475" y="591420"/>
                    <a:pt x="584029" y="762000"/>
                    <a:pt x="376237" y="762000"/>
                  </a:cubicBezTo>
                  <a:cubicBezTo>
                    <a:pt x="168445" y="762000"/>
                    <a:pt x="0" y="591420"/>
                    <a:pt x="0" y="381000"/>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81" name="Rounded Rectangle 7">
              <a:extLst>
                <a:ext uri="{FF2B5EF4-FFF2-40B4-BE49-F238E27FC236}">
                  <a16:creationId xmlns:a16="http://schemas.microsoft.com/office/drawing/2014/main" id="{1C772EC2-59C3-9784-DD7D-3E19AE39F37D}"/>
                </a:ext>
              </a:extLst>
            </p:cNvPr>
            <p:cNvSpPr/>
            <p:nvPr/>
          </p:nvSpPr>
          <p:spPr>
            <a:xfrm>
              <a:off x="952500" y="2162175"/>
              <a:ext cx="619125" cy="628650"/>
            </a:xfrm>
            <a:custGeom>
              <a:avLst/>
              <a:gdLst/>
              <a:ahLst/>
              <a:cxnLst/>
              <a:rect l="0" t="0" r="0" b="0"/>
              <a:pathLst>
                <a:path w="619125" h="628650">
                  <a:moveTo>
                    <a:pt x="0" y="314325"/>
                  </a:moveTo>
                  <a:cubicBezTo>
                    <a:pt x="0" y="140869"/>
                    <a:pt x="138455" y="0"/>
                    <a:pt x="309562" y="0"/>
                  </a:cubicBezTo>
                  <a:cubicBezTo>
                    <a:pt x="480669" y="0"/>
                    <a:pt x="619125" y="140869"/>
                    <a:pt x="619125" y="314325"/>
                  </a:cubicBezTo>
                  <a:cubicBezTo>
                    <a:pt x="619125" y="487780"/>
                    <a:pt x="480669" y="628650"/>
                    <a:pt x="309562" y="628650"/>
                  </a:cubicBezTo>
                  <a:cubicBezTo>
                    <a:pt x="138455" y="628650"/>
                    <a:pt x="0" y="487780"/>
                    <a:pt x="0" y="314325"/>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82" name="Rounded Rectangle 8">
              <a:extLst>
                <a:ext uri="{FF2B5EF4-FFF2-40B4-BE49-F238E27FC236}">
                  <a16:creationId xmlns:a16="http://schemas.microsoft.com/office/drawing/2014/main" id="{037E12FF-76F6-05AD-C148-9FB88A06FB42}"/>
                </a:ext>
              </a:extLst>
            </p:cNvPr>
            <p:cNvSpPr/>
            <p:nvPr/>
          </p:nvSpPr>
          <p:spPr>
            <a:xfrm>
              <a:off x="476250" y="1104900"/>
              <a:ext cx="768916" cy="1173229"/>
            </a:xfrm>
            <a:custGeom>
              <a:avLst/>
              <a:gdLst/>
              <a:ahLst/>
              <a:cxnLst/>
              <a:rect l="0" t="0" r="0" b="0"/>
              <a:pathLst>
                <a:path w="768916" h="1173229">
                  <a:moveTo>
                    <a:pt x="0" y="145109"/>
                  </a:moveTo>
                  <a:lnTo>
                    <a:pt x="321166" y="0"/>
                  </a:lnTo>
                  <a:lnTo>
                    <a:pt x="768916" y="990977"/>
                  </a:lnTo>
                  <a:cubicBezTo>
                    <a:pt x="639956" y="996749"/>
                    <a:pt x="527865" y="1068262"/>
                    <a:pt x="464529" y="1173229"/>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83" name="Rounded Rectangle 9">
              <a:extLst>
                <a:ext uri="{FF2B5EF4-FFF2-40B4-BE49-F238E27FC236}">
                  <a16:creationId xmlns:a16="http://schemas.microsoft.com/office/drawing/2014/main" id="{B083DD55-6596-8C55-F445-FF76E6D9F347}"/>
                </a:ext>
              </a:extLst>
            </p:cNvPr>
            <p:cNvSpPr/>
            <p:nvPr/>
          </p:nvSpPr>
          <p:spPr>
            <a:xfrm>
              <a:off x="1275759" y="1104900"/>
              <a:ext cx="768854" cy="1170157"/>
            </a:xfrm>
            <a:custGeom>
              <a:avLst/>
              <a:gdLst/>
              <a:ahLst/>
              <a:cxnLst/>
              <a:rect l="0" t="0" r="0" b="0"/>
              <a:pathLst>
                <a:path w="768854" h="1170157">
                  <a:moveTo>
                    <a:pt x="447689" y="0"/>
                  </a:moveTo>
                  <a:lnTo>
                    <a:pt x="768854" y="145109"/>
                  </a:lnTo>
                  <a:lnTo>
                    <a:pt x="305712" y="1170157"/>
                  </a:lnTo>
                  <a:cubicBezTo>
                    <a:pt x="241523" y="1066006"/>
                    <a:pt x="129039" y="995523"/>
                    <a:pt x="0" y="990847"/>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84" name="Rounded Rectangle 10">
              <a:extLst>
                <a:ext uri="{FF2B5EF4-FFF2-40B4-BE49-F238E27FC236}">
                  <a16:creationId xmlns:a16="http://schemas.microsoft.com/office/drawing/2014/main" id="{3E004E18-E129-DC88-B095-A8D1ABBBA333}"/>
                </a:ext>
              </a:extLst>
            </p:cNvPr>
            <p:cNvSpPr/>
            <p:nvPr/>
          </p:nvSpPr>
          <p:spPr>
            <a:xfrm>
              <a:off x="800100" y="1104900"/>
              <a:ext cx="923924" cy="352425"/>
            </a:xfrm>
            <a:custGeom>
              <a:avLst/>
              <a:gdLst/>
              <a:ahLst/>
              <a:cxnLst/>
              <a:rect l="0" t="0" r="0" b="0"/>
              <a:pathLst>
                <a:path w="923924" h="352425">
                  <a:moveTo>
                    <a:pt x="923348" y="0"/>
                  </a:moveTo>
                  <a:lnTo>
                    <a:pt x="923924" y="0"/>
                  </a:lnTo>
                  <a:lnTo>
                    <a:pt x="923924" y="260"/>
                  </a:lnTo>
                  <a:lnTo>
                    <a:pt x="923348" y="0"/>
                  </a:lnTo>
                  <a:lnTo>
                    <a:pt x="764116" y="352425"/>
                  </a:lnTo>
                  <a:lnTo>
                    <a:pt x="156548" y="352425"/>
                  </a:lnTo>
                  <a:lnTo>
                    <a:pt x="0" y="5939"/>
                  </a:lnTo>
                  <a:lnTo>
                    <a:pt x="0" y="0"/>
                  </a:ln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grpSp>
      <p:grpSp>
        <p:nvGrpSpPr>
          <p:cNvPr id="43" name="Group 42">
            <a:extLst>
              <a:ext uri="{FF2B5EF4-FFF2-40B4-BE49-F238E27FC236}">
                <a16:creationId xmlns:a16="http://schemas.microsoft.com/office/drawing/2014/main" id="{E3877850-23F4-C582-C50B-BE61CB7B1DE7}"/>
              </a:ext>
            </a:extLst>
          </p:cNvPr>
          <p:cNvGrpSpPr/>
          <p:nvPr/>
        </p:nvGrpSpPr>
        <p:grpSpPr>
          <a:xfrm>
            <a:off x="6274813" y="1617313"/>
            <a:ext cx="1075339" cy="1201659"/>
            <a:chOff x="2301916" y="1104900"/>
            <a:chExt cx="1568363" cy="1752600"/>
          </a:xfrm>
        </p:grpSpPr>
        <p:sp>
          <p:nvSpPr>
            <p:cNvPr id="65" name="Rounded Rectangle 12">
              <a:extLst>
                <a:ext uri="{FF2B5EF4-FFF2-40B4-BE49-F238E27FC236}">
                  <a16:creationId xmlns:a16="http://schemas.microsoft.com/office/drawing/2014/main" id="{C91BC351-FC71-BFEA-6DD1-11300858BC31}"/>
                </a:ext>
              </a:extLst>
            </p:cNvPr>
            <p:cNvSpPr/>
            <p:nvPr/>
          </p:nvSpPr>
          <p:spPr>
            <a:xfrm>
              <a:off x="2711491" y="2095500"/>
              <a:ext cx="752475" cy="762000"/>
            </a:xfrm>
            <a:custGeom>
              <a:avLst/>
              <a:gdLst/>
              <a:ahLst/>
              <a:cxnLst/>
              <a:rect l="0" t="0" r="0" b="0"/>
              <a:pathLst>
                <a:path w="752475" h="762000">
                  <a:moveTo>
                    <a:pt x="0" y="381000"/>
                  </a:moveTo>
                  <a:cubicBezTo>
                    <a:pt x="0" y="170579"/>
                    <a:pt x="168445" y="0"/>
                    <a:pt x="376237" y="0"/>
                  </a:cubicBezTo>
                  <a:cubicBezTo>
                    <a:pt x="584029" y="0"/>
                    <a:pt x="752475" y="170579"/>
                    <a:pt x="752475" y="381000"/>
                  </a:cubicBezTo>
                  <a:cubicBezTo>
                    <a:pt x="752475" y="591420"/>
                    <a:pt x="584029" y="762000"/>
                    <a:pt x="376237" y="762000"/>
                  </a:cubicBezTo>
                  <a:cubicBezTo>
                    <a:pt x="168445" y="762000"/>
                    <a:pt x="0" y="591420"/>
                    <a:pt x="0" y="381000"/>
                  </a:cubicBezTo>
                  <a:close/>
                </a:path>
              </a:pathLst>
            </a:custGeom>
            <a:solidFill>
              <a:srgbClr val="FF9518"/>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66" name="Rounded Rectangle 13">
              <a:extLst>
                <a:ext uri="{FF2B5EF4-FFF2-40B4-BE49-F238E27FC236}">
                  <a16:creationId xmlns:a16="http://schemas.microsoft.com/office/drawing/2014/main" id="{004219D1-5DAB-4120-8CED-42DE2DE14140}"/>
                </a:ext>
              </a:extLst>
            </p:cNvPr>
            <p:cNvSpPr/>
            <p:nvPr/>
          </p:nvSpPr>
          <p:spPr>
            <a:xfrm>
              <a:off x="2778166" y="2162175"/>
              <a:ext cx="619125" cy="628650"/>
            </a:xfrm>
            <a:custGeom>
              <a:avLst/>
              <a:gdLst/>
              <a:ahLst/>
              <a:cxnLst/>
              <a:rect l="0" t="0" r="0" b="0"/>
              <a:pathLst>
                <a:path w="619125" h="628650">
                  <a:moveTo>
                    <a:pt x="0" y="314325"/>
                  </a:moveTo>
                  <a:cubicBezTo>
                    <a:pt x="0" y="140869"/>
                    <a:pt x="138455" y="0"/>
                    <a:pt x="309562" y="0"/>
                  </a:cubicBezTo>
                  <a:cubicBezTo>
                    <a:pt x="480669" y="0"/>
                    <a:pt x="619125" y="140869"/>
                    <a:pt x="619125" y="314325"/>
                  </a:cubicBezTo>
                  <a:cubicBezTo>
                    <a:pt x="619125" y="487780"/>
                    <a:pt x="480669" y="628650"/>
                    <a:pt x="309562" y="628650"/>
                  </a:cubicBezTo>
                  <a:cubicBezTo>
                    <a:pt x="138455" y="628650"/>
                    <a:pt x="0" y="487780"/>
                    <a:pt x="0" y="314325"/>
                  </a:cubicBezTo>
                  <a:close/>
                </a:path>
              </a:pathLst>
            </a:custGeom>
            <a:solidFill>
              <a:srgbClr val="FF9518"/>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67" name="Rounded Rectangle 14">
              <a:extLst>
                <a:ext uri="{FF2B5EF4-FFF2-40B4-BE49-F238E27FC236}">
                  <a16:creationId xmlns:a16="http://schemas.microsoft.com/office/drawing/2014/main" id="{21806BB3-F541-FF3C-ADDE-70E677F010C5}"/>
                </a:ext>
              </a:extLst>
            </p:cNvPr>
            <p:cNvSpPr/>
            <p:nvPr/>
          </p:nvSpPr>
          <p:spPr>
            <a:xfrm>
              <a:off x="2301916" y="1104900"/>
              <a:ext cx="768916" cy="1173232"/>
            </a:xfrm>
            <a:custGeom>
              <a:avLst/>
              <a:gdLst/>
              <a:ahLst/>
              <a:cxnLst/>
              <a:rect l="0" t="0" r="0" b="0"/>
              <a:pathLst>
                <a:path w="768916" h="1173232">
                  <a:moveTo>
                    <a:pt x="0" y="145109"/>
                  </a:moveTo>
                  <a:lnTo>
                    <a:pt x="321166" y="0"/>
                  </a:lnTo>
                  <a:lnTo>
                    <a:pt x="768916" y="990981"/>
                  </a:lnTo>
                  <a:cubicBezTo>
                    <a:pt x="639956" y="996753"/>
                    <a:pt x="527865" y="1068266"/>
                    <a:pt x="464529" y="1173232"/>
                  </a:cubicBezTo>
                  <a:close/>
                </a:path>
              </a:pathLst>
            </a:custGeom>
            <a:solidFill>
              <a:srgbClr val="FF9518"/>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68" name="Rounded Rectangle 15">
              <a:extLst>
                <a:ext uri="{FF2B5EF4-FFF2-40B4-BE49-F238E27FC236}">
                  <a16:creationId xmlns:a16="http://schemas.microsoft.com/office/drawing/2014/main" id="{AB21B6FC-33BB-119A-D41D-8660D7EF5FA4}"/>
                </a:ext>
              </a:extLst>
            </p:cNvPr>
            <p:cNvSpPr/>
            <p:nvPr/>
          </p:nvSpPr>
          <p:spPr>
            <a:xfrm>
              <a:off x="3101425" y="1104900"/>
              <a:ext cx="768854" cy="1170155"/>
            </a:xfrm>
            <a:custGeom>
              <a:avLst/>
              <a:gdLst/>
              <a:ahLst/>
              <a:cxnLst/>
              <a:rect l="0" t="0" r="0" b="0"/>
              <a:pathLst>
                <a:path w="768854" h="1170155">
                  <a:moveTo>
                    <a:pt x="447689" y="0"/>
                  </a:moveTo>
                  <a:lnTo>
                    <a:pt x="768854" y="145109"/>
                  </a:lnTo>
                  <a:lnTo>
                    <a:pt x="305712" y="1170155"/>
                  </a:lnTo>
                  <a:cubicBezTo>
                    <a:pt x="241523" y="1066009"/>
                    <a:pt x="129039" y="995524"/>
                    <a:pt x="0" y="990847"/>
                  </a:cubicBezTo>
                  <a:close/>
                </a:path>
              </a:pathLst>
            </a:custGeom>
            <a:solidFill>
              <a:srgbClr val="FF9518"/>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69" name="Rounded Rectangle 16">
              <a:extLst>
                <a:ext uri="{FF2B5EF4-FFF2-40B4-BE49-F238E27FC236}">
                  <a16:creationId xmlns:a16="http://schemas.microsoft.com/office/drawing/2014/main" id="{0888FC6D-7C0A-6203-1EEB-7950366DC6D9}"/>
                </a:ext>
              </a:extLst>
            </p:cNvPr>
            <p:cNvSpPr/>
            <p:nvPr/>
          </p:nvSpPr>
          <p:spPr>
            <a:xfrm>
              <a:off x="2625766" y="1104900"/>
              <a:ext cx="923925" cy="352425"/>
            </a:xfrm>
            <a:custGeom>
              <a:avLst/>
              <a:gdLst/>
              <a:ahLst/>
              <a:cxnLst/>
              <a:rect l="0" t="0" r="0" b="0"/>
              <a:pathLst>
                <a:path w="923925" h="352425">
                  <a:moveTo>
                    <a:pt x="923348" y="0"/>
                  </a:moveTo>
                  <a:lnTo>
                    <a:pt x="923925" y="0"/>
                  </a:lnTo>
                  <a:lnTo>
                    <a:pt x="923925" y="260"/>
                  </a:lnTo>
                  <a:lnTo>
                    <a:pt x="923348" y="0"/>
                  </a:lnTo>
                  <a:lnTo>
                    <a:pt x="764116" y="352425"/>
                  </a:lnTo>
                  <a:lnTo>
                    <a:pt x="156548" y="352425"/>
                  </a:lnTo>
                  <a:lnTo>
                    <a:pt x="0" y="5939"/>
                  </a:lnTo>
                  <a:lnTo>
                    <a:pt x="0" y="0"/>
                  </a:lnTo>
                  <a:close/>
                </a:path>
              </a:pathLst>
            </a:custGeom>
            <a:solidFill>
              <a:srgbClr val="FF9518"/>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70" name="Rounded Rectangle 17">
              <a:extLst>
                <a:ext uri="{FF2B5EF4-FFF2-40B4-BE49-F238E27FC236}">
                  <a16:creationId xmlns:a16="http://schemas.microsoft.com/office/drawing/2014/main" id="{DB810827-2CD7-5A42-A04E-D5177D0B2056}"/>
                </a:ext>
              </a:extLst>
            </p:cNvPr>
            <p:cNvSpPr/>
            <p:nvPr/>
          </p:nvSpPr>
          <p:spPr>
            <a:xfrm>
              <a:off x="2711491" y="2095500"/>
              <a:ext cx="752475" cy="762000"/>
            </a:xfrm>
            <a:custGeom>
              <a:avLst/>
              <a:gdLst/>
              <a:ahLst/>
              <a:cxnLst/>
              <a:rect l="0" t="0" r="0" b="0"/>
              <a:pathLst>
                <a:path w="752475" h="762000">
                  <a:moveTo>
                    <a:pt x="0" y="381000"/>
                  </a:moveTo>
                  <a:cubicBezTo>
                    <a:pt x="0" y="170579"/>
                    <a:pt x="168445" y="0"/>
                    <a:pt x="376237" y="0"/>
                  </a:cubicBezTo>
                  <a:cubicBezTo>
                    <a:pt x="584029" y="0"/>
                    <a:pt x="752475" y="170579"/>
                    <a:pt x="752475" y="381000"/>
                  </a:cubicBezTo>
                  <a:cubicBezTo>
                    <a:pt x="752475" y="591420"/>
                    <a:pt x="584029" y="762000"/>
                    <a:pt x="376237" y="762000"/>
                  </a:cubicBezTo>
                  <a:cubicBezTo>
                    <a:pt x="168445" y="762000"/>
                    <a:pt x="0" y="591420"/>
                    <a:pt x="0" y="381000"/>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71" name="Rounded Rectangle 18">
              <a:extLst>
                <a:ext uri="{FF2B5EF4-FFF2-40B4-BE49-F238E27FC236}">
                  <a16:creationId xmlns:a16="http://schemas.microsoft.com/office/drawing/2014/main" id="{1C110DB2-1EB9-8639-692B-1E8DBB25D8B1}"/>
                </a:ext>
              </a:extLst>
            </p:cNvPr>
            <p:cNvSpPr/>
            <p:nvPr/>
          </p:nvSpPr>
          <p:spPr>
            <a:xfrm>
              <a:off x="2778166" y="2162175"/>
              <a:ext cx="619125" cy="628650"/>
            </a:xfrm>
            <a:custGeom>
              <a:avLst/>
              <a:gdLst/>
              <a:ahLst/>
              <a:cxnLst/>
              <a:rect l="0" t="0" r="0" b="0"/>
              <a:pathLst>
                <a:path w="619125" h="628650">
                  <a:moveTo>
                    <a:pt x="0" y="314325"/>
                  </a:moveTo>
                  <a:cubicBezTo>
                    <a:pt x="0" y="140869"/>
                    <a:pt x="138455" y="0"/>
                    <a:pt x="309562" y="0"/>
                  </a:cubicBezTo>
                  <a:cubicBezTo>
                    <a:pt x="480669" y="0"/>
                    <a:pt x="619125" y="140869"/>
                    <a:pt x="619125" y="314325"/>
                  </a:cubicBezTo>
                  <a:cubicBezTo>
                    <a:pt x="619125" y="487780"/>
                    <a:pt x="480669" y="628650"/>
                    <a:pt x="309562" y="628650"/>
                  </a:cubicBezTo>
                  <a:cubicBezTo>
                    <a:pt x="138455" y="628650"/>
                    <a:pt x="0" y="487780"/>
                    <a:pt x="0" y="314325"/>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72" name="Rounded Rectangle 19">
              <a:extLst>
                <a:ext uri="{FF2B5EF4-FFF2-40B4-BE49-F238E27FC236}">
                  <a16:creationId xmlns:a16="http://schemas.microsoft.com/office/drawing/2014/main" id="{55ED7AA5-D22D-A190-9E7E-E372DCC1D020}"/>
                </a:ext>
              </a:extLst>
            </p:cNvPr>
            <p:cNvSpPr/>
            <p:nvPr/>
          </p:nvSpPr>
          <p:spPr>
            <a:xfrm>
              <a:off x="2301916" y="1104900"/>
              <a:ext cx="768916" cy="1173229"/>
            </a:xfrm>
            <a:custGeom>
              <a:avLst/>
              <a:gdLst/>
              <a:ahLst/>
              <a:cxnLst/>
              <a:rect l="0" t="0" r="0" b="0"/>
              <a:pathLst>
                <a:path w="768916" h="1173229">
                  <a:moveTo>
                    <a:pt x="0" y="145109"/>
                  </a:moveTo>
                  <a:lnTo>
                    <a:pt x="321166" y="0"/>
                  </a:lnTo>
                  <a:lnTo>
                    <a:pt x="768916" y="990977"/>
                  </a:lnTo>
                  <a:cubicBezTo>
                    <a:pt x="639956" y="996749"/>
                    <a:pt x="527865" y="1068262"/>
                    <a:pt x="464529" y="1173229"/>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73" name="Rounded Rectangle 20">
              <a:extLst>
                <a:ext uri="{FF2B5EF4-FFF2-40B4-BE49-F238E27FC236}">
                  <a16:creationId xmlns:a16="http://schemas.microsoft.com/office/drawing/2014/main" id="{A8024733-6603-A2FD-A3B5-ACB2E30768BF}"/>
                </a:ext>
              </a:extLst>
            </p:cNvPr>
            <p:cNvSpPr/>
            <p:nvPr/>
          </p:nvSpPr>
          <p:spPr>
            <a:xfrm>
              <a:off x="3101425" y="1104900"/>
              <a:ext cx="768854" cy="1170157"/>
            </a:xfrm>
            <a:custGeom>
              <a:avLst/>
              <a:gdLst/>
              <a:ahLst/>
              <a:cxnLst/>
              <a:rect l="0" t="0" r="0" b="0"/>
              <a:pathLst>
                <a:path w="768854" h="1170157">
                  <a:moveTo>
                    <a:pt x="447689" y="0"/>
                  </a:moveTo>
                  <a:lnTo>
                    <a:pt x="768854" y="145109"/>
                  </a:lnTo>
                  <a:lnTo>
                    <a:pt x="305712" y="1170157"/>
                  </a:lnTo>
                  <a:cubicBezTo>
                    <a:pt x="241523" y="1066006"/>
                    <a:pt x="129039" y="995523"/>
                    <a:pt x="0" y="990847"/>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74" name="Rounded Rectangle 21">
              <a:extLst>
                <a:ext uri="{FF2B5EF4-FFF2-40B4-BE49-F238E27FC236}">
                  <a16:creationId xmlns:a16="http://schemas.microsoft.com/office/drawing/2014/main" id="{78CA1788-7B20-7871-D5EB-98D25593ABAB}"/>
                </a:ext>
              </a:extLst>
            </p:cNvPr>
            <p:cNvSpPr/>
            <p:nvPr/>
          </p:nvSpPr>
          <p:spPr>
            <a:xfrm>
              <a:off x="2625766" y="1104900"/>
              <a:ext cx="923925" cy="352425"/>
            </a:xfrm>
            <a:custGeom>
              <a:avLst/>
              <a:gdLst/>
              <a:ahLst/>
              <a:cxnLst/>
              <a:rect l="0" t="0" r="0" b="0"/>
              <a:pathLst>
                <a:path w="923925" h="352425">
                  <a:moveTo>
                    <a:pt x="923348" y="0"/>
                  </a:moveTo>
                  <a:lnTo>
                    <a:pt x="923925" y="0"/>
                  </a:lnTo>
                  <a:lnTo>
                    <a:pt x="923925" y="260"/>
                  </a:lnTo>
                  <a:lnTo>
                    <a:pt x="923348" y="0"/>
                  </a:lnTo>
                  <a:lnTo>
                    <a:pt x="764116" y="352425"/>
                  </a:lnTo>
                  <a:lnTo>
                    <a:pt x="156548" y="352425"/>
                  </a:lnTo>
                  <a:lnTo>
                    <a:pt x="0" y="5939"/>
                  </a:lnTo>
                  <a:lnTo>
                    <a:pt x="0" y="0"/>
                  </a:ln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grpSp>
      <p:grpSp>
        <p:nvGrpSpPr>
          <p:cNvPr id="44" name="Group 43">
            <a:extLst>
              <a:ext uri="{FF2B5EF4-FFF2-40B4-BE49-F238E27FC236}">
                <a16:creationId xmlns:a16="http://schemas.microsoft.com/office/drawing/2014/main" id="{9D920947-E7DC-E0DA-3210-FB90B76D2A45}"/>
              </a:ext>
            </a:extLst>
          </p:cNvPr>
          <p:cNvGrpSpPr/>
          <p:nvPr/>
        </p:nvGrpSpPr>
        <p:grpSpPr>
          <a:xfrm>
            <a:off x="7526576" y="1617313"/>
            <a:ext cx="1075339" cy="1201659"/>
            <a:chOff x="4127592" y="1104900"/>
            <a:chExt cx="1568363" cy="1752600"/>
          </a:xfrm>
        </p:grpSpPr>
        <p:sp>
          <p:nvSpPr>
            <p:cNvPr id="55" name="Rounded Rectangle 23">
              <a:extLst>
                <a:ext uri="{FF2B5EF4-FFF2-40B4-BE49-F238E27FC236}">
                  <a16:creationId xmlns:a16="http://schemas.microsoft.com/office/drawing/2014/main" id="{613D532E-48AC-D686-F793-1F27C1FFEF79}"/>
                </a:ext>
              </a:extLst>
            </p:cNvPr>
            <p:cNvSpPr/>
            <p:nvPr/>
          </p:nvSpPr>
          <p:spPr>
            <a:xfrm>
              <a:off x="4537167" y="2095500"/>
              <a:ext cx="752475" cy="762000"/>
            </a:xfrm>
            <a:custGeom>
              <a:avLst/>
              <a:gdLst/>
              <a:ahLst/>
              <a:cxnLst/>
              <a:rect l="0" t="0" r="0" b="0"/>
              <a:pathLst>
                <a:path w="752475" h="762000">
                  <a:moveTo>
                    <a:pt x="0" y="381000"/>
                  </a:moveTo>
                  <a:cubicBezTo>
                    <a:pt x="0" y="170579"/>
                    <a:pt x="168445" y="0"/>
                    <a:pt x="376237" y="0"/>
                  </a:cubicBezTo>
                  <a:cubicBezTo>
                    <a:pt x="584029" y="0"/>
                    <a:pt x="752475" y="170579"/>
                    <a:pt x="752475" y="381000"/>
                  </a:cubicBezTo>
                  <a:cubicBezTo>
                    <a:pt x="752475" y="591420"/>
                    <a:pt x="584029" y="762000"/>
                    <a:pt x="376237" y="762000"/>
                  </a:cubicBezTo>
                  <a:cubicBezTo>
                    <a:pt x="168445" y="762000"/>
                    <a:pt x="0" y="591420"/>
                    <a:pt x="0" y="381000"/>
                  </a:cubicBez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56" name="Rounded Rectangle 24">
              <a:extLst>
                <a:ext uri="{FF2B5EF4-FFF2-40B4-BE49-F238E27FC236}">
                  <a16:creationId xmlns:a16="http://schemas.microsoft.com/office/drawing/2014/main" id="{51956275-4DFD-2D5C-101A-70E4484C67D2}"/>
                </a:ext>
              </a:extLst>
            </p:cNvPr>
            <p:cNvSpPr/>
            <p:nvPr/>
          </p:nvSpPr>
          <p:spPr>
            <a:xfrm>
              <a:off x="4603842" y="2162175"/>
              <a:ext cx="619125" cy="628650"/>
            </a:xfrm>
            <a:custGeom>
              <a:avLst/>
              <a:gdLst/>
              <a:ahLst/>
              <a:cxnLst/>
              <a:rect l="0" t="0" r="0" b="0"/>
              <a:pathLst>
                <a:path w="619125" h="628650">
                  <a:moveTo>
                    <a:pt x="0" y="314325"/>
                  </a:moveTo>
                  <a:cubicBezTo>
                    <a:pt x="0" y="140869"/>
                    <a:pt x="138455" y="0"/>
                    <a:pt x="309562" y="0"/>
                  </a:cubicBezTo>
                  <a:cubicBezTo>
                    <a:pt x="480669" y="0"/>
                    <a:pt x="619125" y="140869"/>
                    <a:pt x="619125" y="314325"/>
                  </a:cubicBezTo>
                  <a:cubicBezTo>
                    <a:pt x="619125" y="487780"/>
                    <a:pt x="480669" y="628650"/>
                    <a:pt x="309562" y="628650"/>
                  </a:cubicBezTo>
                  <a:cubicBezTo>
                    <a:pt x="138455" y="628650"/>
                    <a:pt x="0" y="487780"/>
                    <a:pt x="0" y="314325"/>
                  </a:cubicBez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57" name="Rounded Rectangle 25">
              <a:extLst>
                <a:ext uri="{FF2B5EF4-FFF2-40B4-BE49-F238E27FC236}">
                  <a16:creationId xmlns:a16="http://schemas.microsoft.com/office/drawing/2014/main" id="{FB487CBA-EAD5-C7C2-C719-E676ED9C2E8F}"/>
                </a:ext>
              </a:extLst>
            </p:cNvPr>
            <p:cNvSpPr/>
            <p:nvPr/>
          </p:nvSpPr>
          <p:spPr>
            <a:xfrm>
              <a:off x="4127592" y="1104900"/>
              <a:ext cx="768916" cy="1173232"/>
            </a:xfrm>
            <a:custGeom>
              <a:avLst/>
              <a:gdLst/>
              <a:ahLst/>
              <a:cxnLst/>
              <a:rect l="0" t="0" r="0" b="0"/>
              <a:pathLst>
                <a:path w="768916" h="1173232">
                  <a:moveTo>
                    <a:pt x="0" y="145109"/>
                  </a:moveTo>
                  <a:lnTo>
                    <a:pt x="321166" y="0"/>
                  </a:lnTo>
                  <a:lnTo>
                    <a:pt x="768916" y="990981"/>
                  </a:lnTo>
                  <a:cubicBezTo>
                    <a:pt x="639956" y="996753"/>
                    <a:pt x="527865" y="1068266"/>
                    <a:pt x="464529" y="1173232"/>
                  </a:cubicBez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58" name="Rounded Rectangle 26">
              <a:extLst>
                <a:ext uri="{FF2B5EF4-FFF2-40B4-BE49-F238E27FC236}">
                  <a16:creationId xmlns:a16="http://schemas.microsoft.com/office/drawing/2014/main" id="{A3BC80A5-A481-9B2B-1CA9-F727B9D21BB6}"/>
                </a:ext>
              </a:extLst>
            </p:cNvPr>
            <p:cNvSpPr/>
            <p:nvPr/>
          </p:nvSpPr>
          <p:spPr>
            <a:xfrm>
              <a:off x="4927101" y="1104900"/>
              <a:ext cx="768854" cy="1170155"/>
            </a:xfrm>
            <a:custGeom>
              <a:avLst/>
              <a:gdLst/>
              <a:ahLst/>
              <a:cxnLst/>
              <a:rect l="0" t="0" r="0" b="0"/>
              <a:pathLst>
                <a:path w="768854" h="1170155">
                  <a:moveTo>
                    <a:pt x="447689" y="0"/>
                  </a:moveTo>
                  <a:lnTo>
                    <a:pt x="768854" y="145109"/>
                  </a:lnTo>
                  <a:lnTo>
                    <a:pt x="305712" y="1170155"/>
                  </a:lnTo>
                  <a:cubicBezTo>
                    <a:pt x="241523" y="1066009"/>
                    <a:pt x="129039" y="995524"/>
                    <a:pt x="0" y="990847"/>
                  </a:cubicBez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59" name="Rounded Rectangle 27">
              <a:extLst>
                <a:ext uri="{FF2B5EF4-FFF2-40B4-BE49-F238E27FC236}">
                  <a16:creationId xmlns:a16="http://schemas.microsoft.com/office/drawing/2014/main" id="{3F83B8CD-994C-9691-E758-1B8B9FCB7300}"/>
                </a:ext>
              </a:extLst>
            </p:cNvPr>
            <p:cNvSpPr/>
            <p:nvPr/>
          </p:nvSpPr>
          <p:spPr>
            <a:xfrm>
              <a:off x="4451442" y="1104900"/>
              <a:ext cx="923925" cy="352425"/>
            </a:xfrm>
            <a:custGeom>
              <a:avLst/>
              <a:gdLst/>
              <a:ahLst/>
              <a:cxnLst/>
              <a:rect l="0" t="0" r="0" b="0"/>
              <a:pathLst>
                <a:path w="923925" h="352425">
                  <a:moveTo>
                    <a:pt x="923348" y="0"/>
                  </a:moveTo>
                  <a:lnTo>
                    <a:pt x="923925" y="0"/>
                  </a:lnTo>
                  <a:lnTo>
                    <a:pt x="923925" y="260"/>
                  </a:lnTo>
                  <a:lnTo>
                    <a:pt x="923348" y="0"/>
                  </a:lnTo>
                  <a:lnTo>
                    <a:pt x="764116" y="352425"/>
                  </a:lnTo>
                  <a:lnTo>
                    <a:pt x="156548" y="352425"/>
                  </a:lnTo>
                  <a:lnTo>
                    <a:pt x="0" y="5939"/>
                  </a:lnTo>
                  <a:lnTo>
                    <a:pt x="0" y="0"/>
                  </a:ln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60" name="Rounded Rectangle 28">
              <a:extLst>
                <a:ext uri="{FF2B5EF4-FFF2-40B4-BE49-F238E27FC236}">
                  <a16:creationId xmlns:a16="http://schemas.microsoft.com/office/drawing/2014/main" id="{B5A5438F-1B4D-C4B6-F053-1D65B3A0ADB2}"/>
                </a:ext>
              </a:extLst>
            </p:cNvPr>
            <p:cNvSpPr/>
            <p:nvPr/>
          </p:nvSpPr>
          <p:spPr>
            <a:xfrm>
              <a:off x="4537167" y="2095500"/>
              <a:ext cx="752475" cy="762000"/>
            </a:xfrm>
            <a:custGeom>
              <a:avLst/>
              <a:gdLst/>
              <a:ahLst/>
              <a:cxnLst/>
              <a:rect l="0" t="0" r="0" b="0"/>
              <a:pathLst>
                <a:path w="752475" h="762000">
                  <a:moveTo>
                    <a:pt x="0" y="381000"/>
                  </a:moveTo>
                  <a:cubicBezTo>
                    <a:pt x="0" y="170579"/>
                    <a:pt x="168445" y="0"/>
                    <a:pt x="376237" y="0"/>
                  </a:cubicBezTo>
                  <a:cubicBezTo>
                    <a:pt x="584029" y="0"/>
                    <a:pt x="752475" y="170579"/>
                    <a:pt x="752475" y="381000"/>
                  </a:cubicBezTo>
                  <a:cubicBezTo>
                    <a:pt x="752475" y="591420"/>
                    <a:pt x="584029" y="762000"/>
                    <a:pt x="376237" y="762000"/>
                  </a:cubicBezTo>
                  <a:cubicBezTo>
                    <a:pt x="168445" y="762000"/>
                    <a:pt x="0" y="591420"/>
                    <a:pt x="0" y="381000"/>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61" name="Rounded Rectangle 29">
              <a:extLst>
                <a:ext uri="{FF2B5EF4-FFF2-40B4-BE49-F238E27FC236}">
                  <a16:creationId xmlns:a16="http://schemas.microsoft.com/office/drawing/2014/main" id="{1DAB2792-F4AA-8450-AE6A-19C615DF63EB}"/>
                </a:ext>
              </a:extLst>
            </p:cNvPr>
            <p:cNvSpPr/>
            <p:nvPr/>
          </p:nvSpPr>
          <p:spPr>
            <a:xfrm>
              <a:off x="4603842" y="2162175"/>
              <a:ext cx="619125" cy="628650"/>
            </a:xfrm>
            <a:custGeom>
              <a:avLst/>
              <a:gdLst/>
              <a:ahLst/>
              <a:cxnLst/>
              <a:rect l="0" t="0" r="0" b="0"/>
              <a:pathLst>
                <a:path w="619125" h="628650">
                  <a:moveTo>
                    <a:pt x="0" y="314325"/>
                  </a:moveTo>
                  <a:cubicBezTo>
                    <a:pt x="0" y="140869"/>
                    <a:pt x="138455" y="0"/>
                    <a:pt x="309562" y="0"/>
                  </a:cubicBezTo>
                  <a:cubicBezTo>
                    <a:pt x="480669" y="0"/>
                    <a:pt x="619125" y="140869"/>
                    <a:pt x="619125" y="314325"/>
                  </a:cubicBezTo>
                  <a:cubicBezTo>
                    <a:pt x="619125" y="487780"/>
                    <a:pt x="480669" y="628650"/>
                    <a:pt x="309562" y="628650"/>
                  </a:cubicBezTo>
                  <a:cubicBezTo>
                    <a:pt x="138455" y="628650"/>
                    <a:pt x="0" y="487780"/>
                    <a:pt x="0" y="314325"/>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62" name="Rounded Rectangle 30">
              <a:extLst>
                <a:ext uri="{FF2B5EF4-FFF2-40B4-BE49-F238E27FC236}">
                  <a16:creationId xmlns:a16="http://schemas.microsoft.com/office/drawing/2014/main" id="{D022E64D-F7CF-AE2D-ADEA-B6E23B75C83B}"/>
                </a:ext>
              </a:extLst>
            </p:cNvPr>
            <p:cNvSpPr/>
            <p:nvPr/>
          </p:nvSpPr>
          <p:spPr>
            <a:xfrm>
              <a:off x="4127592" y="1104900"/>
              <a:ext cx="768916" cy="1173229"/>
            </a:xfrm>
            <a:custGeom>
              <a:avLst/>
              <a:gdLst/>
              <a:ahLst/>
              <a:cxnLst/>
              <a:rect l="0" t="0" r="0" b="0"/>
              <a:pathLst>
                <a:path w="768916" h="1173229">
                  <a:moveTo>
                    <a:pt x="0" y="145109"/>
                  </a:moveTo>
                  <a:lnTo>
                    <a:pt x="321166" y="0"/>
                  </a:lnTo>
                  <a:lnTo>
                    <a:pt x="768916" y="990977"/>
                  </a:lnTo>
                  <a:cubicBezTo>
                    <a:pt x="639956" y="996749"/>
                    <a:pt x="527865" y="1068262"/>
                    <a:pt x="464529" y="1173229"/>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63" name="Rounded Rectangle 31">
              <a:extLst>
                <a:ext uri="{FF2B5EF4-FFF2-40B4-BE49-F238E27FC236}">
                  <a16:creationId xmlns:a16="http://schemas.microsoft.com/office/drawing/2014/main" id="{2D0B4CE8-4C72-41D0-D466-8CAECF003BF1}"/>
                </a:ext>
              </a:extLst>
            </p:cNvPr>
            <p:cNvSpPr/>
            <p:nvPr/>
          </p:nvSpPr>
          <p:spPr>
            <a:xfrm>
              <a:off x="4927101" y="1104900"/>
              <a:ext cx="768854" cy="1170157"/>
            </a:xfrm>
            <a:custGeom>
              <a:avLst/>
              <a:gdLst/>
              <a:ahLst/>
              <a:cxnLst/>
              <a:rect l="0" t="0" r="0" b="0"/>
              <a:pathLst>
                <a:path w="768854" h="1170157">
                  <a:moveTo>
                    <a:pt x="447689" y="0"/>
                  </a:moveTo>
                  <a:lnTo>
                    <a:pt x="768854" y="145109"/>
                  </a:lnTo>
                  <a:lnTo>
                    <a:pt x="305712" y="1170157"/>
                  </a:lnTo>
                  <a:cubicBezTo>
                    <a:pt x="241523" y="1066006"/>
                    <a:pt x="129039" y="995523"/>
                    <a:pt x="0" y="990847"/>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sp>
          <p:nvSpPr>
            <p:cNvPr id="64" name="Rounded Rectangle 32">
              <a:extLst>
                <a:ext uri="{FF2B5EF4-FFF2-40B4-BE49-F238E27FC236}">
                  <a16:creationId xmlns:a16="http://schemas.microsoft.com/office/drawing/2014/main" id="{7105A825-B31C-7459-288D-D6760D6CAA12}"/>
                </a:ext>
              </a:extLst>
            </p:cNvPr>
            <p:cNvSpPr/>
            <p:nvPr/>
          </p:nvSpPr>
          <p:spPr>
            <a:xfrm>
              <a:off x="4451442" y="1104900"/>
              <a:ext cx="923925" cy="352425"/>
            </a:xfrm>
            <a:custGeom>
              <a:avLst/>
              <a:gdLst/>
              <a:ahLst/>
              <a:cxnLst/>
              <a:rect l="0" t="0" r="0" b="0"/>
              <a:pathLst>
                <a:path w="923925" h="352425">
                  <a:moveTo>
                    <a:pt x="923348" y="0"/>
                  </a:moveTo>
                  <a:lnTo>
                    <a:pt x="923925" y="0"/>
                  </a:lnTo>
                  <a:lnTo>
                    <a:pt x="923925" y="260"/>
                  </a:lnTo>
                  <a:lnTo>
                    <a:pt x="923348" y="0"/>
                  </a:lnTo>
                  <a:lnTo>
                    <a:pt x="764116" y="352425"/>
                  </a:lnTo>
                  <a:lnTo>
                    <a:pt x="156548" y="352425"/>
                  </a:lnTo>
                  <a:lnTo>
                    <a:pt x="0" y="5939"/>
                  </a:lnTo>
                  <a:lnTo>
                    <a:pt x="0" y="0"/>
                  </a:ln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100" noProof="0"/>
            </a:p>
          </p:txBody>
        </p:sp>
      </p:grpSp>
      <p:sp>
        <p:nvSpPr>
          <p:cNvPr id="45" name="TextBox 34">
            <a:extLst>
              <a:ext uri="{FF2B5EF4-FFF2-40B4-BE49-F238E27FC236}">
                <a16:creationId xmlns:a16="http://schemas.microsoft.com/office/drawing/2014/main" id="{EFB14966-B82F-1718-711B-FA39878096C3}"/>
              </a:ext>
            </a:extLst>
          </p:cNvPr>
          <p:cNvSpPr txBox="1"/>
          <p:nvPr/>
        </p:nvSpPr>
        <p:spPr>
          <a:xfrm>
            <a:off x="5646861" y="1288169"/>
            <a:ext cx="2650726" cy="21544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400" b="1" noProof="0">
                <a:solidFill>
                  <a:srgbClr val="464646"/>
                </a:solidFill>
                <a:latin typeface="Avenir LT Pro 45Book"/>
              </a:rPr>
              <a:t>Top Jobs to Be Done Success Stories</a:t>
            </a:r>
          </a:p>
        </p:txBody>
      </p:sp>
      <p:sp>
        <p:nvSpPr>
          <p:cNvPr id="46" name="TextBox 35">
            <a:extLst>
              <a:ext uri="{FF2B5EF4-FFF2-40B4-BE49-F238E27FC236}">
                <a16:creationId xmlns:a16="http://schemas.microsoft.com/office/drawing/2014/main" id="{EED009C1-DBDD-8073-5D76-FD5813505415}"/>
              </a:ext>
            </a:extLst>
          </p:cNvPr>
          <p:cNvSpPr txBox="1"/>
          <p:nvPr/>
        </p:nvSpPr>
        <p:spPr>
          <a:xfrm>
            <a:off x="5514385" y="2459781"/>
            <a:ext cx="92893" cy="21903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400" b="1" noProof="0">
                <a:solidFill>
                  <a:srgbClr val="EBEBEB"/>
                </a:solidFill>
                <a:latin typeface="Avenir LT Pro 45Book"/>
              </a:rPr>
              <a:t>1</a:t>
            </a:r>
          </a:p>
        </p:txBody>
      </p:sp>
      <p:sp>
        <p:nvSpPr>
          <p:cNvPr id="47" name="TextBox 36">
            <a:extLst>
              <a:ext uri="{FF2B5EF4-FFF2-40B4-BE49-F238E27FC236}">
                <a16:creationId xmlns:a16="http://schemas.microsoft.com/office/drawing/2014/main" id="{A01D945C-1270-544B-4AF5-1B6BA5E0F042}"/>
              </a:ext>
            </a:extLst>
          </p:cNvPr>
          <p:cNvSpPr txBox="1"/>
          <p:nvPr/>
        </p:nvSpPr>
        <p:spPr>
          <a:xfrm>
            <a:off x="6766036" y="2459781"/>
            <a:ext cx="92893" cy="21903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400" b="1" noProof="0">
                <a:solidFill>
                  <a:srgbClr val="EBEBEB"/>
                </a:solidFill>
                <a:latin typeface="Avenir LT Pro 45Book"/>
              </a:rPr>
              <a:t>2</a:t>
            </a:r>
          </a:p>
        </p:txBody>
      </p:sp>
      <p:sp>
        <p:nvSpPr>
          <p:cNvPr id="48" name="TextBox 37">
            <a:extLst>
              <a:ext uri="{FF2B5EF4-FFF2-40B4-BE49-F238E27FC236}">
                <a16:creationId xmlns:a16="http://schemas.microsoft.com/office/drawing/2014/main" id="{1A3B5D8F-CE50-B02D-C8ED-B0367D4E083A}"/>
              </a:ext>
            </a:extLst>
          </p:cNvPr>
          <p:cNvSpPr txBox="1"/>
          <p:nvPr/>
        </p:nvSpPr>
        <p:spPr>
          <a:xfrm>
            <a:off x="8017799" y="2459781"/>
            <a:ext cx="92893" cy="21903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400" b="1" noProof="0">
                <a:solidFill>
                  <a:srgbClr val="EBEBEB"/>
                </a:solidFill>
                <a:latin typeface="Avenir LT Pro 45Book"/>
              </a:rPr>
              <a:t>3</a:t>
            </a:r>
          </a:p>
        </p:txBody>
      </p:sp>
      <p:sp>
        <p:nvSpPr>
          <p:cNvPr id="49" name="TextBox 38">
            <a:extLst>
              <a:ext uri="{FF2B5EF4-FFF2-40B4-BE49-F238E27FC236}">
                <a16:creationId xmlns:a16="http://schemas.microsoft.com/office/drawing/2014/main" id="{1276A9DB-435B-D5A4-2F7C-53FF4B0DD82F}"/>
              </a:ext>
            </a:extLst>
          </p:cNvPr>
          <p:cNvSpPr txBox="1"/>
          <p:nvPr/>
        </p:nvSpPr>
        <p:spPr>
          <a:xfrm>
            <a:off x="5153408" y="2910404"/>
            <a:ext cx="814846" cy="492819"/>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050" b="1" noProof="0">
                <a:solidFill>
                  <a:srgbClr val="464646"/>
                </a:solidFill>
                <a:latin typeface="Avenir LT Pro 45Book"/>
              </a:rPr>
              <a:t>Southern New
Hampshire
University</a:t>
            </a:r>
          </a:p>
        </p:txBody>
      </p:sp>
      <p:sp>
        <p:nvSpPr>
          <p:cNvPr id="50" name="TextBox 39">
            <a:extLst>
              <a:ext uri="{FF2B5EF4-FFF2-40B4-BE49-F238E27FC236}">
                <a16:creationId xmlns:a16="http://schemas.microsoft.com/office/drawing/2014/main" id="{6A0E1031-CC91-55D2-9ED2-62E52DE1F932}"/>
              </a:ext>
            </a:extLst>
          </p:cNvPr>
          <p:cNvSpPr txBox="1"/>
          <p:nvPr/>
        </p:nvSpPr>
        <p:spPr>
          <a:xfrm>
            <a:off x="6426245" y="2910404"/>
            <a:ext cx="772474" cy="164273"/>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050" b="1" noProof="0">
                <a:solidFill>
                  <a:srgbClr val="464646"/>
                </a:solidFill>
                <a:latin typeface="Avenir LT Pro 45Book"/>
              </a:rPr>
              <a:t>Reese's Minis</a:t>
            </a:r>
          </a:p>
        </p:txBody>
      </p:sp>
      <p:sp>
        <p:nvSpPr>
          <p:cNvPr id="51" name="TextBox 40">
            <a:extLst>
              <a:ext uri="{FF2B5EF4-FFF2-40B4-BE49-F238E27FC236}">
                <a16:creationId xmlns:a16="http://schemas.microsoft.com/office/drawing/2014/main" id="{14C6F952-F282-48BA-AD18-6CCD6B5AAA0E}"/>
              </a:ext>
            </a:extLst>
          </p:cNvPr>
          <p:cNvSpPr txBox="1"/>
          <p:nvPr/>
        </p:nvSpPr>
        <p:spPr>
          <a:xfrm>
            <a:off x="7663341" y="2910404"/>
            <a:ext cx="801808" cy="328545"/>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050" b="1" noProof="0">
                <a:solidFill>
                  <a:srgbClr val="464646"/>
                </a:solidFill>
                <a:latin typeface="Avenir LT Pro 45Book"/>
              </a:rPr>
              <a:t>Detroit Condo
Development</a:t>
            </a:r>
          </a:p>
        </p:txBody>
      </p:sp>
      <p:sp>
        <p:nvSpPr>
          <p:cNvPr id="52" name="TextBox 41">
            <a:extLst>
              <a:ext uri="{FF2B5EF4-FFF2-40B4-BE49-F238E27FC236}">
                <a16:creationId xmlns:a16="http://schemas.microsoft.com/office/drawing/2014/main" id="{079C1CAE-68A0-3669-E613-A144D6CF90C1}"/>
              </a:ext>
            </a:extLst>
          </p:cNvPr>
          <p:cNvSpPr txBox="1"/>
          <p:nvPr/>
        </p:nvSpPr>
        <p:spPr>
          <a:xfrm>
            <a:off x="6452320" y="3139633"/>
            <a:ext cx="720324" cy="75096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800" b="0" noProof="0">
                <a:solidFill>
                  <a:srgbClr val="464646"/>
                </a:solidFill>
                <a:latin typeface="Avenir LT Pro 45Book"/>
              </a:rPr>
              <a:t>Reese's Minis
revolutionized
snacking with
convenient, one-
handed
consumption.</a:t>
            </a:r>
          </a:p>
        </p:txBody>
      </p:sp>
      <p:sp>
        <p:nvSpPr>
          <p:cNvPr id="53" name="TextBox 42">
            <a:extLst>
              <a:ext uri="{FF2B5EF4-FFF2-40B4-BE49-F238E27FC236}">
                <a16:creationId xmlns:a16="http://schemas.microsoft.com/office/drawing/2014/main" id="{50560A82-E308-1E74-589A-F529ADF3D572}"/>
              </a:ext>
            </a:extLst>
          </p:cNvPr>
          <p:cNvSpPr txBox="1"/>
          <p:nvPr/>
        </p:nvSpPr>
        <p:spPr>
          <a:xfrm>
            <a:off x="7678008" y="3296371"/>
            <a:ext cx="772474" cy="75096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800" b="0" noProof="0">
                <a:solidFill>
                  <a:srgbClr val="464646"/>
                </a:solidFill>
                <a:latin typeface="Avenir LT Pro 45Book"/>
              </a:rPr>
              <a:t>Detroit Condo
Development
boosted sales by
addressing
emotional moving
anxieties.</a:t>
            </a:r>
          </a:p>
        </p:txBody>
      </p:sp>
      <p:sp>
        <p:nvSpPr>
          <p:cNvPr id="54" name="TextBox 43">
            <a:extLst>
              <a:ext uri="{FF2B5EF4-FFF2-40B4-BE49-F238E27FC236}">
                <a16:creationId xmlns:a16="http://schemas.microsoft.com/office/drawing/2014/main" id="{5367E5AB-1648-094D-D0DC-3C253922E4CE}"/>
              </a:ext>
            </a:extLst>
          </p:cNvPr>
          <p:cNvSpPr txBox="1"/>
          <p:nvPr/>
        </p:nvSpPr>
        <p:spPr>
          <a:xfrm>
            <a:off x="5118370" y="3453107"/>
            <a:ext cx="884922" cy="50064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800" b="0" noProof="0">
                <a:solidFill>
                  <a:srgbClr val="464646"/>
                </a:solidFill>
                <a:latin typeface="Avenir LT Pro 45Book"/>
              </a:rPr>
              <a:t>SNHU transformed
online education by
focusing on career
advancement needs.</a:t>
            </a:r>
          </a:p>
        </p:txBody>
      </p:sp>
      <p:sp>
        <p:nvSpPr>
          <p:cNvPr id="86" name="Rounded Rectangle 1">
            <a:extLst>
              <a:ext uri="{FF2B5EF4-FFF2-40B4-BE49-F238E27FC236}">
                <a16:creationId xmlns:a16="http://schemas.microsoft.com/office/drawing/2014/main" id="{F8AA62CD-62A6-D8D7-8879-77B44AC8E413}"/>
              </a:ext>
            </a:extLst>
          </p:cNvPr>
          <p:cNvSpPr/>
          <p:nvPr/>
        </p:nvSpPr>
        <p:spPr>
          <a:xfrm>
            <a:off x="1523913" y="5204875"/>
            <a:ext cx="5929" cy="1138388"/>
          </a:xfrm>
          <a:custGeom>
            <a:avLst/>
            <a:gdLst/>
            <a:ahLst/>
            <a:cxnLst/>
            <a:rect l="0" t="0" r="0" b="0"/>
            <a:pathLst>
              <a:path w="5929" h="1138388">
                <a:moveTo>
                  <a:pt x="0" y="1138388"/>
                </a:moveTo>
                <a:lnTo>
                  <a:pt x="0" y="0"/>
                </a:lnTo>
              </a:path>
            </a:pathLst>
          </a:custGeom>
          <a:noFill/>
          <a:ln w="4446">
            <a:solidFill>
              <a:srgbClr val="EBEBEB"/>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87" name="Rounded Rectangle 2">
            <a:extLst>
              <a:ext uri="{FF2B5EF4-FFF2-40B4-BE49-F238E27FC236}">
                <a16:creationId xmlns:a16="http://schemas.microsoft.com/office/drawing/2014/main" id="{35933944-9BA2-8ECA-B70B-879EAFC1A4D6}"/>
              </a:ext>
            </a:extLst>
          </p:cNvPr>
          <p:cNvSpPr/>
          <p:nvPr/>
        </p:nvSpPr>
        <p:spPr>
          <a:xfrm>
            <a:off x="2733450" y="5204875"/>
            <a:ext cx="5929" cy="1138388"/>
          </a:xfrm>
          <a:custGeom>
            <a:avLst/>
            <a:gdLst/>
            <a:ahLst/>
            <a:cxnLst/>
            <a:rect l="0" t="0" r="0" b="0"/>
            <a:pathLst>
              <a:path w="5929" h="1138388">
                <a:moveTo>
                  <a:pt x="0" y="1138388"/>
                </a:moveTo>
                <a:lnTo>
                  <a:pt x="0" y="0"/>
                </a:lnTo>
              </a:path>
            </a:pathLst>
          </a:custGeom>
          <a:noFill/>
          <a:ln w="4446">
            <a:solidFill>
              <a:srgbClr val="EBEBEB"/>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88" name="Rounded Rectangle 3">
            <a:extLst>
              <a:ext uri="{FF2B5EF4-FFF2-40B4-BE49-F238E27FC236}">
                <a16:creationId xmlns:a16="http://schemas.microsoft.com/office/drawing/2014/main" id="{C258E4BA-B2C6-EF1F-24A0-A89A88294F33}"/>
              </a:ext>
            </a:extLst>
          </p:cNvPr>
          <p:cNvSpPr/>
          <p:nvPr/>
        </p:nvSpPr>
        <p:spPr>
          <a:xfrm>
            <a:off x="7571601" y="5204875"/>
            <a:ext cx="5929" cy="1138388"/>
          </a:xfrm>
          <a:custGeom>
            <a:avLst/>
            <a:gdLst/>
            <a:ahLst/>
            <a:cxnLst/>
            <a:rect l="0" t="0" r="0" b="0"/>
            <a:pathLst>
              <a:path w="5929" h="1138388">
                <a:moveTo>
                  <a:pt x="0" y="1138388"/>
                </a:moveTo>
                <a:lnTo>
                  <a:pt x="0" y="0"/>
                </a:lnTo>
              </a:path>
            </a:pathLst>
          </a:custGeom>
          <a:noFill/>
          <a:ln w="4446">
            <a:solidFill>
              <a:srgbClr val="EBEBEB"/>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89" name="Rounded Rectangle 4">
            <a:extLst>
              <a:ext uri="{FF2B5EF4-FFF2-40B4-BE49-F238E27FC236}">
                <a16:creationId xmlns:a16="http://schemas.microsoft.com/office/drawing/2014/main" id="{9B0A6456-A7A7-6C9E-BE28-8613B59EF333}"/>
              </a:ext>
            </a:extLst>
          </p:cNvPr>
          <p:cNvSpPr/>
          <p:nvPr/>
        </p:nvSpPr>
        <p:spPr>
          <a:xfrm>
            <a:off x="3942988" y="5204875"/>
            <a:ext cx="5929" cy="1138388"/>
          </a:xfrm>
          <a:custGeom>
            <a:avLst/>
            <a:gdLst/>
            <a:ahLst/>
            <a:cxnLst/>
            <a:rect l="0" t="0" r="0" b="0"/>
            <a:pathLst>
              <a:path w="5929" h="1138388">
                <a:moveTo>
                  <a:pt x="0" y="1138388"/>
                </a:moveTo>
                <a:lnTo>
                  <a:pt x="0" y="0"/>
                </a:lnTo>
              </a:path>
            </a:pathLst>
          </a:custGeom>
          <a:noFill/>
          <a:ln w="4446">
            <a:solidFill>
              <a:srgbClr val="EBEBEB"/>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90" name="Rounded Rectangle 5">
            <a:extLst>
              <a:ext uri="{FF2B5EF4-FFF2-40B4-BE49-F238E27FC236}">
                <a16:creationId xmlns:a16="http://schemas.microsoft.com/office/drawing/2014/main" id="{018CA94B-8A74-C98D-AEA4-9256C652FF36}"/>
              </a:ext>
            </a:extLst>
          </p:cNvPr>
          <p:cNvSpPr/>
          <p:nvPr/>
        </p:nvSpPr>
        <p:spPr>
          <a:xfrm>
            <a:off x="5152526" y="5204875"/>
            <a:ext cx="5929" cy="1138388"/>
          </a:xfrm>
          <a:custGeom>
            <a:avLst/>
            <a:gdLst/>
            <a:ahLst/>
            <a:cxnLst/>
            <a:rect l="0" t="0" r="0" b="0"/>
            <a:pathLst>
              <a:path w="5929" h="1138388">
                <a:moveTo>
                  <a:pt x="0" y="1138388"/>
                </a:moveTo>
                <a:lnTo>
                  <a:pt x="0" y="0"/>
                </a:lnTo>
              </a:path>
            </a:pathLst>
          </a:custGeom>
          <a:noFill/>
          <a:ln w="4446">
            <a:solidFill>
              <a:srgbClr val="EBEBEB"/>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91" name="Rounded Rectangle 6">
            <a:extLst>
              <a:ext uri="{FF2B5EF4-FFF2-40B4-BE49-F238E27FC236}">
                <a16:creationId xmlns:a16="http://schemas.microsoft.com/office/drawing/2014/main" id="{CF607337-1591-7BBB-822A-393472E1CCC8}"/>
              </a:ext>
            </a:extLst>
          </p:cNvPr>
          <p:cNvSpPr/>
          <p:nvPr/>
        </p:nvSpPr>
        <p:spPr>
          <a:xfrm>
            <a:off x="6362064" y="5204875"/>
            <a:ext cx="5929" cy="1138388"/>
          </a:xfrm>
          <a:custGeom>
            <a:avLst/>
            <a:gdLst/>
            <a:ahLst/>
            <a:cxnLst/>
            <a:rect l="0" t="0" r="0" b="0"/>
            <a:pathLst>
              <a:path w="5929" h="1138388">
                <a:moveTo>
                  <a:pt x="0" y="1138388"/>
                </a:moveTo>
                <a:lnTo>
                  <a:pt x="0" y="0"/>
                </a:lnTo>
              </a:path>
            </a:pathLst>
          </a:custGeom>
          <a:noFill/>
          <a:ln w="4446">
            <a:solidFill>
              <a:srgbClr val="EBEBEB"/>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nvGrpSpPr>
          <p:cNvPr id="92" name="Group 91">
            <a:extLst>
              <a:ext uri="{FF2B5EF4-FFF2-40B4-BE49-F238E27FC236}">
                <a16:creationId xmlns:a16="http://schemas.microsoft.com/office/drawing/2014/main" id="{DDDBBFD7-8179-95F6-9B95-B65371A0B77C}"/>
              </a:ext>
            </a:extLst>
          </p:cNvPr>
          <p:cNvGrpSpPr/>
          <p:nvPr/>
        </p:nvGrpSpPr>
        <p:grpSpPr>
          <a:xfrm>
            <a:off x="1157890" y="5483342"/>
            <a:ext cx="1074740" cy="581455"/>
            <a:chOff x="555953" y="2057198"/>
            <a:chExt cx="1074740" cy="581455"/>
          </a:xfrm>
        </p:grpSpPr>
        <p:sp>
          <p:nvSpPr>
            <p:cNvPr id="127" name="Rounded Rectangle 7">
              <a:extLst>
                <a:ext uri="{FF2B5EF4-FFF2-40B4-BE49-F238E27FC236}">
                  <a16:creationId xmlns:a16="http://schemas.microsoft.com/office/drawing/2014/main" id="{6780E36C-5247-EE84-77B2-0B5599641D8F}"/>
                </a:ext>
              </a:extLst>
            </p:cNvPr>
            <p:cNvSpPr/>
            <p:nvPr/>
          </p:nvSpPr>
          <p:spPr>
            <a:xfrm>
              <a:off x="555953" y="2057198"/>
              <a:ext cx="1074740" cy="581455"/>
            </a:xfrm>
            <a:custGeom>
              <a:avLst/>
              <a:gdLst/>
              <a:ahLst/>
              <a:cxnLst/>
              <a:rect l="0" t="0" r="0" b="0"/>
              <a:pathLst>
                <a:path w="1074740" h="581455">
                  <a:moveTo>
                    <a:pt x="1050264" y="246402"/>
                  </a:moveTo>
                  <a:cubicBezTo>
                    <a:pt x="1074740" y="270890"/>
                    <a:pt x="1074740" y="310565"/>
                    <a:pt x="1050264" y="335052"/>
                  </a:cubicBezTo>
                  <a:lnTo>
                    <a:pt x="828504" y="556937"/>
                  </a:lnTo>
                  <a:cubicBezTo>
                    <a:pt x="804011" y="581444"/>
                    <a:pt x="764274" y="581455"/>
                    <a:pt x="739769" y="556960"/>
                  </a:cubicBezTo>
                  <a:cubicBezTo>
                    <a:pt x="715270" y="532474"/>
                    <a:pt x="715270" y="492773"/>
                    <a:pt x="739769" y="468287"/>
                  </a:cubicBezTo>
                  <a:lnTo>
                    <a:pt x="854663" y="353445"/>
                  </a:lnTo>
                  <a:lnTo>
                    <a:pt x="532527" y="353445"/>
                  </a:lnTo>
                  <a:cubicBezTo>
                    <a:pt x="497873" y="353445"/>
                    <a:pt x="469781" y="325365"/>
                    <a:pt x="469781" y="290728"/>
                  </a:cubicBezTo>
                  <a:cubicBezTo>
                    <a:pt x="469781" y="256090"/>
                    <a:pt x="497873" y="228010"/>
                    <a:pt x="532527" y="228010"/>
                  </a:cubicBezTo>
                  <a:lnTo>
                    <a:pt x="854663" y="228010"/>
                  </a:lnTo>
                  <a:lnTo>
                    <a:pt x="739769" y="113168"/>
                  </a:lnTo>
                  <a:cubicBezTo>
                    <a:pt x="715270" y="88681"/>
                    <a:pt x="715270" y="48981"/>
                    <a:pt x="739769" y="24495"/>
                  </a:cubicBezTo>
                  <a:cubicBezTo>
                    <a:pt x="764274" y="0"/>
                    <a:pt x="804011" y="10"/>
                    <a:pt x="828504" y="24518"/>
                  </a:cubicBezTo>
                  <a:close/>
                  <a:moveTo>
                    <a:pt x="196490" y="230615"/>
                  </a:moveTo>
                  <a:cubicBezTo>
                    <a:pt x="202021" y="225084"/>
                    <a:pt x="210989" y="225086"/>
                    <a:pt x="216517" y="230620"/>
                  </a:cubicBezTo>
                  <a:lnTo>
                    <a:pt x="266567" y="280721"/>
                  </a:lnTo>
                  <a:cubicBezTo>
                    <a:pt x="272090" y="286250"/>
                    <a:pt x="272090" y="295209"/>
                    <a:pt x="266567" y="300738"/>
                  </a:cubicBezTo>
                  <a:lnTo>
                    <a:pt x="216517" y="350838"/>
                  </a:lnTo>
                  <a:cubicBezTo>
                    <a:pt x="210989" y="356372"/>
                    <a:pt x="202021" y="356374"/>
                    <a:pt x="196490" y="350844"/>
                  </a:cubicBezTo>
                  <a:cubicBezTo>
                    <a:pt x="190961" y="345315"/>
                    <a:pt x="190961" y="336351"/>
                    <a:pt x="196490" y="330822"/>
                  </a:cubicBezTo>
                  <a:lnTo>
                    <a:pt x="236583" y="290729"/>
                  </a:lnTo>
                  <a:lnTo>
                    <a:pt x="196490" y="250637"/>
                  </a:lnTo>
                  <a:cubicBezTo>
                    <a:pt x="190961" y="245108"/>
                    <a:pt x="190961" y="236144"/>
                    <a:pt x="196490" y="230615"/>
                  </a:cubicBezTo>
                  <a:close/>
                  <a:moveTo>
                    <a:pt x="101009" y="230615"/>
                  </a:moveTo>
                  <a:cubicBezTo>
                    <a:pt x="106540" y="225084"/>
                    <a:pt x="115508" y="225086"/>
                    <a:pt x="121036" y="230620"/>
                  </a:cubicBezTo>
                  <a:lnTo>
                    <a:pt x="171086" y="280721"/>
                  </a:lnTo>
                  <a:cubicBezTo>
                    <a:pt x="176610" y="286250"/>
                    <a:pt x="176610" y="295209"/>
                    <a:pt x="171086" y="300738"/>
                  </a:cubicBezTo>
                  <a:lnTo>
                    <a:pt x="121036" y="350838"/>
                  </a:lnTo>
                  <a:cubicBezTo>
                    <a:pt x="115508" y="356372"/>
                    <a:pt x="106540" y="356374"/>
                    <a:pt x="101009" y="350844"/>
                  </a:cubicBezTo>
                  <a:cubicBezTo>
                    <a:pt x="95480" y="345315"/>
                    <a:pt x="95480" y="336351"/>
                    <a:pt x="101009" y="330822"/>
                  </a:cubicBezTo>
                  <a:lnTo>
                    <a:pt x="141102" y="290729"/>
                  </a:lnTo>
                  <a:lnTo>
                    <a:pt x="101009" y="250637"/>
                  </a:lnTo>
                  <a:cubicBezTo>
                    <a:pt x="95480" y="245108"/>
                    <a:pt x="95480" y="236144"/>
                    <a:pt x="101009" y="230615"/>
                  </a:cubicBezTo>
                  <a:close/>
                  <a:moveTo>
                    <a:pt x="5528" y="230613"/>
                  </a:moveTo>
                  <a:cubicBezTo>
                    <a:pt x="11059" y="225083"/>
                    <a:pt x="20027" y="225085"/>
                    <a:pt x="25555" y="230619"/>
                  </a:cubicBezTo>
                  <a:lnTo>
                    <a:pt x="75605" y="280720"/>
                  </a:lnTo>
                  <a:cubicBezTo>
                    <a:pt x="81129" y="286248"/>
                    <a:pt x="81129" y="295207"/>
                    <a:pt x="75605" y="300736"/>
                  </a:cubicBezTo>
                  <a:lnTo>
                    <a:pt x="25555" y="350837"/>
                  </a:lnTo>
                  <a:cubicBezTo>
                    <a:pt x="20027" y="356371"/>
                    <a:pt x="11059" y="356373"/>
                    <a:pt x="5528" y="350842"/>
                  </a:cubicBezTo>
                  <a:cubicBezTo>
                    <a:pt x="0" y="345313"/>
                    <a:pt x="0" y="336349"/>
                    <a:pt x="5528" y="330821"/>
                  </a:cubicBezTo>
                  <a:lnTo>
                    <a:pt x="45620" y="290728"/>
                  </a:lnTo>
                  <a:lnTo>
                    <a:pt x="5528" y="250635"/>
                  </a:lnTo>
                  <a:cubicBezTo>
                    <a:pt x="0" y="245106"/>
                    <a:pt x="0" y="236142"/>
                    <a:pt x="5528" y="230613"/>
                  </a:cubicBezTo>
                  <a:close/>
                  <a:moveTo>
                    <a:pt x="368689" y="353442"/>
                  </a:moveTo>
                  <a:cubicBezTo>
                    <a:pt x="334051" y="353442"/>
                    <a:pt x="305972" y="325363"/>
                    <a:pt x="305972" y="290726"/>
                  </a:cubicBezTo>
                  <a:cubicBezTo>
                    <a:pt x="305972" y="256088"/>
                    <a:pt x="334051" y="228009"/>
                    <a:pt x="368689" y="228009"/>
                  </a:cubicBezTo>
                  <a:cubicBezTo>
                    <a:pt x="403327" y="228009"/>
                    <a:pt x="431406" y="256088"/>
                    <a:pt x="431406" y="290726"/>
                  </a:cubicBezTo>
                  <a:cubicBezTo>
                    <a:pt x="431406" y="325363"/>
                    <a:pt x="403327" y="353442"/>
                    <a:pt x="368689" y="353442"/>
                  </a:cubicBezTo>
                  <a:close/>
                </a:path>
              </a:pathLst>
            </a:custGeom>
            <a:solidFill>
              <a:srgbClr val="7C5527"/>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128" name="Rounded Rectangle 8">
              <a:extLst>
                <a:ext uri="{FF2B5EF4-FFF2-40B4-BE49-F238E27FC236}">
                  <a16:creationId xmlns:a16="http://schemas.microsoft.com/office/drawing/2014/main" id="{AC6C528C-E19B-B834-A407-4335BB145304}"/>
                </a:ext>
              </a:extLst>
            </p:cNvPr>
            <p:cNvSpPr/>
            <p:nvPr/>
          </p:nvSpPr>
          <p:spPr>
            <a:xfrm>
              <a:off x="555953" y="2057199"/>
              <a:ext cx="1074739" cy="581454"/>
            </a:xfrm>
            <a:custGeom>
              <a:avLst/>
              <a:gdLst/>
              <a:ahLst/>
              <a:cxnLst/>
              <a:rect l="0" t="0" r="0" b="0"/>
              <a:pathLst>
                <a:path w="1074739" h="581454">
                  <a:moveTo>
                    <a:pt x="1050265" y="246402"/>
                  </a:moveTo>
                  <a:cubicBezTo>
                    <a:pt x="1074739" y="270889"/>
                    <a:pt x="1074739" y="310564"/>
                    <a:pt x="1050265" y="335052"/>
                  </a:cubicBezTo>
                  <a:lnTo>
                    <a:pt x="828504" y="556936"/>
                  </a:lnTo>
                  <a:cubicBezTo>
                    <a:pt x="804009" y="581444"/>
                    <a:pt x="764274" y="581454"/>
                    <a:pt x="739767" y="556959"/>
                  </a:cubicBezTo>
                  <a:cubicBezTo>
                    <a:pt x="715270" y="532473"/>
                    <a:pt x="715270" y="492773"/>
                    <a:pt x="739767" y="468286"/>
                  </a:cubicBezTo>
                  <a:lnTo>
                    <a:pt x="854662" y="353444"/>
                  </a:lnTo>
                  <a:lnTo>
                    <a:pt x="532527" y="353444"/>
                  </a:lnTo>
                  <a:cubicBezTo>
                    <a:pt x="497873" y="353444"/>
                    <a:pt x="469781" y="325365"/>
                    <a:pt x="469781" y="290727"/>
                  </a:cubicBezTo>
                  <a:cubicBezTo>
                    <a:pt x="469781" y="256089"/>
                    <a:pt x="497873" y="228010"/>
                    <a:pt x="532527" y="228010"/>
                  </a:cubicBezTo>
                  <a:lnTo>
                    <a:pt x="854663" y="228010"/>
                  </a:lnTo>
                  <a:lnTo>
                    <a:pt x="739767" y="113167"/>
                  </a:lnTo>
                  <a:cubicBezTo>
                    <a:pt x="715270" y="88681"/>
                    <a:pt x="715270" y="48980"/>
                    <a:pt x="739767" y="24494"/>
                  </a:cubicBezTo>
                  <a:cubicBezTo>
                    <a:pt x="764274" y="0"/>
                    <a:pt x="804009" y="10"/>
                    <a:pt x="828503" y="24517"/>
                  </a:cubicBezTo>
                  <a:close/>
                  <a:moveTo>
                    <a:pt x="196490" y="230614"/>
                  </a:moveTo>
                  <a:cubicBezTo>
                    <a:pt x="202021" y="225083"/>
                    <a:pt x="210989" y="225086"/>
                    <a:pt x="216517" y="230619"/>
                  </a:cubicBezTo>
                  <a:lnTo>
                    <a:pt x="266567" y="280720"/>
                  </a:lnTo>
                  <a:cubicBezTo>
                    <a:pt x="272090" y="286250"/>
                    <a:pt x="272090" y="295208"/>
                    <a:pt x="266567" y="300737"/>
                  </a:cubicBezTo>
                  <a:lnTo>
                    <a:pt x="216517" y="350838"/>
                  </a:lnTo>
                  <a:cubicBezTo>
                    <a:pt x="210989" y="356371"/>
                    <a:pt x="202021" y="356374"/>
                    <a:pt x="196490" y="350843"/>
                  </a:cubicBezTo>
                  <a:cubicBezTo>
                    <a:pt x="190961" y="345314"/>
                    <a:pt x="190961" y="336350"/>
                    <a:pt x="196490" y="330821"/>
                  </a:cubicBezTo>
                  <a:lnTo>
                    <a:pt x="236583" y="290729"/>
                  </a:lnTo>
                  <a:lnTo>
                    <a:pt x="196490" y="250636"/>
                  </a:lnTo>
                  <a:cubicBezTo>
                    <a:pt x="190961" y="245108"/>
                    <a:pt x="190961" y="236143"/>
                    <a:pt x="196490" y="230614"/>
                  </a:cubicBezTo>
                  <a:close/>
                  <a:moveTo>
                    <a:pt x="101009" y="230614"/>
                  </a:moveTo>
                  <a:cubicBezTo>
                    <a:pt x="106540" y="225083"/>
                    <a:pt x="115508" y="225086"/>
                    <a:pt x="121036" y="230619"/>
                  </a:cubicBezTo>
                  <a:lnTo>
                    <a:pt x="171086" y="280720"/>
                  </a:lnTo>
                  <a:cubicBezTo>
                    <a:pt x="176610" y="286250"/>
                    <a:pt x="176610" y="295208"/>
                    <a:pt x="171086" y="300737"/>
                  </a:cubicBezTo>
                  <a:lnTo>
                    <a:pt x="121036" y="350838"/>
                  </a:lnTo>
                  <a:cubicBezTo>
                    <a:pt x="115508" y="356371"/>
                    <a:pt x="106540" y="356374"/>
                    <a:pt x="101009" y="350843"/>
                  </a:cubicBezTo>
                  <a:cubicBezTo>
                    <a:pt x="95480" y="345314"/>
                    <a:pt x="95480" y="336350"/>
                    <a:pt x="101009" y="330821"/>
                  </a:cubicBezTo>
                  <a:lnTo>
                    <a:pt x="141102" y="290729"/>
                  </a:lnTo>
                  <a:lnTo>
                    <a:pt x="101009" y="250636"/>
                  </a:lnTo>
                  <a:cubicBezTo>
                    <a:pt x="95480" y="245108"/>
                    <a:pt x="95480" y="236143"/>
                    <a:pt x="101009" y="230614"/>
                  </a:cubicBezTo>
                  <a:close/>
                  <a:moveTo>
                    <a:pt x="5528" y="230613"/>
                  </a:moveTo>
                  <a:cubicBezTo>
                    <a:pt x="11059" y="225082"/>
                    <a:pt x="20027" y="225084"/>
                    <a:pt x="25555" y="230618"/>
                  </a:cubicBezTo>
                  <a:lnTo>
                    <a:pt x="75605" y="280719"/>
                  </a:lnTo>
                  <a:cubicBezTo>
                    <a:pt x="81129" y="286248"/>
                    <a:pt x="81129" y="295207"/>
                    <a:pt x="75605" y="300736"/>
                  </a:cubicBezTo>
                  <a:lnTo>
                    <a:pt x="25555" y="350837"/>
                  </a:lnTo>
                  <a:cubicBezTo>
                    <a:pt x="20027" y="356370"/>
                    <a:pt x="11059" y="356373"/>
                    <a:pt x="5528" y="350841"/>
                  </a:cubicBezTo>
                  <a:cubicBezTo>
                    <a:pt x="0" y="345312"/>
                    <a:pt x="0" y="336349"/>
                    <a:pt x="5528" y="330820"/>
                  </a:cubicBezTo>
                  <a:lnTo>
                    <a:pt x="45620" y="290727"/>
                  </a:lnTo>
                  <a:lnTo>
                    <a:pt x="5528" y="250635"/>
                  </a:lnTo>
                  <a:cubicBezTo>
                    <a:pt x="0" y="245106"/>
                    <a:pt x="0" y="236142"/>
                    <a:pt x="5528" y="230613"/>
                  </a:cubicBezTo>
                  <a:close/>
                  <a:moveTo>
                    <a:pt x="368689" y="353442"/>
                  </a:moveTo>
                  <a:cubicBezTo>
                    <a:pt x="334051" y="353442"/>
                    <a:pt x="305972" y="325363"/>
                    <a:pt x="305972" y="290725"/>
                  </a:cubicBezTo>
                  <a:cubicBezTo>
                    <a:pt x="305972" y="256087"/>
                    <a:pt x="334051" y="228008"/>
                    <a:pt x="368689" y="228008"/>
                  </a:cubicBezTo>
                  <a:cubicBezTo>
                    <a:pt x="403327" y="228008"/>
                    <a:pt x="431406" y="256087"/>
                    <a:pt x="431406" y="290725"/>
                  </a:cubicBezTo>
                  <a:cubicBezTo>
                    <a:pt x="431406" y="325363"/>
                    <a:pt x="403327" y="353442"/>
                    <a:pt x="368689" y="353442"/>
                  </a:cubicBezTo>
                  <a:close/>
                </a:path>
              </a:pathLst>
            </a:custGeom>
            <a:noFill/>
            <a:ln w="4446">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93" name="Group 92">
            <a:extLst>
              <a:ext uri="{FF2B5EF4-FFF2-40B4-BE49-F238E27FC236}">
                <a16:creationId xmlns:a16="http://schemas.microsoft.com/office/drawing/2014/main" id="{4EEBE447-FC22-A426-302B-89E34F3D38D4}"/>
              </a:ext>
            </a:extLst>
          </p:cNvPr>
          <p:cNvGrpSpPr/>
          <p:nvPr/>
        </p:nvGrpSpPr>
        <p:grpSpPr>
          <a:xfrm>
            <a:off x="2367428" y="5483342"/>
            <a:ext cx="1074740" cy="581455"/>
            <a:chOff x="1765491" y="2057198"/>
            <a:chExt cx="1074740" cy="581455"/>
          </a:xfrm>
        </p:grpSpPr>
        <p:sp>
          <p:nvSpPr>
            <p:cNvPr id="125" name="Rounded Rectangle 10">
              <a:extLst>
                <a:ext uri="{FF2B5EF4-FFF2-40B4-BE49-F238E27FC236}">
                  <a16:creationId xmlns:a16="http://schemas.microsoft.com/office/drawing/2014/main" id="{A6F3F166-41FB-186A-29EB-D713A95A0C8E}"/>
                </a:ext>
              </a:extLst>
            </p:cNvPr>
            <p:cNvSpPr/>
            <p:nvPr/>
          </p:nvSpPr>
          <p:spPr>
            <a:xfrm>
              <a:off x="1765491" y="2057198"/>
              <a:ext cx="1074740" cy="581455"/>
            </a:xfrm>
            <a:custGeom>
              <a:avLst/>
              <a:gdLst/>
              <a:ahLst/>
              <a:cxnLst/>
              <a:rect l="0" t="0" r="0" b="0"/>
              <a:pathLst>
                <a:path w="1074740" h="581455">
                  <a:moveTo>
                    <a:pt x="1050264" y="246402"/>
                  </a:moveTo>
                  <a:cubicBezTo>
                    <a:pt x="1074740" y="270890"/>
                    <a:pt x="1074740" y="310565"/>
                    <a:pt x="1050264" y="335052"/>
                  </a:cubicBezTo>
                  <a:lnTo>
                    <a:pt x="828504" y="556937"/>
                  </a:lnTo>
                  <a:cubicBezTo>
                    <a:pt x="804011" y="581444"/>
                    <a:pt x="764274" y="581455"/>
                    <a:pt x="739769" y="556960"/>
                  </a:cubicBezTo>
                  <a:cubicBezTo>
                    <a:pt x="715270" y="532474"/>
                    <a:pt x="715270" y="492773"/>
                    <a:pt x="739769" y="468287"/>
                  </a:cubicBezTo>
                  <a:lnTo>
                    <a:pt x="854663" y="353445"/>
                  </a:lnTo>
                  <a:lnTo>
                    <a:pt x="532527" y="353445"/>
                  </a:lnTo>
                  <a:cubicBezTo>
                    <a:pt x="497873" y="353445"/>
                    <a:pt x="469781" y="325365"/>
                    <a:pt x="469781" y="290728"/>
                  </a:cubicBezTo>
                  <a:cubicBezTo>
                    <a:pt x="469781" y="256090"/>
                    <a:pt x="497873" y="228010"/>
                    <a:pt x="532527" y="228010"/>
                  </a:cubicBezTo>
                  <a:lnTo>
                    <a:pt x="854663" y="228010"/>
                  </a:lnTo>
                  <a:lnTo>
                    <a:pt x="739769" y="113168"/>
                  </a:lnTo>
                  <a:cubicBezTo>
                    <a:pt x="715270" y="88681"/>
                    <a:pt x="715270" y="48981"/>
                    <a:pt x="739769" y="24495"/>
                  </a:cubicBezTo>
                  <a:cubicBezTo>
                    <a:pt x="764274" y="0"/>
                    <a:pt x="804011" y="10"/>
                    <a:pt x="828504" y="24518"/>
                  </a:cubicBezTo>
                  <a:close/>
                  <a:moveTo>
                    <a:pt x="196490" y="230615"/>
                  </a:moveTo>
                  <a:cubicBezTo>
                    <a:pt x="202021" y="225084"/>
                    <a:pt x="210989" y="225086"/>
                    <a:pt x="216517" y="230620"/>
                  </a:cubicBezTo>
                  <a:lnTo>
                    <a:pt x="266567" y="280721"/>
                  </a:lnTo>
                  <a:cubicBezTo>
                    <a:pt x="272090" y="286250"/>
                    <a:pt x="272090" y="295209"/>
                    <a:pt x="266567" y="300738"/>
                  </a:cubicBezTo>
                  <a:lnTo>
                    <a:pt x="216517" y="350838"/>
                  </a:lnTo>
                  <a:cubicBezTo>
                    <a:pt x="210989" y="356372"/>
                    <a:pt x="202021" y="356374"/>
                    <a:pt x="196490" y="350844"/>
                  </a:cubicBezTo>
                  <a:cubicBezTo>
                    <a:pt x="190961" y="345315"/>
                    <a:pt x="190961" y="336351"/>
                    <a:pt x="196490" y="330822"/>
                  </a:cubicBezTo>
                  <a:lnTo>
                    <a:pt x="236583" y="290729"/>
                  </a:lnTo>
                  <a:lnTo>
                    <a:pt x="196490" y="250637"/>
                  </a:lnTo>
                  <a:cubicBezTo>
                    <a:pt x="190961" y="245108"/>
                    <a:pt x="190961" y="236144"/>
                    <a:pt x="196490" y="230615"/>
                  </a:cubicBezTo>
                  <a:close/>
                  <a:moveTo>
                    <a:pt x="101009" y="230615"/>
                  </a:moveTo>
                  <a:cubicBezTo>
                    <a:pt x="106540" y="225084"/>
                    <a:pt x="115508" y="225086"/>
                    <a:pt x="121036" y="230620"/>
                  </a:cubicBezTo>
                  <a:lnTo>
                    <a:pt x="171086" y="280721"/>
                  </a:lnTo>
                  <a:cubicBezTo>
                    <a:pt x="176610" y="286250"/>
                    <a:pt x="176610" y="295209"/>
                    <a:pt x="171086" y="300738"/>
                  </a:cubicBezTo>
                  <a:lnTo>
                    <a:pt x="121036" y="350838"/>
                  </a:lnTo>
                  <a:cubicBezTo>
                    <a:pt x="115508" y="356372"/>
                    <a:pt x="106540" y="356374"/>
                    <a:pt x="101009" y="350844"/>
                  </a:cubicBezTo>
                  <a:cubicBezTo>
                    <a:pt x="95480" y="345315"/>
                    <a:pt x="95480" y="336351"/>
                    <a:pt x="101009" y="330822"/>
                  </a:cubicBezTo>
                  <a:lnTo>
                    <a:pt x="141102" y="290729"/>
                  </a:lnTo>
                  <a:lnTo>
                    <a:pt x="101009" y="250637"/>
                  </a:lnTo>
                  <a:cubicBezTo>
                    <a:pt x="95480" y="245108"/>
                    <a:pt x="95480" y="236144"/>
                    <a:pt x="101009" y="230615"/>
                  </a:cubicBezTo>
                  <a:close/>
                  <a:moveTo>
                    <a:pt x="5528" y="230613"/>
                  </a:moveTo>
                  <a:cubicBezTo>
                    <a:pt x="11059" y="225083"/>
                    <a:pt x="20027" y="225085"/>
                    <a:pt x="25555" y="230619"/>
                  </a:cubicBezTo>
                  <a:lnTo>
                    <a:pt x="75605" y="280720"/>
                  </a:lnTo>
                  <a:cubicBezTo>
                    <a:pt x="81129" y="286248"/>
                    <a:pt x="81129" y="295207"/>
                    <a:pt x="75605" y="300736"/>
                  </a:cubicBezTo>
                  <a:lnTo>
                    <a:pt x="25555" y="350837"/>
                  </a:lnTo>
                  <a:cubicBezTo>
                    <a:pt x="20027" y="356371"/>
                    <a:pt x="11059" y="356373"/>
                    <a:pt x="5528" y="350842"/>
                  </a:cubicBezTo>
                  <a:cubicBezTo>
                    <a:pt x="0" y="345313"/>
                    <a:pt x="0" y="336349"/>
                    <a:pt x="5528" y="330821"/>
                  </a:cubicBezTo>
                  <a:lnTo>
                    <a:pt x="45620" y="290728"/>
                  </a:lnTo>
                  <a:lnTo>
                    <a:pt x="5528" y="250635"/>
                  </a:lnTo>
                  <a:cubicBezTo>
                    <a:pt x="0" y="245106"/>
                    <a:pt x="0" y="236142"/>
                    <a:pt x="5528" y="230613"/>
                  </a:cubicBezTo>
                  <a:close/>
                  <a:moveTo>
                    <a:pt x="368689" y="353442"/>
                  </a:moveTo>
                  <a:cubicBezTo>
                    <a:pt x="334051" y="353442"/>
                    <a:pt x="305972" y="325363"/>
                    <a:pt x="305972" y="290726"/>
                  </a:cubicBezTo>
                  <a:cubicBezTo>
                    <a:pt x="305972" y="256088"/>
                    <a:pt x="334051" y="228009"/>
                    <a:pt x="368689" y="228009"/>
                  </a:cubicBezTo>
                  <a:cubicBezTo>
                    <a:pt x="403327" y="228009"/>
                    <a:pt x="431406" y="256088"/>
                    <a:pt x="431406" y="290726"/>
                  </a:cubicBezTo>
                  <a:cubicBezTo>
                    <a:pt x="431406" y="325363"/>
                    <a:pt x="403327" y="353442"/>
                    <a:pt x="368689" y="353442"/>
                  </a:cubicBezTo>
                  <a:close/>
                </a:path>
              </a:pathLst>
            </a:custGeom>
            <a:solidFill>
              <a:srgbClr val="BA7019"/>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126" name="Rounded Rectangle 11">
              <a:extLst>
                <a:ext uri="{FF2B5EF4-FFF2-40B4-BE49-F238E27FC236}">
                  <a16:creationId xmlns:a16="http://schemas.microsoft.com/office/drawing/2014/main" id="{94B605CF-754A-93B7-6F0C-15FFDA446816}"/>
                </a:ext>
              </a:extLst>
            </p:cNvPr>
            <p:cNvSpPr/>
            <p:nvPr/>
          </p:nvSpPr>
          <p:spPr>
            <a:xfrm>
              <a:off x="1765491" y="2057199"/>
              <a:ext cx="1074739" cy="581454"/>
            </a:xfrm>
            <a:custGeom>
              <a:avLst/>
              <a:gdLst/>
              <a:ahLst/>
              <a:cxnLst/>
              <a:rect l="0" t="0" r="0" b="0"/>
              <a:pathLst>
                <a:path w="1074739" h="581454">
                  <a:moveTo>
                    <a:pt x="1050265" y="246402"/>
                  </a:moveTo>
                  <a:cubicBezTo>
                    <a:pt x="1074739" y="270889"/>
                    <a:pt x="1074739" y="310564"/>
                    <a:pt x="1050265" y="335052"/>
                  </a:cubicBezTo>
                  <a:lnTo>
                    <a:pt x="828504" y="556936"/>
                  </a:lnTo>
                  <a:cubicBezTo>
                    <a:pt x="804009" y="581444"/>
                    <a:pt x="764274" y="581454"/>
                    <a:pt x="739767" y="556959"/>
                  </a:cubicBezTo>
                  <a:cubicBezTo>
                    <a:pt x="715270" y="532473"/>
                    <a:pt x="715270" y="492773"/>
                    <a:pt x="739767" y="468286"/>
                  </a:cubicBezTo>
                  <a:lnTo>
                    <a:pt x="854662" y="353444"/>
                  </a:lnTo>
                  <a:lnTo>
                    <a:pt x="532527" y="353444"/>
                  </a:lnTo>
                  <a:cubicBezTo>
                    <a:pt x="497873" y="353444"/>
                    <a:pt x="469781" y="325365"/>
                    <a:pt x="469781" y="290727"/>
                  </a:cubicBezTo>
                  <a:cubicBezTo>
                    <a:pt x="469781" y="256089"/>
                    <a:pt x="497873" y="228010"/>
                    <a:pt x="532527" y="228010"/>
                  </a:cubicBezTo>
                  <a:lnTo>
                    <a:pt x="854663" y="228010"/>
                  </a:lnTo>
                  <a:lnTo>
                    <a:pt x="739767" y="113167"/>
                  </a:lnTo>
                  <a:cubicBezTo>
                    <a:pt x="715270" y="88681"/>
                    <a:pt x="715270" y="48980"/>
                    <a:pt x="739767" y="24494"/>
                  </a:cubicBezTo>
                  <a:cubicBezTo>
                    <a:pt x="764274" y="0"/>
                    <a:pt x="804009" y="10"/>
                    <a:pt x="828503" y="24517"/>
                  </a:cubicBezTo>
                  <a:close/>
                  <a:moveTo>
                    <a:pt x="196490" y="230614"/>
                  </a:moveTo>
                  <a:cubicBezTo>
                    <a:pt x="202021" y="225083"/>
                    <a:pt x="210989" y="225086"/>
                    <a:pt x="216517" y="230619"/>
                  </a:cubicBezTo>
                  <a:lnTo>
                    <a:pt x="266567" y="280720"/>
                  </a:lnTo>
                  <a:cubicBezTo>
                    <a:pt x="272090" y="286250"/>
                    <a:pt x="272090" y="295208"/>
                    <a:pt x="266567" y="300737"/>
                  </a:cubicBezTo>
                  <a:lnTo>
                    <a:pt x="216517" y="350838"/>
                  </a:lnTo>
                  <a:cubicBezTo>
                    <a:pt x="210989" y="356371"/>
                    <a:pt x="202021" y="356374"/>
                    <a:pt x="196490" y="350843"/>
                  </a:cubicBezTo>
                  <a:cubicBezTo>
                    <a:pt x="190961" y="345314"/>
                    <a:pt x="190961" y="336350"/>
                    <a:pt x="196490" y="330821"/>
                  </a:cubicBezTo>
                  <a:lnTo>
                    <a:pt x="236583" y="290729"/>
                  </a:lnTo>
                  <a:lnTo>
                    <a:pt x="196490" y="250636"/>
                  </a:lnTo>
                  <a:cubicBezTo>
                    <a:pt x="190961" y="245108"/>
                    <a:pt x="190961" y="236143"/>
                    <a:pt x="196490" y="230614"/>
                  </a:cubicBezTo>
                  <a:close/>
                  <a:moveTo>
                    <a:pt x="101009" y="230614"/>
                  </a:moveTo>
                  <a:cubicBezTo>
                    <a:pt x="106540" y="225083"/>
                    <a:pt x="115508" y="225086"/>
                    <a:pt x="121036" y="230619"/>
                  </a:cubicBezTo>
                  <a:lnTo>
                    <a:pt x="171086" y="280720"/>
                  </a:lnTo>
                  <a:cubicBezTo>
                    <a:pt x="176610" y="286250"/>
                    <a:pt x="176610" y="295208"/>
                    <a:pt x="171086" y="300737"/>
                  </a:cubicBezTo>
                  <a:lnTo>
                    <a:pt x="121036" y="350838"/>
                  </a:lnTo>
                  <a:cubicBezTo>
                    <a:pt x="115508" y="356371"/>
                    <a:pt x="106540" y="356374"/>
                    <a:pt x="101009" y="350843"/>
                  </a:cubicBezTo>
                  <a:cubicBezTo>
                    <a:pt x="95480" y="345314"/>
                    <a:pt x="95480" y="336350"/>
                    <a:pt x="101009" y="330821"/>
                  </a:cubicBezTo>
                  <a:lnTo>
                    <a:pt x="141102" y="290729"/>
                  </a:lnTo>
                  <a:lnTo>
                    <a:pt x="101009" y="250636"/>
                  </a:lnTo>
                  <a:cubicBezTo>
                    <a:pt x="95480" y="245108"/>
                    <a:pt x="95480" y="236143"/>
                    <a:pt x="101009" y="230614"/>
                  </a:cubicBezTo>
                  <a:close/>
                  <a:moveTo>
                    <a:pt x="5528" y="230613"/>
                  </a:moveTo>
                  <a:cubicBezTo>
                    <a:pt x="11059" y="225082"/>
                    <a:pt x="20027" y="225084"/>
                    <a:pt x="25555" y="230618"/>
                  </a:cubicBezTo>
                  <a:lnTo>
                    <a:pt x="75605" y="280719"/>
                  </a:lnTo>
                  <a:cubicBezTo>
                    <a:pt x="81129" y="286248"/>
                    <a:pt x="81129" y="295207"/>
                    <a:pt x="75605" y="300736"/>
                  </a:cubicBezTo>
                  <a:lnTo>
                    <a:pt x="25555" y="350837"/>
                  </a:lnTo>
                  <a:cubicBezTo>
                    <a:pt x="20027" y="356370"/>
                    <a:pt x="11059" y="356373"/>
                    <a:pt x="5528" y="350841"/>
                  </a:cubicBezTo>
                  <a:cubicBezTo>
                    <a:pt x="0" y="345312"/>
                    <a:pt x="0" y="336349"/>
                    <a:pt x="5528" y="330820"/>
                  </a:cubicBezTo>
                  <a:lnTo>
                    <a:pt x="45620" y="290727"/>
                  </a:lnTo>
                  <a:lnTo>
                    <a:pt x="5528" y="250635"/>
                  </a:lnTo>
                  <a:cubicBezTo>
                    <a:pt x="0" y="245106"/>
                    <a:pt x="0" y="236142"/>
                    <a:pt x="5528" y="230613"/>
                  </a:cubicBezTo>
                  <a:close/>
                  <a:moveTo>
                    <a:pt x="368689" y="353442"/>
                  </a:moveTo>
                  <a:cubicBezTo>
                    <a:pt x="334051" y="353442"/>
                    <a:pt x="305972" y="325363"/>
                    <a:pt x="305972" y="290725"/>
                  </a:cubicBezTo>
                  <a:cubicBezTo>
                    <a:pt x="305972" y="256087"/>
                    <a:pt x="334051" y="228008"/>
                    <a:pt x="368689" y="228008"/>
                  </a:cubicBezTo>
                  <a:cubicBezTo>
                    <a:pt x="403327" y="228008"/>
                    <a:pt x="431406" y="256087"/>
                    <a:pt x="431406" y="290725"/>
                  </a:cubicBezTo>
                  <a:cubicBezTo>
                    <a:pt x="431406" y="325363"/>
                    <a:pt x="403327" y="353442"/>
                    <a:pt x="368689" y="353442"/>
                  </a:cubicBezTo>
                  <a:close/>
                </a:path>
              </a:pathLst>
            </a:custGeom>
            <a:noFill/>
            <a:ln w="4446">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94" name="Group 93">
            <a:extLst>
              <a:ext uri="{FF2B5EF4-FFF2-40B4-BE49-F238E27FC236}">
                <a16:creationId xmlns:a16="http://schemas.microsoft.com/office/drawing/2014/main" id="{9B155D35-5F4D-EDD1-E5E2-0DAC30B806DD}"/>
              </a:ext>
            </a:extLst>
          </p:cNvPr>
          <p:cNvGrpSpPr/>
          <p:nvPr/>
        </p:nvGrpSpPr>
        <p:grpSpPr>
          <a:xfrm>
            <a:off x="3576966" y="5483342"/>
            <a:ext cx="1074740" cy="581455"/>
            <a:chOff x="2975029" y="2057198"/>
            <a:chExt cx="1074740" cy="581455"/>
          </a:xfrm>
        </p:grpSpPr>
        <p:sp>
          <p:nvSpPr>
            <p:cNvPr id="123" name="Rounded Rectangle 13">
              <a:extLst>
                <a:ext uri="{FF2B5EF4-FFF2-40B4-BE49-F238E27FC236}">
                  <a16:creationId xmlns:a16="http://schemas.microsoft.com/office/drawing/2014/main" id="{4FE856A4-5A78-F09F-06BD-310FC83B3D29}"/>
                </a:ext>
              </a:extLst>
            </p:cNvPr>
            <p:cNvSpPr/>
            <p:nvPr/>
          </p:nvSpPr>
          <p:spPr>
            <a:xfrm>
              <a:off x="2975029" y="2057198"/>
              <a:ext cx="1074740" cy="581455"/>
            </a:xfrm>
            <a:custGeom>
              <a:avLst/>
              <a:gdLst/>
              <a:ahLst/>
              <a:cxnLst/>
              <a:rect l="0" t="0" r="0" b="0"/>
              <a:pathLst>
                <a:path w="1074740" h="581455">
                  <a:moveTo>
                    <a:pt x="1050264" y="246402"/>
                  </a:moveTo>
                  <a:cubicBezTo>
                    <a:pt x="1074740" y="270890"/>
                    <a:pt x="1074740" y="310565"/>
                    <a:pt x="1050264" y="335052"/>
                  </a:cubicBezTo>
                  <a:lnTo>
                    <a:pt x="828504" y="556937"/>
                  </a:lnTo>
                  <a:cubicBezTo>
                    <a:pt x="804011" y="581444"/>
                    <a:pt x="764274" y="581455"/>
                    <a:pt x="739769" y="556960"/>
                  </a:cubicBezTo>
                  <a:cubicBezTo>
                    <a:pt x="715270" y="532474"/>
                    <a:pt x="715270" y="492773"/>
                    <a:pt x="739769" y="468287"/>
                  </a:cubicBezTo>
                  <a:lnTo>
                    <a:pt x="854663" y="353445"/>
                  </a:lnTo>
                  <a:lnTo>
                    <a:pt x="532527" y="353445"/>
                  </a:lnTo>
                  <a:cubicBezTo>
                    <a:pt x="497873" y="353445"/>
                    <a:pt x="469781" y="325365"/>
                    <a:pt x="469781" y="290728"/>
                  </a:cubicBezTo>
                  <a:cubicBezTo>
                    <a:pt x="469781" y="256090"/>
                    <a:pt x="497873" y="228010"/>
                    <a:pt x="532527" y="228010"/>
                  </a:cubicBezTo>
                  <a:lnTo>
                    <a:pt x="854663" y="228010"/>
                  </a:lnTo>
                  <a:lnTo>
                    <a:pt x="739769" y="113168"/>
                  </a:lnTo>
                  <a:cubicBezTo>
                    <a:pt x="715270" y="88681"/>
                    <a:pt x="715270" y="48981"/>
                    <a:pt x="739769" y="24495"/>
                  </a:cubicBezTo>
                  <a:cubicBezTo>
                    <a:pt x="764274" y="0"/>
                    <a:pt x="804011" y="10"/>
                    <a:pt x="828504" y="24518"/>
                  </a:cubicBezTo>
                  <a:close/>
                  <a:moveTo>
                    <a:pt x="196490" y="230615"/>
                  </a:moveTo>
                  <a:cubicBezTo>
                    <a:pt x="202021" y="225084"/>
                    <a:pt x="210989" y="225086"/>
                    <a:pt x="216517" y="230620"/>
                  </a:cubicBezTo>
                  <a:lnTo>
                    <a:pt x="266567" y="280721"/>
                  </a:lnTo>
                  <a:cubicBezTo>
                    <a:pt x="272090" y="286250"/>
                    <a:pt x="272090" y="295209"/>
                    <a:pt x="266567" y="300738"/>
                  </a:cubicBezTo>
                  <a:lnTo>
                    <a:pt x="216517" y="350838"/>
                  </a:lnTo>
                  <a:cubicBezTo>
                    <a:pt x="210989" y="356372"/>
                    <a:pt x="202021" y="356374"/>
                    <a:pt x="196490" y="350844"/>
                  </a:cubicBezTo>
                  <a:cubicBezTo>
                    <a:pt x="190961" y="345315"/>
                    <a:pt x="190961" y="336351"/>
                    <a:pt x="196490" y="330822"/>
                  </a:cubicBezTo>
                  <a:lnTo>
                    <a:pt x="236583" y="290729"/>
                  </a:lnTo>
                  <a:lnTo>
                    <a:pt x="196490" y="250637"/>
                  </a:lnTo>
                  <a:cubicBezTo>
                    <a:pt x="190961" y="245108"/>
                    <a:pt x="190961" y="236144"/>
                    <a:pt x="196490" y="230615"/>
                  </a:cubicBezTo>
                  <a:close/>
                  <a:moveTo>
                    <a:pt x="101009" y="230615"/>
                  </a:moveTo>
                  <a:cubicBezTo>
                    <a:pt x="106540" y="225084"/>
                    <a:pt x="115508" y="225086"/>
                    <a:pt x="121036" y="230620"/>
                  </a:cubicBezTo>
                  <a:lnTo>
                    <a:pt x="171086" y="280721"/>
                  </a:lnTo>
                  <a:cubicBezTo>
                    <a:pt x="176610" y="286250"/>
                    <a:pt x="176610" y="295209"/>
                    <a:pt x="171086" y="300738"/>
                  </a:cubicBezTo>
                  <a:lnTo>
                    <a:pt x="121036" y="350838"/>
                  </a:lnTo>
                  <a:cubicBezTo>
                    <a:pt x="115508" y="356372"/>
                    <a:pt x="106540" y="356374"/>
                    <a:pt x="101009" y="350844"/>
                  </a:cubicBezTo>
                  <a:cubicBezTo>
                    <a:pt x="95480" y="345315"/>
                    <a:pt x="95480" y="336351"/>
                    <a:pt x="101009" y="330822"/>
                  </a:cubicBezTo>
                  <a:lnTo>
                    <a:pt x="141102" y="290729"/>
                  </a:lnTo>
                  <a:lnTo>
                    <a:pt x="101009" y="250637"/>
                  </a:lnTo>
                  <a:cubicBezTo>
                    <a:pt x="95480" y="245108"/>
                    <a:pt x="95480" y="236144"/>
                    <a:pt x="101009" y="230615"/>
                  </a:cubicBezTo>
                  <a:close/>
                  <a:moveTo>
                    <a:pt x="5528" y="230613"/>
                  </a:moveTo>
                  <a:cubicBezTo>
                    <a:pt x="11059" y="225083"/>
                    <a:pt x="20027" y="225085"/>
                    <a:pt x="25555" y="230619"/>
                  </a:cubicBezTo>
                  <a:lnTo>
                    <a:pt x="75605" y="280720"/>
                  </a:lnTo>
                  <a:cubicBezTo>
                    <a:pt x="81129" y="286248"/>
                    <a:pt x="81129" y="295207"/>
                    <a:pt x="75605" y="300736"/>
                  </a:cubicBezTo>
                  <a:lnTo>
                    <a:pt x="25555" y="350837"/>
                  </a:lnTo>
                  <a:cubicBezTo>
                    <a:pt x="20027" y="356371"/>
                    <a:pt x="11059" y="356373"/>
                    <a:pt x="5528" y="350842"/>
                  </a:cubicBezTo>
                  <a:cubicBezTo>
                    <a:pt x="0" y="345313"/>
                    <a:pt x="0" y="336349"/>
                    <a:pt x="5528" y="330821"/>
                  </a:cubicBezTo>
                  <a:lnTo>
                    <a:pt x="45620" y="290728"/>
                  </a:lnTo>
                  <a:lnTo>
                    <a:pt x="5528" y="250635"/>
                  </a:lnTo>
                  <a:cubicBezTo>
                    <a:pt x="0" y="245106"/>
                    <a:pt x="0" y="236142"/>
                    <a:pt x="5528" y="230613"/>
                  </a:cubicBezTo>
                  <a:close/>
                  <a:moveTo>
                    <a:pt x="368689" y="353442"/>
                  </a:moveTo>
                  <a:cubicBezTo>
                    <a:pt x="334051" y="353442"/>
                    <a:pt x="305972" y="325363"/>
                    <a:pt x="305972" y="290726"/>
                  </a:cubicBezTo>
                  <a:cubicBezTo>
                    <a:pt x="305972" y="256088"/>
                    <a:pt x="334051" y="228009"/>
                    <a:pt x="368689" y="228009"/>
                  </a:cubicBezTo>
                  <a:cubicBezTo>
                    <a:pt x="403327" y="228009"/>
                    <a:pt x="431406" y="256088"/>
                    <a:pt x="431406" y="290726"/>
                  </a:cubicBezTo>
                  <a:cubicBezTo>
                    <a:pt x="431406" y="325363"/>
                    <a:pt x="403327" y="353442"/>
                    <a:pt x="368689" y="353442"/>
                  </a:cubicBezTo>
                  <a:close/>
                </a:path>
              </a:pathLst>
            </a:custGeom>
            <a:solidFill>
              <a:srgbClr val="F98700"/>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124" name="Rounded Rectangle 14">
              <a:extLst>
                <a:ext uri="{FF2B5EF4-FFF2-40B4-BE49-F238E27FC236}">
                  <a16:creationId xmlns:a16="http://schemas.microsoft.com/office/drawing/2014/main" id="{69CCD597-3678-DB82-5EA6-A249C9BABF01}"/>
                </a:ext>
              </a:extLst>
            </p:cNvPr>
            <p:cNvSpPr/>
            <p:nvPr/>
          </p:nvSpPr>
          <p:spPr>
            <a:xfrm>
              <a:off x="2975029" y="2057199"/>
              <a:ext cx="1074739" cy="581454"/>
            </a:xfrm>
            <a:custGeom>
              <a:avLst/>
              <a:gdLst/>
              <a:ahLst/>
              <a:cxnLst/>
              <a:rect l="0" t="0" r="0" b="0"/>
              <a:pathLst>
                <a:path w="1074739" h="581454">
                  <a:moveTo>
                    <a:pt x="1050265" y="246402"/>
                  </a:moveTo>
                  <a:cubicBezTo>
                    <a:pt x="1074739" y="270889"/>
                    <a:pt x="1074739" y="310564"/>
                    <a:pt x="1050265" y="335052"/>
                  </a:cubicBezTo>
                  <a:lnTo>
                    <a:pt x="828504" y="556936"/>
                  </a:lnTo>
                  <a:cubicBezTo>
                    <a:pt x="804009" y="581444"/>
                    <a:pt x="764274" y="581454"/>
                    <a:pt x="739767" y="556959"/>
                  </a:cubicBezTo>
                  <a:cubicBezTo>
                    <a:pt x="715270" y="532473"/>
                    <a:pt x="715270" y="492773"/>
                    <a:pt x="739767" y="468286"/>
                  </a:cubicBezTo>
                  <a:lnTo>
                    <a:pt x="854662" y="353444"/>
                  </a:lnTo>
                  <a:lnTo>
                    <a:pt x="532527" y="353444"/>
                  </a:lnTo>
                  <a:cubicBezTo>
                    <a:pt x="497873" y="353444"/>
                    <a:pt x="469781" y="325365"/>
                    <a:pt x="469781" y="290727"/>
                  </a:cubicBezTo>
                  <a:cubicBezTo>
                    <a:pt x="469781" y="256089"/>
                    <a:pt x="497873" y="228010"/>
                    <a:pt x="532527" y="228010"/>
                  </a:cubicBezTo>
                  <a:lnTo>
                    <a:pt x="854663" y="228010"/>
                  </a:lnTo>
                  <a:lnTo>
                    <a:pt x="739767" y="113167"/>
                  </a:lnTo>
                  <a:cubicBezTo>
                    <a:pt x="715270" y="88681"/>
                    <a:pt x="715270" y="48980"/>
                    <a:pt x="739767" y="24494"/>
                  </a:cubicBezTo>
                  <a:cubicBezTo>
                    <a:pt x="764274" y="0"/>
                    <a:pt x="804009" y="10"/>
                    <a:pt x="828503" y="24517"/>
                  </a:cubicBezTo>
                  <a:close/>
                  <a:moveTo>
                    <a:pt x="196490" y="230614"/>
                  </a:moveTo>
                  <a:cubicBezTo>
                    <a:pt x="202021" y="225083"/>
                    <a:pt x="210989" y="225086"/>
                    <a:pt x="216517" y="230619"/>
                  </a:cubicBezTo>
                  <a:lnTo>
                    <a:pt x="266567" y="280720"/>
                  </a:lnTo>
                  <a:cubicBezTo>
                    <a:pt x="272090" y="286250"/>
                    <a:pt x="272090" y="295208"/>
                    <a:pt x="266567" y="300737"/>
                  </a:cubicBezTo>
                  <a:lnTo>
                    <a:pt x="216517" y="350838"/>
                  </a:lnTo>
                  <a:cubicBezTo>
                    <a:pt x="210989" y="356371"/>
                    <a:pt x="202021" y="356374"/>
                    <a:pt x="196490" y="350843"/>
                  </a:cubicBezTo>
                  <a:cubicBezTo>
                    <a:pt x="190961" y="345314"/>
                    <a:pt x="190961" y="336350"/>
                    <a:pt x="196490" y="330821"/>
                  </a:cubicBezTo>
                  <a:lnTo>
                    <a:pt x="236583" y="290729"/>
                  </a:lnTo>
                  <a:lnTo>
                    <a:pt x="196490" y="250636"/>
                  </a:lnTo>
                  <a:cubicBezTo>
                    <a:pt x="190961" y="245108"/>
                    <a:pt x="190961" y="236143"/>
                    <a:pt x="196490" y="230614"/>
                  </a:cubicBezTo>
                  <a:close/>
                  <a:moveTo>
                    <a:pt x="101009" y="230614"/>
                  </a:moveTo>
                  <a:cubicBezTo>
                    <a:pt x="106540" y="225083"/>
                    <a:pt x="115508" y="225086"/>
                    <a:pt x="121036" y="230619"/>
                  </a:cubicBezTo>
                  <a:lnTo>
                    <a:pt x="171086" y="280720"/>
                  </a:lnTo>
                  <a:cubicBezTo>
                    <a:pt x="176610" y="286250"/>
                    <a:pt x="176610" y="295208"/>
                    <a:pt x="171086" y="300737"/>
                  </a:cubicBezTo>
                  <a:lnTo>
                    <a:pt x="121036" y="350838"/>
                  </a:lnTo>
                  <a:cubicBezTo>
                    <a:pt x="115508" y="356371"/>
                    <a:pt x="106540" y="356374"/>
                    <a:pt x="101009" y="350843"/>
                  </a:cubicBezTo>
                  <a:cubicBezTo>
                    <a:pt x="95480" y="345314"/>
                    <a:pt x="95480" y="336350"/>
                    <a:pt x="101009" y="330821"/>
                  </a:cubicBezTo>
                  <a:lnTo>
                    <a:pt x="141102" y="290729"/>
                  </a:lnTo>
                  <a:lnTo>
                    <a:pt x="101009" y="250636"/>
                  </a:lnTo>
                  <a:cubicBezTo>
                    <a:pt x="95480" y="245108"/>
                    <a:pt x="95480" y="236143"/>
                    <a:pt x="101009" y="230614"/>
                  </a:cubicBezTo>
                  <a:close/>
                  <a:moveTo>
                    <a:pt x="5528" y="230613"/>
                  </a:moveTo>
                  <a:cubicBezTo>
                    <a:pt x="11059" y="225082"/>
                    <a:pt x="20027" y="225084"/>
                    <a:pt x="25555" y="230618"/>
                  </a:cubicBezTo>
                  <a:lnTo>
                    <a:pt x="75605" y="280719"/>
                  </a:lnTo>
                  <a:cubicBezTo>
                    <a:pt x="81129" y="286248"/>
                    <a:pt x="81129" y="295207"/>
                    <a:pt x="75605" y="300736"/>
                  </a:cubicBezTo>
                  <a:lnTo>
                    <a:pt x="25555" y="350837"/>
                  </a:lnTo>
                  <a:cubicBezTo>
                    <a:pt x="20027" y="356370"/>
                    <a:pt x="11059" y="356373"/>
                    <a:pt x="5528" y="350841"/>
                  </a:cubicBezTo>
                  <a:cubicBezTo>
                    <a:pt x="0" y="345312"/>
                    <a:pt x="0" y="336349"/>
                    <a:pt x="5528" y="330820"/>
                  </a:cubicBezTo>
                  <a:lnTo>
                    <a:pt x="45620" y="290727"/>
                  </a:lnTo>
                  <a:lnTo>
                    <a:pt x="5528" y="250635"/>
                  </a:lnTo>
                  <a:cubicBezTo>
                    <a:pt x="0" y="245106"/>
                    <a:pt x="0" y="236142"/>
                    <a:pt x="5528" y="230613"/>
                  </a:cubicBezTo>
                  <a:close/>
                  <a:moveTo>
                    <a:pt x="368689" y="353442"/>
                  </a:moveTo>
                  <a:cubicBezTo>
                    <a:pt x="334051" y="353442"/>
                    <a:pt x="305972" y="325363"/>
                    <a:pt x="305972" y="290725"/>
                  </a:cubicBezTo>
                  <a:cubicBezTo>
                    <a:pt x="305972" y="256087"/>
                    <a:pt x="334051" y="228008"/>
                    <a:pt x="368689" y="228008"/>
                  </a:cubicBezTo>
                  <a:cubicBezTo>
                    <a:pt x="403327" y="228008"/>
                    <a:pt x="431406" y="256087"/>
                    <a:pt x="431406" y="290725"/>
                  </a:cubicBezTo>
                  <a:cubicBezTo>
                    <a:pt x="431406" y="325363"/>
                    <a:pt x="403327" y="353442"/>
                    <a:pt x="368689" y="353442"/>
                  </a:cubicBezTo>
                  <a:close/>
                </a:path>
              </a:pathLst>
            </a:custGeom>
            <a:noFill/>
            <a:ln w="4446">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95" name="Group 94">
            <a:extLst>
              <a:ext uri="{FF2B5EF4-FFF2-40B4-BE49-F238E27FC236}">
                <a16:creationId xmlns:a16="http://schemas.microsoft.com/office/drawing/2014/main" id="{C86E1DCB-D634-EDAE-BFDF-5CBEBBDB7901}"/>
              </a:ext>
            </a:extLst>
          </p:cNvPr>
          <p:cNvGrpSpPr/>
          <p:nvPr/>
        </p:nvGrpSpPr>
        <p:grpSpPr>
          <a:xfrm>
            <a:off x="4786504" y="5483342"/>
            <a:ext cx="1074740" cy="581455"/>
            <a:chOff x="4184567" y="2057198"/>
            <a:chExt cx="1074740" cy="581455"/>
          </a:xfrm>
        </p:grpSpPr>
        <p:sp>
          <p:nvSpPr>
            <p:cNvPr id="121" name="Rounded Rectangle 16">
              <a:extLst>
                <a:ext uri="{FF2B5EF4-FFF2-40B4-BE49-F238E27FC236}">
                  <a16:creationId xmlns:a16="http://schemas.microsoft.com/office/drawing/2014/main" id="{E2D19B3A-9BAC-83B8-4539-2A14975EE9BA}"/>
                </a:ext>
              </a:extLst>
            </p:cNvPr>
            <p:cNvSpPr/>
            <p:nvPr/>
          </p:nvSpPr>
          <p:spPr>
            <a:xfrm>
              <a:off x="4184567" y="2057198"/>
              <a:ext cx="1074740" cy="581455"/>
            </a:xfrm>
            <a:custGeom>
              <a:avLst/>
              <a:gdLst/>
              <a:ahLst/>
              <a:cxnLst/>
              <a:rect l="0" t="0" r="0" b="0"/>
              <a:pathLst>
                <a:path w="1074740" h="581455">
                  <a:moveTo>
                    <a:pt x="1050264" y="246402"/>
                  </a:moveTo>
                  <a:cubicBezTo>
                    <a:pt x="1074740" y="270890"/>
                    <a:pt x="1074740" y="310565"/>
                    <a:pt x="1050264" y="335052"/>
                  </a:cubicBezTo>
                  <a:lnTo>
                    <a:pt x="828504" y="556937"/>
                  </a:lnTo>
                  <a:cubicBezTo>
                    <a:pt x="804011" y="581444"/>
                    <a:pt x="764274" y="581455"/>
                    <a:pt x="739769" y="556960"/>
                  </a:cubicBezTo>
                  <a:cubicBezTo>
                    <a:pt x="715270" y="532474"/>
                    <a:pt x="715270" y="492773"/>
                    <a:pt x="739769" y="468287"/>
                  </a:cubicBezTo>
                  <a:lnTo>
                    <a:pt x="854663" y="353445"/>
                  </a:lnTo>
                  <a:lnTo>
                    <a:pt x="532527" y="353445"/>
                  </a:lnTo>
                  <a:cubicBezTo>
                    <a:pt x="497873" y="353445"/>
                    <a:pt x="469781" y="325365"/>
                    <a:pt x="469781" y="290728"/>
                  </a:cubicBezTo>
                  <a:cubicBezTo>
                    <a:pt x="469781" y="256090"/>
                    <a:pt x="497873" y="228010"/>
                    <a:pt x="532527" y="228010"/>
                  </a:cubicBezTo>
                  <a:lnTo>
                    <a:pt x="854663" y="228010"/>
                  </a:lnTo>
                  <a:lnTo>
                    <a:pt x="739769" y="113168"/>
                  </a:lnTo>
                  <a:cubicBezTo>
                    <a:pt x="715270" y="88681"/>
                    <a:pt x="715270" y="48981"/>
                    <a:pt x="739769" y="24495"/>
                  </a:cubicBezTo>
                  <a:cubicBezTo>
                    <a:pt x="764274" y="0"/>
                    <a:pt x="804011" y="10"/>
                    <a:pt x="828504" y="24518"/>
                  </a:cubicBezTo>
                  <a:close/>
                  <a:moveTo>
                    <a:pt x="196490" y="230615"/>
                  </a:moveTo>
                  <a:cubicBezTo>
                    <a:pt x="202021" y="225084"/>
                    <a:pt x="210989" y="225086"/>
                    <a:pt x="216517" y="230620"/>
                  </a:cubicBezTo>
                  <a:lnTo>
                    <a:pt x="266567" y="280721"/>
                  </a:lnTo>
                  <a:cubicBezTo>
                    <a:pt x="272090" y="286250"/>
                    <a:pt x="272090" y="295209"/>
                    <a:pt x="266567" y="300738"/>
                  </a:cubicBezTo>
                  <a:lnTo>
                    <a:pt x="216517" y="350838"/>
                  </a:lnTo>
                  <a:cubicBezTo>
                    <a:pt x="210989" y="356372"/>
                    <a:pt x="202021" y="356374"/>
                    <a:pt x="196490" y="350844"/>
                  </a:cubicBezTo>
                  <a:cubicBezTo>
                    <a:pt x="190961" y="345315"/>
                    <a:pt x="190961" y="336351"/>
                    <a:pt x="196490" y="330822"/>
                  </a:cubicBezTo>
                  <a:lnTo>
                    <a:pt x="236583" y="290729"/>
                  </a:lnTo>
                  <a:lnTo>
                    <a:pt x="196490" y="250637"/>
                  </a:lnTo>
                  <a:cubicBezTo>
                    <a:pt x="190961" y="245108"/>
                    <a:pt x="190961" y="236144"/>
                    <a:pt x="196490" y="230615"/>
                  </a:cubicBezTo>
                  <a:close/>
                  <a:moveTo>
                    <a:pt x="101009" y="230615"/>
                  </a:moveTo>
                  <a:cubicBezTo>
                    <a:pt x="106540" y="225084"/>
                    <a:pt x="115508" y="225086"/>
                    <a:pt x="121036" y="230620"/>
                  </a:cubicBezTo>
                  <a:lnTo>
                    <a:pt x="171086" y="280721"/>
                  </a:lnTo>
                  <a:cubicBezTo>
                    <a:pt x="176610" y="286250"/>
                    <a:pt x="176610" y="295209"/>
                    <a:pt x="171086" y="300738"/>
                  </a:cubicBezTo>
                  <a:lnTo>
                    <a:pt x="121036" y="350838"/>
                  </a:lnTo>
                  <a:cubicBezTo>
                    <a:pt x="115508" y="356372"/>
                    <a:pt x="106540" y="356374"/>
                    <a:pt x="101009" y="350844"/>
                  </a:cubicBezTo>
                  <a:cubicBezTo>
                    <a:pt x="95480" y="345315"/>
                    <a:pt x="95480" y="336351"/>
                    <a:pt x="101009" y="330822"/>
                  </a:cubicBezTo>
                  <a:lnTo>
                    <a:pt x="141102" y="290729"/>
                  </a:lnTo>
                  <a:lnTo>
                    <a:pt x="101009" y="250637"/>
                  </a:lnTo>
                  <a:cubicBezTo>
                    <a:pt x="95480" y="245108"/>
                    <a:pt x="95480" y="236144"/>
                    <a:pt x="101009" y="230615"/>
                  </a:cubicBezTo>
                  <a:close/>
                  <a:moveTo>
                    <a:pt x="5528" y="230613"/>
                  </a:moveTo>
                  <a:cubicBezTo>
                    <a:pt x="11059" y="225083"/>
                    <a:pt x="20027" y="225085"/>
                    <a:pt x="25555" y="230619"/>
                  </a:cubicBezTo>
                  <a:lnTo>
                    <a:pt x="75605" y="280720"/>
                  </a:lnTo>
                  <a:cubicBezTo>
                    <a:pt x="81129" y="286248"/>
                    <a:pt x="81129" y="295207"/>
                    <a:pt x="75605" y="300736"/>
                  </a:cubicBezTo>
                  <a:lnTo>
                    <a:pt x="25555" y="350837"/>
                  </a:lnTo>
                  <a:cubicBezTo>
                    <a:pt x="20027" y="356371"/>
                    <a:pt x="11059" y="356373"/>
                    <a:pt x="5528" y="350842"/>
                  </a:cubicBezTo>
                  <a:cubicBezTo>
                    <a:pt x="0" y="345313"/>
                    <a:pt x="0" y="336349"/>
                    <a:pt x="5528" y="330821"/>
                  </a:cubicBezTo>
                  <a:lnTo>
                    <a:pt x="45620" y="290728"/>
                  </a:lnTo>
                  <a:lnTo>
                    <a:pt x="5528" y="250635"/>
                  </a:lnTo>
                  <a:cubicBezTo>
                    <a:pt x="0" y="245106"/>
                    <a:pt x="0" y="236142"/>
                    <a:pt x="5528" y="230613"/>
                  </a:cubicBezTo>
                  <a:close/>
                  <a:moveTo>
                    <a:pt x="368689" y="353442"/>
                  </a:moveTo>
                  <a:cubicBezTo>
                    <a:pt x="334051" y="353442"/>
                    <a:pt x="305972" y="325363"/>
                    <a:pt x="305972" y="290726"/>
                  </a:cubicBezTo>
                  <a:cubicBezTo>
                    <a:pt x="305972" y="256088"/>
                    <a:pt x="334051" y="228009"/>
                    <a:pt x="368689" y="228009"/>
                  </a:cubicBezTo>
                  <a:cubicBezTo>
                    <a:pt x="403327" y="228009"/>
                    <a:pt x="431406" y="256088"/>
                    <a:pt x="431406" y="290726"/>
                  </a:cubicBezTo>
                  <a:cubicBezTo>
                    <a:pt x="431406" y="325363"/>
                    <a:pt x="403327" y="353442"/>
                    <a:pt x="368689" y="353442"/>
                  </a:cubicBezTo>
                  <a:close/>
                </a:path>
              </a:pathLst>
            </a:custGeom>
            <a:solidFill>
              <a:srgbClr val="FF9518"/>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122" name="Rounded Rectangle 17">
              <a:extLst>
                <a:ext uri="{FF2B5EF4-FFF2-40B4-BE49-F238E27FC236}">
                  <a16:creationId xmlns:a16="http://schemas.microsoft.com/office/drawing/2014/main" id="{36D98C53-330B-8AF3-8472-957F6F6A3439}"/>
                </a:ext>
              </a:extLst>
            </p:cNvPr>
            <p:cNvSpPr/>
            <p:nvPr/>
          </p:nvSpPr>
          <p:spPr>
            <a:xfrm>
              <a:off x="4184567" y="2057199"/>
              <a:ext cx="1074739" cy="581454"/>
            </a:xfrm>
            <a:custGeom>
              <a:avLst/>
              <a:gdLst/>
              <a:ahLst/>
              <a:cxnLst/>
              <a:rect l="0" t="0" r="0" b="0"/>
              <a:pathLst>
                <a:path w="1074739" h="581454">
                  <a:moveTo>
                    <a:pt x="1050265" y="246402"/>
                  </a:moveTo>
                  <a:cubicBezTo>
                    <a:pt x="1074739" y="270889"/>
                    <a:pt x="1074739" y="310564"/>
                    <a:pt x="1050265" y="335052"/>
                  </a:cubicBezTo>
                  <a:lnTo>
                    <a:pt x="828504" y="556936"/>
                  </a:lnTo>
                  <a:cubicBezTo>
                    <a:pt x="804009" y="581444"/>
                    <a:pt x="764274" y="581454"/>
                    <a:pt x="739767" y="556959"/>
                  </a:cubicBezTo>
                  <a:cubicBezTo>
                    <a:pt x="715270" y="532473"/>
                    <a:pt x="715270" y="492773"/>
                    <a:pt x="739767" y="468286"/>
                  </a:cubicBezTo>
                  <a:lnTo>
                    <a:pt x="854662" y="353444"/>
                  </a:lnTo>
                  <a:lnTo>
                    <a:pt x="532527" y="353444"/>
                  </a:lnTo>
                  <a:cubicBezTo>
                    <a:pt x="497873" y="353444"/>
                    <a:pt x="469781" y="325365"/>
                    <a:pt x="469781" y="290727"/>
                  </a:cubicBezTo>
                  <a:cubicBezTo>
                    <a:pt x="469781" y="256089"/>
                    <a:pt x="497873" y="228010"/>
                    <a:pt x="532527" y="228010"/>
                  </a:cubicBezTo>
                  <a:lnTo>
                    <a:pt x="854663" y="228010"/>
                  </a:lnTo>
                  <a:lnTo>
                    <a:pt x="739767" y="113167"/>
                  </a:lnTo>
                  <a:cubicBezTo>
                    <a:pt x="715270" y="88681"/>
                    <a:pt x="715270" y="48980"/>
                    <a:pt x="739767" y="24494"/>
                  </a:cubicBezTo>
                  <a:cubicBezTo>
                    <a:pt x="764274" y="0"/>
                    <a:pt x="804009" y="10"/>
                    <a:pt x="828503" y="24517"/>
                  </a:cubicBezTo>
                  <a:close/>
                  <a:moveTo>
                    <a:pt x="196490" y="230614"/>
                  </a:moveTo>
                  <a:cubicBezTo>
                    <a:pt x="202021" y="225083"/>
                    <a:pt x="210989" y="225086"/>
                    <a:pt x="216517" y="230619"/>
                  </a:cubicBezTo>
                  <a:lnTo>
                    <a:pt x="266567" y="280720"/>
                  </a:lnTo>
                  <a:cubicBezTo>
                    <a:pt x="272090" y="286250"/>
                    <a:pt x="272090" y="295208"/>
                    <a:pt x="266567" y="300737"/>
                  </a:cubicBezTo>
                  <a:lnTo>
                    <a:pt x="216517" y="350838"/>
                  </a:lnTo>
                  <a:cubicBezTo>
                    <a:pt x="210989" y="356371"/>
                    <a:pt x="202021" y="356374"/>
                    <a:pt x="196490" y="350843"/>
                  </a:cubicBezTo>
                  <a:cubicBezTo>
                    <a:pt x="190961" y="345314"/>
                    <a:pt x="190961" y="336350"/>
                    <a:pt x="196490" y="330821"/>
                  </a:cubicBezTo>
                  <a:lnTo>
                    <a:pt x="236583" y="290729"/>
                  </a:lnTo>
                  <a:lnTo>
                    <a:pt x="196490" y="250636"/>
                  </a:lnTo>
                  <a:cubicBezTo>
                    <a:pt x="190961" y="245108"/>
                    <a:pt x="190961" y="236143"/>
                    <a:pt x="196490" y="230614"/>
                  </a:cubicBezTo>
                  <a:close/>
                  <a:moveTo>
                    <a:pt x="101009" y="230614"/>
                  </a:moveTo>
                  <a:cubicBezTo>
                    <a:pt x="106540" y="225083"/>
                    <a:pt x="115508" y="225086"/>
                    <a:pt x="121036" y="230619"/>
                  </a:cubicBezTo>
                  <a:lnTo>
                    <a:pt x="171086" y="280720"/>
                  </a:lnTo>
                  <a:cubicBezTo>
                    <a:pt x="176610" y="286250"/>
                    <a:pt x="176610" y="295208"/>
                    <a:pt x="171086" y="300737"/>
                  </a:cubicBezTo>
                  <a:lnTo>
                    <a:pt x="121036" y="350838"/>
                  </a:lnTo>
                  <a:cubicBezTo>
                    <a:pt x="115508" y="356371"/>
                    <a:pt x="106540" y="356374"/>
                    <a:pt x="101009" y="350843"/>
                  </a:cubicBezTo>
                  <a:cubicBezTo>
                    <a:pt x="95480" y="345314"/>
                    <a:pt x="95480" y="336350"/>
                    <a:pt x="101009" y="330821"/>
                  </a:cubicBezTo>
                  <a:lnTo>
                    <a:pt x="141102" y="290729"/>
                  </a:lnTo>
                  <a:lnTo>
                    <a:pt x="101009" y="250636"/>
                  </a:lnTo>
                  <a:cubicBezTo>
                    <a:pt x="95480" y="245108"/>
                    <a:pt x="95480" y="236143"/>
                    <a:pt x="101009" y="230614"/>
                  </a:cubicBezTo>
                  <a:close/>
                  <a:moveTo>
                    <a:pt x="5528" y="230613"/>
                  </a:moveTo>
                  <a:cubicBezTo>
                    <a:pt x="11059" y="225082"/>
                    <a:pt x="20027" y="225084"/>
                    <a:pt x="25555" y="230618"/>
                  </a:cubicBezTo>
                  <a:lnTo>
                    <a:pt x="75605" y="280719"/>
                  </a:lnTo>
                  <a:cubicBezTo>
                    <a:pt x="81129" y="286248"/>
                    <a:pt x="81129" y="295207"/>
                    <a:pt x="75605" y="300736"/>
                  </a:cubicBezTo>
                  <a:lnTo>
                    <a:pt x="25555" y="350837"/>
                  </a:lnTo>
                  <a:cubicBezTo>
                    <a:pt x="20027" y="356370"/>
                    <a:pt x="11059" y="356373"/>
                    <a:pt x="5528" y="350841"/>
                  </a:cubicBezTo>
                  <a:cubicBezTo>
                    <a:pt x="0" y="345312"/>
                    <a:pt x="0" y="336349"/>
                    <a:pt x="5528" y="330820"/>
                  </a:cubicBezTo>
                  <a:lnTo>
                    <a:pt x="45620" y="290727"/>
                  </a:lnTo>
                  <a:lnTo>
                    <a:pt x="5528" y="250635"/>
                  </a:lnTo>
                  <a:cubicBezTo>
                    <a:pt x="0" y="245106"/>
                    <a:pt x="0" y="236142"/>
                    <a:pt x="5528" y="230613"/>
                  </a:cubicBezTo>
                  <a:close/>
                  <a:moveTo>
                    <a:pt x="368689" y="353442"/>
                  </a:moveTo>
                  <a:cubicBezTo>
                    <a:pt x="334051" y="353442"/>
                    <a:pt x="305972" y="325363"/>
                    <a:pt x="305972" y="290725"/>
                  </a:cubicBezTo>
                  <a:cubicBezTo>
                    <a:pt x="305972" y="256087"/>
                    <a:pt x="334051" y="228008"/>
                    <a:pt x="368689" y="228008"/>
                  </a:cubicBezTo>
                  <a:cubicBezTo>
                    <a:pt x="403327" y="228008"/>
                    <a:pt x="431406" y="256087"/>
                    <a:pt x="431406" y="290725"/>
                  </a:cubicBezTo>
                  <a:cubicBezTo>
                    <a:pt x="431406" y="325363"/>
                    <a:pt x="403327" y="353442"/>
                    <a:pt x="368689" y="353442"/>
                  </a:cubicBezTo>
                  <a:close/>
                </a:path>
              </a:pathLst>
            </a:custGeom>
            <a:noFill/>
            <a:ln w="4446">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96" name="Group 95">
            <a:extLst>
              <a:ext uri="{FF2B5EF4-FFF2-40B4-BE49-F238E27FC236}">
                <a16:creationId xmlns:a16="http://schemas.microsoft.com/office/drawing/2014/main" id="{C108CB88-1408-5E48-9931-906995D8BC9D}"/>
              </a:ext>
            </a:extLst>
          </p:cNvPr>
          <p:cNvGrpSpPr/>
          <p:nvPr/>
        </p:nvGrpSpPr>
        <p:grpSpPr>
          <a:xfrm>
            <a:off x="5996041" y="5483342"/>
            <a:ext cx="1074740" cy="581455"/>
            <a:chOff x="5394104" y="2057198"/>
            <a:chExt cx="1074740" cy="581455"/>
          </a:xfrm>
        </p:grpSpPr>
        <p:sp>
          <p:nvSpPr>
            <p:cNvPr id="119" name="Rounded Rectangle 19">
              <a:extLst>
                <a:ext uri="{FF2B5EF4-FFF2-40B4-BE49-F238E27FC236}">
                  <a16:creationId xmlns:a16="http://schemas.microsoft.com/office/drawing/2014/main" id="{A284273C-1E1B-6BF4-9BB6-19C834584F5D}"/>
                </a:ext>
              </a:extLst>
            </p:cNvPr>
            <p:cNvSpPr/>
            <p:nvPr/>
          </p:nvSpPr>
          <p:spPr>
            <a:xfrm>
              <a:off x="5394104" y="2057198"/>
              <a:ext cx="1074740" cy="581455"/>
            </a:xfrm>
            <a:custGeom>
              <a:avLst/>
              <a:gdLst/>
              <a:ahLst/>
              <a:cxnLst/>
              <a:rect l="0" t="0" r="0" b="0"/>
              <a:pathLst>
                <a:path w="1074740" h="581455">
                  <a:moveTo>
                    <a:pt x="1050264" y="246402"/>
                  </a:moveTo>
                  <a:cubicBezTo>
                    <a:pt x="1074740" y="270890"/>
                    <a:pt x="1074740" y="310565"/>
                    <a:pt x="1050264" y="335052"/>
                  </a:cubicBezTo>
                  <a:lnTo>
                    <a:pt x="828504" y="556937"/>
                  </a:lnTo>
                  <a:cubicBezTo>
                    <a:pt x="804011" y="581444"/>
                    <a:pt x="764274" y="581455"/>
                    <a:pt x="739769" y="556960"/>
                  </a:cubicBezTo>
                  <a:cubicBezTo>
                    <a:pt x="715270" y="532474"/>
                    <a:pt x="715270" y="492773"/>
                    <a:pt x="739769" y="468287"/>
                  </a:cubicBezTo>
                  <a:lnTo>
                    <a:pt x="854663" y="353445"/>
                  </a:lnTo>
                  <a:lnTo>
                    <a:pt x="532527" y="353445"/>
                  </a:lnTo>
                  <a:cubicBezTo>
                    <a:pt x="497873" y="353445"/>
                    <a:pt x="469781" y="325365"/>
                    <a:pt x="469781" y="290728"/>
                  </a:cubicBezTo>
                  <a:cubicBezTo>
                    <a:pt x="469781" y="256090"/>
                    <a:pt x="497873" y="228010"/>
                    <a:pt x="532527" y="228010"/>
                  </a:cubicBezTo>
                  <a:lnTo>
                    <a:pt x="854663" y="228010"/>
                  </a:lnTo>
                  <a:lnTo>
                    <a:pt x="739769" y="113168"/>
                  </a:lnTo>
                  <a:cubicBezTo>
                    <a:pt x="715270" y="88681"/>
                    <a:pt x="715270" y="48981"/>
                    <a:pt x="739769" y="24495"/>
                  </a:cubicBezTo>
                  <a:cubicBezTo>
                    <a:pt x="764274" y="0"/>
                    <a:pt x="804011" y="10"/>
                    <a:pt x="828504" y="24518"/>
                  </a:cubicBezTo>
                  <a:close/>
                  <a:moveTo>
                    <a:pt x="196490" y="230615"/>
                  </a:moveTo>
                  <a:cubicBezTo>
                    <a:pt x="202021" y="225084"/>
                    <a:pt x="210989" y="225086"/>
                    <a:pt x="216517" y="230620"/>
                  </a:cubicBezTo>
                  <a:lnTo>
                    <a:pt x="266567" y="280721"/>
                  </a:lnTo>
                  <a:cubicBezTo>
                    <a:pt x="272090" y="286250"/>
                    <a:pt x="272090" y="295209"/>
                    <a:pt x="266567" y="300738"/>
                  </a:cubicBezTo>
                  <a:lnTo>
                    <a:pt x="216517" y="350838"/>
                  </a:lnTo>
                  <a:cubicBezTo>
                    <a:pt x="210989" y="356372"/>
                    <a:pt x="202021" y="356374"/>
                    <a:pt x="196490" y="350844"/>
                  </a:cubicBezTo>
                  <a:cubicBezTo>
                    <a:pt x="190961" y="345315"/>
                    <a:pt x="190961" y="336351"/>
                    <a:pt x="196490" y="330822"/>
                  </a:cubicBezTo>
                  <a:lnTo>
                    <a:pt x="236583" y="290729"/>
                  </a:lnTo>
                  <a:lnTo>
                    <a:pt x="196490" y="250637"/>
                  </a:lnTo>
                  <a:cubicBezTo>
                    <a:pt x="190961" y="245108"/>
                    <a:pt x="190961" y="236144"/>
                    <a:pt x="196490" y="230615"/>
                  </a:cubicBezTo>
                  <a:close/>
                  <a:moveTo>
                    <a:pt x="101009" y="230615"/>
                  </a:moveTo>
                  <a:cubicBezTo>
                    <a:pt x="106540" y="225084"/>
                    <a:pt x="115508" y="225086"/>
                    <a:pt x="121036" y="230620"/>
                  </a:cubicBezTo>
                  <a:lnTo>
                    <a:pt x="171086" y="280721"/>
                  </a:lnTo>
                  <a:cubicBezTo>
                    <a:pt x="176610" y="286250"/>
                    <a:pt x="176610" y="295209"/>
                    <a:pt x="171086" y="300738"/>
                  </a:cubicBezTo>
                  <a:lnTo>
                    <a:pt x="121036" y="350838"/>
                  </a:lnTo>
                  <a:cubicBezTo>
                    <a:pt x="115508" y="356372"/>
                    <a:pt x="106540" y="356374"/>
                    <a:pt x="101009" y="350844"/>
                  </a:cubicBezTo>
                  <a:cubicBezTo>
                    <a:pt x="95480" y="345315"/>
                    <a:pt x="95480" y="336351"/>
                    <a:pt x="101009" y="330822"/>
                  </a:cubicBezTo>
                  <a:lnTo>
                    <a:pt x="141102" y="290729"/>
                  </a:lnTo>
                  <a:lnTo>
                    <a:pt x="101009" y="250637"/>
                  </a:lnTo>
                  <a:cubicBezTo>
                    <a:pt x="95480" y="245108"/>
                    <a:pt x="95480" y="236144"/>
                    <a:pt x="101009" y="230615"/>
                  </a:cubicBezTo>
                  <a:close/>
                  <a:moveTo>
                    <a:pt x="5528" y="230613"/>
                  </a:moveTo>
                  <a:cubicBezTo>
                    <a:pt x="11059" y="225083"/>
                    <a:pt x="20027" y="225085"/>
                    <a:pt x="25555" y="230619"/>
                  </a:cubicBezTo>
                  <a:lnTo>
                    <a:pt x="75605" y="280720"/>
                  </a:lnTo>
                  <a:cubicBezTo>
                    <a:pt x="81129" y="286248"/>
                    <a:pt x="81129" y="295207"/>
                    <a:pt x="75605" y="300736"/>
                  </a:cubicBezTo>
                  <a:lnTo>
                    <a:pt x="25555" y="350837"/>
                  </a:lnTo>
                  <a:cubicBezTo>
                    <a:pt x="20027" y="356371"/>
                    <a:pt x="11059" y="356373"/>
                    <a:pt x="5528" y="350842"/>
                  </a:cubicBezTo>
                  <a:cubicBezTo>
                    <a:pt x="0" y="345313"/>
                    <a:pt x="0" y="336349"/>
                    <a:pt x="5528" y="330821"/>
                  </a:cubicBezTo>
                  <a:lnTo>
                    <a:pt x="45620" y="290728"/>
                  </a:lnTo>
                  <a:lnTo>
                    <a:pt x="5528" y="250635"/>
                  </a:lnTo>
                  <a:cubicBezTo>
                    <a:pt x="0" y="245106"/>
                    <a:pt x="0" y="236142"/>
                    <a:pt x="5528" y="230613"/>
                  </a:cubicBezTo>
                  <a:close/>
                  <a:moveTo>
                    <a:pt x="368689" y="353442"/>
                  </a:moveTo>
                  <a:cubicBezTo>
                    <a:pt x="334051" y="353442"/>
                    <a:pt x="305972" y="325363"/>
                    <a:pt x="305972" y="290726"/>
                  </a:cubicBezTo>
                  <a:cubicBezTo>
                    <a:pt x="305972" y="256088"/>
                    <a:pt x="334051" y="228009"/>
                    <a:pt x="368689" y="228009"/>
                  </a:cubicBezTo>
                  <a:cubicBezTo>
                    <a:pt x="403327" y="228009"/>
                    <a:pt x="431406" y="256088"/>
                    <a:pt x="431406" y="290726"/>
                  </a:cubicBezTo>
                  <a:cubicBezTo>
                    <a:pt x="431406" y="325363"/>
                    <a:pt x="403327" y="353442"/>
                    <a:pt x="368689" y="353442"/>
                  </a:cubicBezTo>
                  <a:close/>
                </a:path>
              </a:pathLst>
            </a:custGeom>
            <a:solidFill>
              <a:srgbClr val="FFA63C"/>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120" name="Rounded Rectangle 20">
              <a:extLst>
                <a:ext uri="{FF2B5EF4-FFF2-40B4-BE49-F238E27FC236}">
                  <a16:creationId xmlns:a16="http://schemas.microsoft.com/office/drawing/2014/main" id="{465496B8-8076-8C92-BAF8-B1BBE0A2D7EC}"/>
                </a:ext>
              </a:extLst>
            </p:cNvPr>
            <p:cNvSpPr/>
            <p:nvPr/>
          </p:nvSpPr>
          <p:spPr>
            <a:xfrm>
              <a:off x="5394104" y="2057199"/>
              <a:ext cx="1074739" cy="581454"/>
            </a:xfrm>
            <a:custGeom>
              <a:avLst/>
              <a:gdLst/>
              <a:ahLst/>
              <a:cxnLst/>
              <a:rect l="0" t="0" r="0" b="0"/>
              <a:pathLst>
                <a:path w="1074739" h="581454">
                  <a:moveTo>
                    <a:pt x="1050265" y="246402"/>
                  </a:moveTo>
                  <a:cubicBezTo>
                    <a:pt x="1074739" y="270889"/>
                    <a:pt x="1074739" y="310564"/>
                    <a:pt x="1050265" y="335052"/>
                  </a:cubicBezTo>
                  <a:lnTo>
                    <a:pt x="828504" y="556936"/>
                  </a:lnTo>
                  <a:cubicBezTo>
                    <a:pt x="804009" y="581444"/>
                    <a:pt x="764274" y="581454"/>
                    <a:pt x="739767" y="556959"/>
                  </a:cubicBezTo>
                  <a:cubicBezTo>
                    <a:pt x="715270" y="532473"/>
                    <a:pt x="715270" y="492773"/>
                    <a:pt x="739767" y="468286"/>
                  </a:cubicBezTo>
                  <a:lnTo>
                    <a:pt x="854662" y="353444"/>
                  </a:lnTo>
                  <a:lnTo>
                    <a:pt x="532527" y="353444"/>
                  </a:lnTo>
                  <a:cubicBezTo>
                    <a:pt x="497873" y="353444"/>
                    <a:pt x="469781" y="325365"/>
                    <a:pt x="469781" y="290727"/>
                  </a:cubicBezTo>
                  <a:cubicBezTo>
                    <a:pt x="469781" y="256089"/>
                    <a:pt x="497873" y="228010"/>
                    <a:pt x="532527" y="228010"/>
                  </a:cubicBezTo>
                  <a:lnTo>
                    <a:pt x="854663" y="228010"/>
                  </a:lnTo>
                  <a:lnTo>
                    <a:pt x="739767" y="113167"/>
                  </a:lnTo>
                  <a:cubicBezTo>
                    <a:pt x="715270" y="88681"/>
                    <a:pt x="715270" y="48980"/>
                    <a:pt x="739767" y="24494"/>
                  </a:cubicBezTo>
                  <a:cubicBezTo>
                    <a:pt x="764274" y="0"/>
                    <a:pt x="804009" y="10"/>
                    <a:pt x="828503" y="24517"/>
                  </a:cubicBezTo>
                  <a:close/>
                  <a:moveTo>
                    <a:pt x="196490" y="230614"/>
                  </a:moveTo>
                  <a:cubicBezTo>
                    <a:pt x="202021" y="225083"/>
                    <a:pt x="210989" y="225086"/>
                    <a:pt x="216517" y="230619"/>
                  </a:cubicBezTo>
                  <a:lnTo>
                    <a:pt x="266567" y="280720"/>
                  </a:lnTo>
                  <a:cubicBezTo>
                    <a:pt x="272090" y="286250"/>
                    <a:pt x="272090" y="295208"/>
                    <a:pt x="266567" y="300737"/>
                  </a:cubicBezTo>
                  <a:lnTo>
                    <a:pt x="216517" y="350838"/>
                  </a:lnTo>
                  <a:cubicBezTo>
                    <a:pt x="210989" y="356371"/>
                    <a:pt x="202021" y="356374"/>
                    <a:pt x="196490" y="350843"/>
                  </a:cubicBezTo>
                  <a:cubicBezTo>
                    <a:pt x="190961" y="345314"/>
                    <a:pt x="190961" y="336350"/>
                    <a:pt x="196490" y="330821"/>
                  </a:cubicBezTo>
                  <a:lnTo>
                    <a:pt x="236583" y="290729"/>
                  </a:lnTo>
                  <a:lnTo>
                    <a:pt x="196490" y="250636"/>
                  </a:lnTo>
                  <a:cubicBezTo>
                    <a:pt x="190961" y="245108"/>
                    <a:pt x="190961" y="236143"/>
                    <a:pt x="196490" y="230614"/>
                  </a:cubicBezTo>
                  <a:close/>
                  <a:moveTo>
                    <a:pt x="101009" y="230614"/>
                  </a:moveTo>
                  <a:cubicBezTo>
                    <a:pt x="106540" y="225083"/>
                    <a:pt x="115508" y="225086"/>
                    <a:pt x="121036" y="230619"/>
                  </a:cubicBezTo>
                  <a:lnTo>
                    <a:pt x="171086" y="280720"/>
                  </a:lnTo>
                  <a:cubicBezTo>
                    <a:pt x="176610" y="286250"/>
                    <a:pt x="176610" y="295208"/>
                    <a:pt x="171086" y="300737"/>
                  </a:cubicBezTo>
                  <a:lnTo>
                    <a:pt x="121036" y="350838"/>
                  </a:lnTo>
                  <a:cubicBezTo>
                    <a:pt x="115508" y="356371"/>
                    <a:pt x="106540" y="356374"/>
                    <a:pt x="101009" y="350843"/>
                  </a:cubicBezTo>
                  <a:cubicBezTo>
                    <a:pt x="95480" y="345314"/>
                    <a:pt x="95480" y="336350"/>
                    <a:pt x="101009" y="330821"/>
                  </a:cubicBezTo>
                  <a:lnTo>
                    <a:pt x="141102" y="290729"/>
                  </a:lnTo>
                  <a:lnTo>
                    <a:pt x="101009" y="250636"/>
                  </a:lnTo>
                  <a:cubicBezTo>
                    <a:pt x="95480" y="245108"/>
                    <a:pt x="95480" y="236143"/>
                    <a:pt x="101009" y="230614"/>
                  </a:cubicBezTo>
                  <a:close/>
                  <a:moveTo>
                    <a:pt x="5528" y="230613"/>
                  </a:moveTo>
                  <a:cubicBezTo>
                    <a:pt x="11059" y="225082"/>
                    <a:pt x="20027" y="225084"/>
                    <a:pt x="25555" y="230618"/>
                  </a:cubicBezTo>
                  <a:lnTo>
                    <a:pt x="75605" y="280719"/>
                  </a:lnTo>
                  <a:cubicBezTo>
                    <a:pt x="81129" y="286248"/>
                    <a:pt x="81129" y="295207"/>
                    <a:pt x="75605" y="300736"/>
                  </a:cubicBezTo>
                  <a:lnTo>
                    <a:pt x="25555" y="350837"/>
                  </a:lnTo>
                  <a:cubicBezTo>
                    <a:pt x="20027" y="356370"/>
                    <a:pt x="11059" y="356373"/>
                    <a:pt x="5528" y="350841"/>
                  </a:cubicBezTo>
                  <a:cubicBezTo>
                    <a:pt x="0" y="345312"/>
                    <a:pt x="0" y="336349"/>
                    <a:pt x="5528" y="330820"/>
                  </a:cubicBezTo>
                  <a:lnTo>
                    <a:pt x="45620" y="290727"/>
                  </a:lnTo>
                  <a:lnTo>
                    <a:pt x="5528" y="250635"/>
                  </a:lnTo>
                  <a:cubicBezTo>
                    <a:pt x="0" y="245106"/>
                    <a:pt x="0" y="236142"/>
                    <a:pt x="5528" y="230613"/>
                  </a:cubicBezTo>
                  <a:close/>
                  <a:moveTo>
                    <a:pt x="368689" y="353442"/>
                  </a:moveTo>
                  <a:cubicBezTo>
                    <a:pt x="334051" y="353442"/>
                    <a:pt x="305972" y="325363"/>
                    <a:pt x="305972" y="290725"/>
                  </a:cubicBezTo>
                  <a:cubicBezTo>
                    <a:pt x="305972" y="256087"/>
                    <a:pt x="334051" y="228008"/>
                    <a:pt x="368689" y="228008"/>
                  </a:cubicBezTo>
                  <a:cubicBezTo>
                    <a:pt x="403327" y="228008"/>
                    <a:pt x="431406" y="256087"/>
                    <a:pt x="431406" y="290725"/>
                  </a:cubicBezTo>
                  <a:cubicBezTo>
                    <a:pt x="431406" y="325363"/>
                    <a:pt x="403327" y="353442"/>
                    <a:pt x="368689" y="353442"/>
                  </a:cubicBezTo>
                  <a:close/>
                </a:path>
              </a:pathLst>
            </a:custGeom>
            <a:noFill/>
            <a:ln w="4446">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97" name="Group 96">
            <a:extLst>
              <a:ext uri="{FF2B5EF4-FFF2-40B4-BE49-F238E27FC236}">
                <a16:creationId xmlns:a16="http://schemas.microsoft.com/office/drawing/2014/main" id="{8395E925-60BF-2443-E19F-E47C4C8E6936}"/>
              </a:ext>
            </a:extLst>
          </p:cNvPr>
          <p:cNvGrpSpPr/>
          <p:nvPr/>
        </p:nvGrpSpPr>
        <p:grpSpPr>
          <a:xfrm>
            <a:off x="7205579" y="5483342"/>
            <a:ext cx="1074740" cy="581455"/>
            <a:chOff x="6603642" y="2057198"/>
            <a:chExt cx="1074740" cy="581455"/>
          </a:xfrm>
        </p:grpSpPr>
        <p:sp>
          <p:nvSpPr>
            <p:cNvPr id="117" name="Rounded Rectangle 22">
              <a:extLst>
                <a:ext uri="{FF2B5EF4-FFF2-40B4-BE49-F238E27FC236}">
                  <a16:creationId xmlns:a16="http://schemas.microsoft.com/office/drawing/2014/main" id="{DF95825D-9A11-F832-CC90-74E583F838D0}"/>
                </a:ext>
              </a:extLst>
            </p:cNvPr>
            <p:cNvSpPr/>
            <p:nvPr/>
          </p:nvSpPr>
          <p:spPr>
            <a:xfrm>
              <a:off x="6603642" y="2057198"/>
              <a:ext cx="1074740" cy="581455"/>
            </a:xfrm>
            <a:custGeom>
              <a:avLst/>
              <a:gdLst/>
              <a:ahLst/>
              <a:cxnLst/>
              <a:rect l="0" t="0" r="0" b="0"/>
              <a:pathLst>
                <a:path w="1074740" h="581455">
                  <a:moveTo>
                    <a:pt x="1050264" y="246402"/>
                  </a:moveTo>
                  <a:cubicBezTo>
                    <a:pt x="1074740" y="270890"/>
                    <a:pt x="1074740" y="310565"/>
                    <a:pt x="1050264" y="335052"/>
                  </a:cubicBezTo>
                  <a:lnTo>
                    <a:pt x="828504" y="556937"/>
                  </a:lnTo>
                  <a:cubicBezTo>
                    <a:pt x="804011" y="581444"/>
                    <a:pt x="764274" y="581455"/>
                    <a:pt x="739769" y="556960"/>
                  </a:cubicBezTo>
                  <a:cubicBezTo>
                    <a:pt x="715270" y="532474"/>
                    <a:pt x="715270" y="492773"/>
                    <a:pt x="739769" y="468287"/>
                  </a:cubicBezTo>
                  <a:lnTo>
                    <a:pt x="854663" y="353445"/>
                  </a:lnTo>
                  <a:lnTo>
                    <a:pt x="532527" y="353445"/>
                  </a:lnTo>
                  <a:cubicBezTo>
                    <a:pt x="497873" y="353445"/>
                    <a:pt x="469781" y="325365"/>
                    <a:pt x="469781" y="290728"/>
                  </a:cubicBezTo>
                  <a:cubicBezTo>
                    <a:pt x="469781" y="256090"/>
                    <a:pt x="497873" y="228010"/>
                    <a:pt x="532527" y="228010"/>
                  </a:cubicBezTo>
                  <a:lnTo>
                    <a:pt x="854663" y="228010"/>
                  </a:lnTo>
                  <a:lnTo>
                    <a:pt x="739769" y="113168"/>
                  </a:lnTo>
                  <a:cubicBezTo>
                    <a:pt x="715270" y="88681"/>
                    <a:pt x="715270" y="48981"/>
                    <a:pt x="739769" y="24495"/>
                  </a:cubicBezTo>
                  <a:cubicBezTo>
                    <a:pt x="764274" y="0"/>
                    <a:pt x="804011" y="10"/>
                    <a:pt x="828504" y="24518"/>
                  </a:cubicBezTo>
                  <a:close/>
                  <a:moveTo>
                    <a:pt x="196490" y="230615"/>
                  </a:moveTo>
                  <a:cubicBezTo>
                    <a:pt x="202021" y="225084"/>
                    <a:pt x="210989" y="225086"/>
                    <a:pt x="216517" y="230620"/>
                  </a:cubicBezTo>
                  <a:lnTo>
                    <a:pt x="266567" y="280721"/>
                  </a:lnTo>
                  <a:cubicBezTo>
                    <a:pt x="272090" y="286250"/>
                    <a:pt x="272090" y="295209"/>
                    <a:pt x="266567" y="300738"/>
                  </a:cubicBezTo>
                  <a:lnTo>
                    <a:pt x="216517" y="350838"/>
                  </a:lnTo>
                  <a:cubicBezTo>
                    <a:pt x="210989" y="356372"/>
                    <a:pt x="202021" y="356374"/>
                    <a:pt x="196490" y="350844"/>
                  </a:cubicBezTo>
                  <a:cubicBezTo>
                    <a:pt x="190961" y="345315"/>
                    <a:pt x="190961" y="336351"/>
                    <a:pt x="196490" y="330822"/>
                  </a:cubicBezTo>
                  <a:lnTo>
                    <a:pt x="236583" y="290729"/>
                  </a:lnTo>
                  <a:lnTo>
                    <a:pt x="196490" y="250637"/>
                  </a:lnTo>
                  <a:cubicBezTo>
                    <a:pt x="190961" y="245108"/>
                    <a:pt x="190961" y="236144"/>
                    <a:pt x="196490" y="230615"/>
                  </a:cubicBezTo>
                  <a:close/>
                  <a:moveTo>
                    <a:pt x="101009" y="230615"/>
                  </a:moveTo>
                  <a:cubicBezTo>
                    <a:pt x="106540" y="225084"/>
                    <a:pt x="115508" y="225086"/>
                    <a:pt x="121036" y="230620"/>
                  </a:cubicBezTo>
                  <a:lnTo>
                    <a:pt x="171086" y="280721"/>
                  </a:lnTo>
                  <a:cubicBezTo>
                    <a:pt x="176610" y="286250"/>
                    <a:pt x="176610" y="295209"/>
                    <a:pt x="171086" y="300738"/>
                  </a:cubicBezTo>
                  <a:lnTo>
                    <a:pt x="121036" y="350838"/>
                  </a:lnTo>
                  <a:cubicBezTo>
                    <a:pt x="115508" y="356372"/>
                    <a:pt x="106540" y="356374"/>
                    <a:pt x="101009" y="350844"/>
                  </a:cubicBezTo>
                  <a:cubicBezTo>
                    <a:pt x="95480" y="345315"/>
                    <a:pt x="95480" y="336351"/>
                    <a:pt x="101009" y="330822"/>
                  </a:cubicBezTo>
                  <a:lnTo>
                    <a:pt x="141102" y="290729"/>
                  </a:lnTo>
                  <a:lnTo>
                    <a:pt x="101009" y="250637"/>
                  </a:lnTo>
                  <a:cubicBezTo>
                    <a:pt x="95480" y="245108"/>
                    <a:pt x="95480" y="236144"/>
                    <a:pt x="101009" y="230615"/>
                  </a:cubicBezTo>
                  <a:close/>
                  <a:moveTo>
                    <a:pt x="5528" y="230613"/>
                  </a:moveTo>
                  <a:cubicBezTo>
                    <a:pt x="11059" y="225083"/>
                    <a:pt x="20027" y="225085"/>
                    <a:pt x="25555" y="230619"/>
                  </a:cubicBezTo>
                  <a:lnTo>
                    <a:pt x="75605" y="280720"/>
                  </a:lnTo>
                  <a:cubicBezTo>
                    <a:pt x="81129" y="286248"/>
                    <a:pt x="81129" y="295207"/>
                    <a:pt x="75605" y="300736"/>
                  </a:cubicBezTo>
                  <a:lnTo>
                    <a:pt x="25555" y="350837"/>
                  </a:lnTo>
                  <a:cubicBezTo>
                    <a:pt x="20027" y="356371"/>
                    <a:pt x="11059" y="356373"/>
                    <a:pt x="5528" y="350842"/>
                  </a:cubicBezTo>
                  <a:cubicBezTo>
                    <a:pt x="0" y="345313"/>
                    <a:pt x="0" y="336349"/>
                    <a:pt x="5528" y="330821"/>
                  </a:cubicBezTo>
                  <a:lnTo>
                    <a:pt x="45620" y="290728"/>
                  </a:lnTo>
                  <a:lnTo>
                    <a:pt x="5528" y="250635"/>
                  </a:lnTo>
                  <a:cubicBezTo>
                    <a:pt x="0" y="245106"/>
                    <a:pt x="0" y="236142"/>
                    <a:pt x="5528" y="230613"/>
                  </a:cubicBezTo>
                  <a:close/>
                  <a:moveTo>
                    <a:pt x="368689" y="353442"/>
                  </a:moveTo>
                  <a:cubicBezTo>
                    <a:pt x="334051" y="353442"/>
                    <a:pt x="305972" y="325363"/>
                    <a:pt x="305972" y="290726"/>
                  </a:cubicBezTo>
                  <a:cubicBezTo>
                    <a:pt x="305972" y="256088"/>
                    <a:pt x="334051" y="228009"/>
                    <a:pt x="368689" y="228009"/>
                  </a:cubicBezTo>
                  <a:cubicBezTo>
                    <a:pt x="403327" y="228009"/>
                    <a:pt x="431406" y="256088"/>
                    <a:pt x="431406" y="290726"/>
                  </a:cubicBezTo>
                  <a:cubicBezTo>
                    <a:pt x="431406" y="325363"/>
                    <a:pt x="403327" y="353442"/>
                    <a:pt x="368689" y="353442"/>
                  </a:cubicBez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118" name="Rounded Rectangle 23">
              <a:extLst>
                <a:ext uri="{FF2B5EF4-FFF2-40B4-BE49-F238E27FC236}">
                  <a16:creationId xmlns:a16="http://schemas.microsoft.com/office/drawing/2014/main" id="{99953003-FBC1-B04E-2CB2-30BCEFE7F137}"/>
                </a:ext>
              </a:extLst>
            </p:cNvPr>
            <p:cNvSpPr/>
            <p:nvPr/>
          </p:nvSpPr>
          <p:spPr>
            <a:xfrm>
              <a:off x="6603642" y="2057199"/>
              <a:ext cx="1074739" cy="581454"/>
            </a:xfrm>
            <a:custGeom>
              <a:avLst/>
              <a:gdLst/>
              <a:ahLst/>
              <a:cxnLst/>
              <a:rect l="0" t="0" r="0" b="0"/>
              <a:pathLst>
                <a:path w="1074739" h="581454">
                  <a:moveTo>
                    <a:pt x="1050265" y="246402"/>
                  </a:moveTo>
                  <a:cubicBezTo>
                    <a:pt x="1074739" y="270889"/>
                    <a:pt x="1074739" y="310564"/>
                    <a:pt x="1050265" y="335052"/>
                  </a:cubicBezTo>
                  <a:lnTo>
                    <a:pt x="828504" y="556936"/>
                  </a:lnTo>
                  <a:cubicBezTo>
                    <a:pt x="804009" y="581444"/>
                    <a:pt x="764274" y="581454"/>
                    <a:pt x="739767" y="556959"/>
                  </a:cubicBezTo>
                  <a:cubicBezTo>
                    <a:pt x="715270" y="532473"/>
                    <a:pt x="715270" y="492773"/>
                    <a:pt x="739767" y="468286"/>
                  </a:cubicBezTo>
                  <a:lnTo>
                    <a:pt x="854662" y="353444"/>
                  </a:lnTo>
                  <a:lnTo>
                    <a:pt x="532527" y="353444"/>
                  </a:lnTo>
                  <a:cubicBezTo>
                    <a:pt x="497873" y="353444"/>
                    <a:pt x="469781" y="325365"/>
                    <a:pt x="469781" y="290727"/>
                  </a:cubicBezTo>
                  <a:cubicBezTo>
                    <a:pt x="469781" y="256089"/>
                    <a:pt x="497873" y="228010"/>
                    <a:pt x="532527" y="228010"/>
                  </a:cubicBezTo>
                  <a:lnTo>
                    <a:pt x="854663" y="228010"/>
                  </a:lnTo>
                  <a:lnTo>
                    <a:pt x="739767" y="113167"/>
                  </a:lnTo>
                  <a:cubicBezTo>
                    <a:pt x="715270" y="88681"/>
                    <a:pt x="715270" y="48980"/>
                    <a:pt x="739767" y="24494"/>
                  </a:cubicBezTo>
                  <a:cubicBezTo>
                    <a:pt x="764274" y="0"/>
                    <a:pt x="804009" y="10"/>
                    <a:pt x="828503" y="24517"/>
                  </a:cubicBezTo>
                  <a:close/>
                  <a:moveTo>
                    <a:pt x="196490" y="230614"/>
                  </a:moveTo>
                  <a:cubicBezTo>
                    <a:pt x="202021" y="225083"/>
                    <a:pt x="210989" y="225086"/>
                    <a:pt x="216517" y="230619"/>
                  </a:cubicBezTo>
                  <a:lnTo>
                    <a:pt x="266567" y="280720"/>
                  </a:lnTo>
                  <a:cubicBezTo>
                    <a:pt x="272090" y="286250"/>
                    <a:pt x="272090" y="295208"/>
                    <a:pt x="266567" y="300737"/>
                  </a:cubicBezTo>
                  <a:lnTo>
                    <a:pt x="216517" y="350838"/>
                  </a:lnTo>
                  <a:cubicBezTo>
                    <a:pt x="210989" y="356371"/>
                    <a:pt x="202021" y="356374"/>
                    <a:pt x="196490" y="350843"/>
                  </a:cubicBezTo>
                  <a:cubicBezTo>
                    <a:pt x="190961" y="345314"/>
                    <a:pt x="190961" y="336350"/>
                    <a:pt x="196490" y="330821"/>
                  </a:cubicBezTo>
                  <a:lnTo>
                    <a:pt x="236583" y="290729"/>
                  </a:lnTo>
                  <a:lnTo>
                    <a:pt x="196490" y="250636"/>
                  </a:lnTo>
                  <a:cubicBezTo>
                    <a:pt x="190961" y="245108"/>
                    <a:pt x="190961" y="236143"/>
                    <a:pt x="196490" y="230614"/>
                  </a:cubicBezTo>
                  <a:close/>
                  <a:moveTo>
                    <a:pt x="101009" y="230614"/>
                  </a:moveTo>
                  <a:cubicBezTo>
                    <a:pt x="106540" y="225083"/>
                    <a:pt x="115508" y="225086"/>
                    <a:pt x="121036" y="230619"/>
                  </a:cubicBezTo>
                  <a:lnTo>
                    <a:pt x="171086" y="280720"/>
                  </a:lnTo>
                  <a:cubicBezTo>
                    <a:pt x="176610" y="286250"/>
                    <a:pt x="176610" y="295208"/>
                    <a:pt x="171086" y="300737"/>
                  </a:cubicBezTo>
                  <a:lnTo>
                    <a:pt x="121036" y="350838"/>
                  </a:lnTo>
                  <a:cubicBezTo>
                    <a:pt x="115508" y="356371"/>
                    <a:pt x="106540" y="356374"/>
                    <a:pt x="101009" y="350843"/>
                  </a:cubicBezTo>
                  <a:cubicBezTo>
                    <a:pt x="95480" y="345314"/>
                    <a:pt x="95480" y="336350"/>
                    <a:pt x="101009" y="330821"/>
                  </a:cubicBezTo>
                  <a:lnTo>
                    <a:pt x="141102" y="290729"/>
                  </a:lnTo>
                  <a:lnTo>
                    <a:pt x="101009" y="250636"/>
                  </a:lnTo>
                  <a:cubicBezTo>
                    <a:pt x="95480" y="245108"/>
                    <a:pt x="95480" y="236143"/>
                    <a:pt x="101009" y="230614"/>
                  </a:cubicBezTo>
                  <a:close/>
                  <a:moveTo>
                    <a:pt x="5528" y="230613"/>
                  </a:moveTo>
                  <a:cubicBezTo>
                    <a:pt x="11059" y="225082"/>
                    <a:pt x="20027" y="225084"/>
                    <a:pt x="25555" y="230618"/>
                  </a:cubicBezTo>
                  <a:lnTo>
                    <a:pt x="75605" y="280719"/>
                  </a:lnTo>
                  <a:cubicBezTo>
                    <a:pt x="81129" y="286248"/>
                    <a:pt x="81129" y="295207"/>
                    <a:pt x="75605" y="300736"/>
                  </a:cubicBezTo>
                  <a:lnTo>
                    <a:pt x="25555" y="350837"/>
                  </a:lnTo>
                  <a:cubicBezTo>
                    <a:pt x="20027" y="356370"/>
                    <a:pt x="11059" y="356373"/>
                    <a:pt x="5528" y="350841"/>
                  </a:cubicBezTo>
                  <a:cubicBezTo>
                    <a:pt x="0" y="345312"/>
                    <a:pt x="0" y="336349"/>
                    <a:pt x="5528" y="330820"/>
                  </a:cubicBezTo>
                  <a:lnTo>
                    <a:pt x="45620" y="290727"/>
                  </a:lnTo>
                  <a:lnTo>
                    <a:pt x="5528" y="250635"/>
                  </a:lnTo>
                  <a:cubicBezTo>
                    <a:pt x="0" y="245106"/>
                    <a:pt x="0" y="236142"/>
                    <a:pt x="5528" y="230613"/>
                  </a:cubicBezTo>
                  <a:close/>
                  <a:moveTo>
                    <a:pt x="368689" y="353442"/>
                  </a:moveTo>
                  <a:cubicBezTo>
                    <a:pt x="334051" y="353442"/>
                    <a:pt x="305972" y="325363"/>
                    <a:pt x="305972" y="290725"/>
                  </a:cubicBezTo>
                  <a:cubicBezTo>
                    <a:pt x="305972" y="256087"/>
                    <a:pt x="334051" y="228008"/>
                    <a:pt x="368689" y="228008"/>
                  </a:cubicBezTo>
                  <a:cubicBezTo>
                    <a:pt x="403327" y="228008"/>
                    <a:pt x="431406" y="256087"/>
                    <a:pt x="431406" y="290725"/>
                  </a:cubicBezTo>
                  <a:cubicBezTo>
                    <a:pt x="431406" y="325363"/>
                    <a:pt x="403327" y="353442"/>
                    <a:pt x="368689" y="353442"/>
                  </a:cubicBezTo>
                  <a:close/>
                </a:path>
              </a:pathLst>
            </a:custGeom>
            <a:noFill/>
            <a:ln w="4446">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sp>
        <p:nvSpPr>
          <p:cNvPr id="98" name="TextBox 25">
            <a:extLst>
              <a:ext uri="{FF2B5EF4-FFF2-40B4-BE49-F238E27FC236}">
                <a16:creationId xmlns:a16="http://schemas.microsoft.com/office/drawing/2014/main" id="{F4009278-33B5-5AE6-9B7F-3E6D5CCD1948}"/>
              </a:ext>
            </a:extLst>
          </p:cNvPr>
          <p:cNvSpPr txBox="1"/>
          <p:nvPr/>
        </p:nvSpPr>
        <p:spPr>
          <a:xfrm>
            <a:off x="2236068" y="6531270"/>
            <a:ext cx="949076" cy="215444"/>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00" b="0" noProof="0">
                <a:solidFill>
                  <a:srgbClr val="464646"/>
                </a:solidFill>
                <a:latin typeface="Avenir LT Pro 45Book"/>
              </a:rPr>
              <a:t>Structure and understand customer needs</a:t>
            </a:r>
          </a:p>
        </p:txBody>
      </p:sp>
      <p:sp>
        <p:nvSpPr>
          <p:cNvPr id="99" name="TextBox 26">
            <a:extLst>
              <a:ext uri="{FF2B5EF4-FFF2-40B4-BE49-F238E27FC236}">
                <a16:creationId xmlns:a16="http://schemas.microsoft.com/office/drawing/2014/main" id="{6A31B89B-BE1B-A53A-B61E-D9CE7FEC6F13}"/>
              </a:ext>
            </a:extLst>
          </p:cNvPr>
          <p:cNvSpPr txBox="1"/>
          <p:nvPr/>
        </p:nvSpPr>
        <p:spPr>
          <a:xfrm>
            <a:off x="1149509" y="5242597"/>
            <a:ext cx="753411" cy="21544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00" b="0" noProof="0">
                <a:solidFill>
                  <a:srgbClr val="464646"/>
                </a:solidFill>
                <a:latin typeface="Avenir LT Pro 45Book"/>
              </a:rPr>
              <a:t>Identify the group of
people and their job</a:t>
            </a:r>
          </a:p>
        </p:txBody>
      </p:sp>
      <p:sp>
        <p:nvSpPr>
          <p:cNvPr id="100" name="TextBox 27">
            <a:extLst>
              <a:ext uri="{FF2B5EF4-FFF2-40B4-BE49-F238E27FC236}">
                <a16:creationId xmlns:a16="http://schemas.microsoft.com/office/drawing/2014/main" id="{DE86354D-876F-2D9A-DF57-ED68F499B0DD}"/>
              </a:ext>
            </a:extLst>
          </p:cNvPr>
          <p:cNvSpPr txBox="1"/>
          <p:nvPr/>
        </p:nvSpPr>
        <p:spPr>
          <a:xfrm>
            <a:off x="5846269" y="5227227"/>
            <a:ext cx="1023586" cy="215444"/>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00" b="0" noProof="0">
                <a:solidFill>
                  <a:srgbClr val="464646"/>
                </a:solidFill>
                <a:latin typeface="Avenir LT Pro 45Book"/>
              </a:rPr>
              <a:t>Match products to outcome-based segments</a:t>
            </a:r>
          </a:p>
        </p:txBody>
      </p:sp>
      <p:sp>
        <p:nvSpPr>
          <p:cNvPr id="101" name="TextBox 28">
            <a:extLst>
              <a:ext uri="{FF2B5EF4-FFF2-40B4-BE49-F238E27FC236}">
                <a16:creationId xmlns:a16="http://schemas.microsoft.com/office/drawing/2014/main" id="{4254AC4E-749C-7704-00AF-FBEAD5CC26D7}"/>
              </a:ext>
            </a:extLst>
          </p:cNvPr>
          <p:cNvSpPr txBox="1"/>
          <p:nvPr/>
        </p:nvSpPr>
        <p:spPr>
          <a:xfrm>
            <a:off x="5942585" y="4916178"/>
            <a:ext cx="830954" cy="276999"/>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900" b="1" noProof="0">
                <a:solidFill>
                  <a:srgbClr val="464646"/>
                </a:solidFill>
                <a:latin typeface="Avenir LT Pro 45Book"/>
              </a:rPr>
              <a:t>Align Existing Products</a:t>
            </a:r>
          </a:p>
        </p:txBody>
      </p:sp>
      <p:sp>
        <p:nvSpPr>
          <p:cNvPr id="102" name="TextBox 29">
            <a:extLst>
              <a:ext uri="{FF2B5EF4-FFF2-40B4-BE49-F238E27FC236}">
                <a16:creationId xmlns:a16="http://schemas.microsoft.com/office/drawing/2014/main" id="{13B1C0F0-7659-6455-C563-E0724F7D3EFD}"/>
              </a:ext>
            </a:extLst>
          </p:cNvPr>
          <p:cNvSpPr txBox="1"/>
          <p:nvPr/>
        </p:nvSpPr>
        <p:spPr>
          <a:xfrm>
            <a:off x="928822" y="4912948"/>
            <a:ext cx="1194785" cy="276999"/>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900" b="1" noProof="0">
                <a:solidFill>
                  <a:srgbClr val="464646"/>
                </a:solidFill>
                <a:latin typeface="Avenir LT Pro 45Book"/>
              </a:rPr>
              <a:t>Define Market Around Job-to-Be-Done</a:t>
            </a:r>
          </a:p>
        </p:txBody>
      </p:sp>
      <p:sp>
        <p:nvSpPr>
          <p:cNvPr id="103" name="TextBox 30">
            <a:extLst>
              <a:ext uri="{FF2B5EF4-FFF2-40B4-BE49-F238E27FC236}">
                <a16:creationId xmlns:a16="http://schemas.microsoft.com/office/drawing/2014/main" id="{4EF77599-AD05-2B4C-2562-01BEB43045D6}"/>
              </a:ext>
            </a:extLst>
          </p:cNvPr>
          <p:cNvSpPr txBox="1"/>
          <p:nvPr/>
        </p:nvSpPr>
        <p:spPr>
          <a:xfrm>
            <a:off x="3344174" y="4927386"/>
            <a:ext cx="1194785" cy="276999"/>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900" b="1" noProof="0">
                <a:solidFill>
                  <a:srgbClr val="464646"/>
                </a:solidFill>
                <a:latin typeface="Avenir LT Pro 45Book"/>
              </a:rPr>
              <a:t>Quantify Over/ Under-served Outcomes</a:t>
            </a:r>
          </a:p>
        </p:txBody>
      </p:sp>
      <p:sp>
        <p:nvSpPr>
          <p:cNvPr id="104" name="TextBox 31">
            <a:extLst>
              <a:ext uri="{FF2B5EF4-FFF2-40B4-BE49-F238E27FC236}">
                <a16:creationId xmlns:a16="http://schemas.microsoft.com/office/drawing/2014/main" id="{92320C04-E4EC-8765-7AB3-E1109504EFA6}"/>
              </a:ext>
            </a:extLst>
          </p:cNvPr>
          <p:cNvSpPr txBox="1"/>
          <p:nvPr/>
        </p:nvSpPr>
        <p:spPr>
          <a:xfrm>
            <a:off x="3936521" y="4487489"/>
            <a:ext cx="1371530" cy="21544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400" b="1" noProof="0">
                <a:solidFill>
                  <a:srgbClr val="464646"/>
                </a:solidFill>
                <a:latin typeface="Avenir LT Pro 45Book"/>
              </a:rPr>
              <a:t>Universal Job Map</a:t>
            </a:r>
          </a:p>
        </p:txBody>
      </p:sp>
      <p:sp>
        <p:nvSpPr>
          <p:cNvPr id="105" name="TextBox 32">
            <a:extLst>
              <a:ext uri="{FF2B5EF4-FFF2-40B4-BE49-F238E27FC236}">
                <a16:creationId xmlns:a16="http://schemas.microsoft.com/office/drawing/2014/main" id="{15B7BC91-6D2D-A189-DF78-67FFD00EAC66}"/>
              </a:ext>
            </a:extLst>
          </p:cNvPr>
          <p:cNvSpPr txBox="1"/>
          <p:nvPr/>
        </p:nvSpPr>
        <p:spPr>
          <a:xfrm>
            <a:off x="2113346" y="6063122"/>
            <a:ext cx="1194520" cy="415498"/>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900" b="1" noProof="0">
                <a:solidFill>
                  <a:srgbClr val="464646"/>
                </a:solidFill>
                <a:latin typeface="Avenir LT Pro 45Book"/>
              </a:rPr>
              <a:t>Uncover Customer Needs (Desired Outcomes)</a:t>
            </a:r>
          </a:p>
        </p:txBody>
      </p:sp>
      <p:sp>
        <p:nvSpPr>
          <p:cNvPr id="106" name="TextBox 33">
            <a:extLst>
              <a:ext uri="{FF2B5EF4-FFF2-40B4-BE49-F238E27FC236}">
                <a16:creationId xmlns:a16="http://schemas.microsoft.com/office/drawing/2014/main" id="{7503255D-46B4-2556-71D6-B850D1C9407B}"/>
              </a:ext>
            </a:extLst>
          </p:cNvPr>
          <p:cNvSpPr txBox="1"/>
          <p:nvPr/>
        </p:nvSpPr>
        <p:spPr>
          <a:xfrm>
            <a:off x="4685835" y="6066391"/>
            <a:ext cx="956008" cy="276999"/>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900" b="1" noProof="0">
                <a:solidFill>
                  <a:srgbClr val="464646"/>
                </a:solidFill>
                <a:latin typeface="Avenir LT Pro 45Book"/>
              </a:rPr>
              <a:t>Discover Hidden Segments</a:t>
            </a:r>
          </a:p>
        </p:txBody>
      </p:sp>
      <p:sp>
        <p:nvSpPr>
          <p:cNvPr id="107" name="TextBox 34">
            <a:extLst>
              <a:ext uri="{FF2B5EF4-FFF2-40B4-BE49-F238E27FC236}">
                <a16:creationId xmlns:a16="http://schemas.microsoft.com/office/drawing/2014/main" id="{79378DF6-461E-27E8-708C-2E04E95FE022}"/>
              </a:ext>
            </a:extLst>
          </p:cNvPr>
          <p:cNvSpPr txBox="1"/>
          <p:nvPr/>
        </p:nvSpPr>
        <p:spPr>
          <a:xfrm>
            <a:off x="7258867" y="6063844"/>
            <a:ext cx="676467" cy="276999"/>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900" b="1" noProof="0">
                <a:solidFill>
                  <a:srgbClr val="464646"/>
                </a:solidFill>
                <a:latin typeface="Avenir LT Pro 45Book"/>
              </a:rPr>
              <a:t>Conceptualise
New Products</a:t>
            </a:r>
          </a:p>
        </p:txBody>
      </p:sp>
      <p:sp>
        <p:nvSpPr>
          <p:cNvPr id="108" name="TextBox 35">
            <a:extLst>
              <a:ext uri="{FF2B5EF4-FFF2-40B4-BE49-F238E27FC236}">
                <a16:creationId xmlns:a16="http://schemas.microsoft.com/office/drawing/2014/main" id="{32BAB6B3-8CF1-3AD4-38F4-671188DA7297}"/>
              </a:ext>
            </a:extLst>
          </p:cNvPr>
          <p:cNvSpPr txBox="1"/>
          <p:nvPr/>
        </p:nvSpPr>
        <p:spPr>
          <a:xfrm>
            <a:off x="7122563" y="6407091"/>
            <a:ext cx="949075" cy="215444"/>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00" b="0" noProof="0">
                <a:solidFill>
                  <a:srgbClr val="464646"/>
                </a:solidFill>
                <a:latin typeface="Avenir LT Pro 45Book"/>
              </a:rPr>
              <a:t>Develop solutions for underserved outcomes</a:t>
            </a:r>
          </a:p>
        </p:txBody>
      </p:sp>
      <p:sp>
        <p:nvSpPr>
          <p:cNvPr id="109" name="TextBox 36">
            <a:extLst>
              <a:ext uri="{FF2B5EF4-FFF2-40B4-BE49-F238E27FC236}">
                <a16:creationId xmlns:a16="http://schemas.microsoft.com/office/drawing/2014/main" id="{F3EE792B-FBB8-1BE3-F77C-9CEB3A39D2F3}"/>
              </a:ext>
            </a:extLst>
          </p:cNvPr>
          <p:cNvSpPr txBox="1"/>
          <p:nvPr/>
        </p:nvSpPr>
        <p:spPr>
          <a:xfrm>
            <a:off x="4803965" y="6406205"/>
            <a:ext cx="719749" cy="21544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00" b="0" noProof="0">
                <a:solidFill>
                  <a:srgbClr val="464646"/>
                </a:solidFill>
                <a:latin typeface="Avenir LT Pro 45Book"/>
              </a:rPr>
              <a:t>Identify unique
customer segments</a:t>
            </a:r>
          </a:p>
        </p:txBody>
      </p:sp>
      <p:sp>
        <p:nvSpPr>
          <p:cNvPr id="110" name="TextBox 37">
            <a:extLst>
              <a:ext uri="{FF2B5EF4-FFF2-40B4-BE49-F238E27FC236}">
                <a16:creationId xmlns:a16="http://schemas.microsoft.com/office/drawing/2014/main" id="{5A056F83-09D2-864C-9897-8A3AE10B2B0C}"/>
              </a:ext>
            </a:extLst>
          </p:cNvPr>
          <p:cNvSpPr txBox="1"/>
          <p:nvPr/>
        </p:nvSpPr>
        <p:spPr>
          <a:xfrm>
            <a:off x="3566464" y="5262827"/>
            <a:ext cx="750205" cy="21544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00" b="0" noProof="0">
                <a:solidFill>
                  <a:srgbClr val="464646"/>
                </a:solidFill>
                <a:latin typeface="Avenir LT Pro 45Book"/>
              </a:rPr>
              <a:t>Survey and calculate
opportunity scores</a:t>
            </a:r>
          </a:p>
        </p:txBody>
      </p:sp>
      <p:sp>
        <p:nvSpPr>
          <p:cNvPr id="111" name="Rounded Rectangle 38">
            <a:extLst>
              <a:ext uri="{FF2B5EF4-FFF2-40B4-BE49-F238E27FC236}">
                <a16:creationId xmlns:a16="http://schemas.microsoft.com/office/drawing/2014/main" id="{C508B95D-EECD-D077-B325-686F4646B210}"/>
              </a:ext>
            </a:extLst>
          </p:cNvPr>
          <p:cNvSpPr/>
          <p:nvPr/>
        </p:nvSpPr>
        <p:spPr>
          <a:xfrm>
            <a:off x="7426639" y="5062961"/>
            <a:ext cx="340923" cy="340938"/>
          </a:xfrm>
          <a:custGeom>
            <a:avLst/>
            <a:gdLst/>
            <a:ahLst/>
            <a:cxnLst/>
            <a:rect l="0" t="0" r="0" b="0"/>
            <a:pathLst>
              <a:path w="340923" h="340938">
                <a:moveTo>
                  <a:pt x="340923" y="177888"/>
                </a:moveTo>
                <a:lnTo>
                  <a:pt x="340923" y="333527"/>
                </a:lnTo>
                <a:cubicBezTo>
                  <a:pt x="340923" y="337620"/>
                  <a:pt x="337605" y="340938"/>
                  <a:pt x="333512" y="340938"/>
                </a:cubicBezTo>
                <a:lnTo>
                  <a:pt x="7411" y="340938"/>
                </a:lnTo>
                <a:cubicBezTo>
                  <a:pt x="3318" y="340938"/>
                  <a:pt x="0" y="337620"/>
                  <a:pt x="0" y="333527"/>
                </a:cubicBezTo>
                <a:lnTo>
                  <a:pt x="0" y="81540"/>
                </a:lnTo>
                <a:cubicBezTo>
                  <a:pt x="0" y="77446"/>
                  <a:pt x="3318" y="74128"/>
                  <a:pt x="7411" y="74128"/>
                </a:cubicBezTo>
                <a:lnTo>
                  <a:pt x="96347" y="74128"/>
                </a:lnTo>
                <a:moveTo>
                  <a:pt x="118582" y="340938"/>
                </a:moveTo>
                <a:lnTo>
                  <a:pt x="118582" y="303881"/>
                </a:lnTo>
                <a:cubicBezTo>
                  <a:pt x="118582" y="299788"/>
                  <a:pt x="115263" y="296470"/>
                  <a:pt x="111170" y="296470"/>
                </a:cubicBezTo>
                <a:lnTo>
                  <a:pt x="51879" y="296470"/>
                </a:lnTo>
                <a:cubicBezTo>
                  <a:pt x="47786" y="296470"/>
                  <a:pt x="44468" y="299788"/>
                  <a:pt x="44468" y="303881"/>
                </a:cubicBezTo>
                <a:lnTo>
                  <a:pt x="44468" y="340938"/>
                </a:lnTo>
                <a:moveTo>
                  <a:pt x="0" y="163065"/>
                </a:moveTo>
                <a:lnTo>
                  <a:pt x="66702" y="163065"/>
                </a:lnTo>
                <a:cubicBezTo>
                  <a:pt x="70795" y="163065"/>
                  <a:pt x="74113" y="159747"/>
                  <a:pt x="74113" y="155653"/>
                </a:cubicBezTo>
                <a:lnTo>
                  <a:pt x="74113" y="111185"/>
                </a:lnTo>
                <a:moveTo>
                  <a:pt x="281632" y="237164"/>
                </a:moveTo>
                <a:lnTo>
                  <a:pt x="340923" y="237179"/>
                </a:lnTo>
                <a:moveTo>
                  <a:pt x="66702" y="251987"/>
                </a:moveTo>
                <a:lnTo>
                  <a:pt x="0" y="251987"/>
                </a:lnTo>
                <a:moveTo>
                  <a:pt x="340923" y="281647"/>
                </a:moveTo>
                <a:lnTo>
                  <a:pt x="289043" y="281647"/>
                </a:lnTo>
                <a:cubicBezTo>
                  <a:pt x="284950" y="281647"/>
                  <a:pt x="281632" y="284965"/>
                  <a:pt x="281632" y="289058"/>
                </a:cubicBezTo>
                <a:lnTo>
                  <a:pt x="281632" y="340938"/>
                </a:lnTo>
                <a:moveTo>
                  <a:pt x="177873" y="244590"/>
                </a:moveTo>
                <a:lnTo>
                  <a:pt x="177873" y="214944"/>
                </a:lnTo>
                <a:cubicBezTo>
                  <a:pt x="177873" y="210851"/>
                  <a:pt x="174554" y="207533"/>
                  <a:pt x="170461" y="207533"/>
                </a:cubicBezTo>
                <a:lnTo>
                  <a:pt x="0" y="207533"/>
                </a:lnTo>
                <a:moveTo>
                  <a:pt x="177873" y="296455"/>
                </a:moveTo>
                <a:lnTo>
                  <a:pt x="177873" y="340923"/>
                </a:lnTo>
                <a:moveTo>
                  <a:pt x="281632" y="163050"/>
                </a:moveTo>
                <a:lnTo>
                  <a:pt x="237164" y="163050"/>
                </a:lnTo>
                <a:moveTo>
                  <a:pt x="281632" y="118596"/>
                </a:moveTo>
                <a:lnTo>
                  <a:pt x="281632" y="133419"/>
                </a:lnTo>
                <a:lnTo>
                  <a:pt x="237164" y="133419"/>
                </a:lnTo>
                <a:lnTo>
                  <a:pt x="237164" y="118596"/>
                </a:lnTo>
                <a:cubicBezTo>
                  <a:pt x="223721" y="111045"/>
                  <a:pt x="215266" y="96955"/>
                  <a:pt x="214930" y="81540"/>
                </a:cubicBezTo>
                <a:cubicBezTo>
                  <a:pt x="214930" y="56980"/>
                  <a:pt x="234839" y="37071"/>
                  <a:pt x="259398" y="37071"/>
                </a:cubicBezTo>
                <a:cubicBezTo>
                  <a:pt x="283957" y="37071"/>
                  <a:pt x="303866" y="56980"/>
                  <a:pt x="303866" y="81540"/>
                </a:cubicBezTo>
                <a:cubicBezTo>
                  <a:pt x="303524" y="96953"/>
                  <a:pt x="295071" y="111041"/>
                  <a:pt x="281632" y="118596"/>
                </a:cubicBezTo>
                <a:close/>
                <a:moveTo>
                  <a:pt x="259398" y="0"/>
                </a:moveTo>
                <a:lnTo>
                  <a:pt x="259398" y="14822"/>
                </a:lnTo>
                <a:moveTo>
                  <a:pt x="317044" y="23879"/>
                </a:moveTo>
                <a:lnTo>
                  <a:pt x="306564" y="34373"/>
                </a:lnTo>
                <a:moveTo>
                  <a:pt x="326100" y="74128"/>
                </a:moveTo>
                <a:lnTo>
                  <a:pt x="340923" y="74128"/>
                </a:lnTo>
                <a:moveTo>
                  <a:pt x="201752" y="23879"/>
                </a:moveTo>
                <a:lnTo>
                  <a:pt x="212232" y="34373"/>
                </a:lnTo>
                <a:moveTo>
                  <a:pt x="177873" y="74113"/>
                </a:moveTo>
                <a:lnTo>
                  <a:pt x="192695" y="74128"/>
                </a:lnTo>
                <a:moveTo>
                  <a:pt x="237164" y="192695"/>
                </a:moveTo>
                <a:lnTo>
                  <a:pt x="281632" y="192695"/>
                </a:lnTo>
              </a:path>
            </a:pathLst>
          </a:custGeom>
          <a:noFill/>
          <a:ln w="4446">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112" name="Rounded Rectangle 39">
            <a:extLst>
              <a:ext uri="{FF2B5EF4-FFF2-40B4-BE49-F238E27FC236}">
                <a16:creationId xmlns:a16="http://schemas.microsoft.com/office/drawing/2014/main" id="{00CB3E17-E540-2CF4-CE47-2D8CF80FD439}"/>
              </a:ext>
            </a:extLst>
          </p:cNvPr>
          <p:cNvSpPr/>
          <p:nvPr/>
        </p:nvSpPr>
        <p:spPr>
          <a:xfrm>
            <a:off x="4993378" y="5062368"/>
            <a:ext cx="340923" cy="340908"/>
          </a:xfrm>
          <a:custGeom>
            <a:avLst/>
            <a:gdLst/>
            <a:ahLst/>
            <a:cxnLst/>
            <a:rect l="0" t="0" r="0" b="0"/>
            <a:pathLst>
              <a:path w="340923" h="340908">
                <a:moveTo>
                  <a:pt x="245005" y="0"/>
                </a:moveTo>
                <a:cubicBezTo>
                  <a:pt x="282081" y="0"/>
                  <a:pt x="312137" y="30056"/>
                  <a:pt x="312137" y="67132"/>
                </a:cubicBezTo>
                <a:cubicBezTo>
                  <a:pt x="312137" y="104208"/>
                  <a:pt x="282081" y="134264"/>
                  <a:pt x="245005" y="134264"/>
                </a:cubicBezTo>
                <a:cubicBezTo>
                  <a:pt x="207929" y="134264"/>
                  <a:pt x="177873" y="104208"/>
                  <a:pt x="177873" y="67132"/>
                </a:cubicBezTo>
                <a:cubicBezTo>
                  <a:pt x="177873" y="30056"/>
                  <a:pt x="207929" y="0"/>
                  <a:pt x="245005" y="0"/>
                </a:cubicBezTo>
                <a:close/>
                <a:moveTo>
                  <a:pt x="340923" y="163035"/>
                </a:moveTo>
                <a:lnTo>
                  <a:pt x="292779" y="114906"/>
                </a:lnTo>
                <a:moveTo>
                  <a:pt x="293550" y="169231"/>
                </a:moveTo>
                <a:cubicBezTo>
                  <a:pt x="296010" y="205399"/>
                  <a:pt x="302414" y="211254"/>
                  <a:pt x="311737" y="220562"/>
                </a:cubicBezTo>
                <a:cubicBezTo>
                  <a:pt x="294847" y="233388"/>
                  <a:pt x="273671" y="239226"/>
                  <a:pt x="252594" y="236867"/>
                </a:cubicBezTo>
                <a:moveTo>
                  <a:pt x="266809" y="185269"/>
                </a:moveTo>
                <a:lnTo>
                  <a:pt x="266809" y="192681"/>
                </a:lnTo>
                <a:cubicBezTo>
                  <a:pt x="267541" y="202667"/>
                  <a:pt x="263453" y="212402"/>
                  <a:pt x="255811" y="218872"/>
                </a:cubicBezTo>
                <a:cubicBezTo>
                  <a:pt x="253470" y="220924"/>
                  <a:pt x="252085" y="223855"/>
                  <a:pt x="251987" y="226966"/>
                </a:cubicBezTo>
                <a:lnTo>
                  <a:pt x="251987" y="246962"/>
                </a:lnTo>
                <a:cubicBezTo>
                  <a:pt x="252093" y="251593"/>
                  <a:pt x="255039" y="255681"/>
                  <a:pt x="259398" y="257249"/>
                </a:cubicBezTo>
                <a:cubicBezTo>
                  <a:pt x="299909" y="272249"/>
                  <a:pt x="322246" y="282951"/>
                  <a:pt x="329969" y="298397"/>
                </a:cubicBezTo>
                <a:cubicBezTo>
                  <a:pt x="336563" y="311642"/>
                  <a:pt x="340295" y="326126"/>
                  <a:pt x="340923" y="340908"/>
                </a:cubicBezTo>
                <a:lnTo>
                  <a:pt x="274221" y="340908"/>
                </a:lnTo>
                <a:moveTo>
                  <a:pt x="148227" y="99638"/>
                </a:moveTo>
                <a:cubicBezTo>
                  <a:pt x="141021" y="97438"/>
                  <a:pt x="133527" y="96324"/>
                  <a:pt x="125993" y="96333"/>
                </a:cubicBezTo>
                <a:cubicBezTo>
                  <a:pt x="94776" y="96333"/>
                  <a:pt x="58431" y="115291"/>
                  <a:pt x="54844" y="169172"/>
                </a:cubicBezTo>
                <a:cubicBezTo>
                  <a:pt x="52383" y="205339"/>
                  <a:pt x="45950" y="211194"/>
                  <a:pt x="36656" y="220503"/>
                </a:cubicBezTo>
                <a:cubicBezTo>
                  <a:pt x="53652" y="233392"/>
                  <a:pt x="74963" y="239232"/>
                  <a:pt x="96155" y="236808"/>
                </a:cubicBezTo>
                <a:moveTo>
                  <a:pt x="195482" y="155653"/>
                </a:moveTo>
                <a:cubicBezTo>
                  <a:pt x="196328" y="160141"/>
                  <a:pt x="196902" y="164675"/>
                  <a:pt x="197202" y="169231"/>
                </a:cubicBezTo>
                <a:cubicBezTo>
                  <a:pt x="199662" y="205399"/>
                  <a:pt x="206066" y="211254"/>
                  <a:pt x="215389" y="220562"/>
                </a:cubicBezTo>
                <a:cubicBezTo>
                  <a:pt x="198499" y="233388"/>
                  <a:pt x="177323" y="239226"/>
                  <a:pt x="156246" y="236867"/>
                </a:cubicBezTo>
                <a:moveTo>
                  <a:pt x="241033" y="298397"/>
                </a:moveTo>
                <a:cubicBezTo>
                  <a:pt x="247626" y="311642"/>
                  <a:pt x="251358" y="326126"/>
                  <a:pt x="251987" y="340908"/>
                </a:cubicBezTo>
                <a:lnTo>
                  <a:pt x="0" y="340908"/>
                </a:lnTo>
                <a:cubicBezTo>
                  <a:pt x="628" y="326126"/>
                  <a:pt x="4360" y="311642"/>
                  <a:pt x="10954" y="298397"/>
                </a:cubicBezTo>
                <a:cubicBezTo>
                  <a:pt x="18676" y="282951"/>
                  <a:pt x="48425" y="272249"/>
                  <a:pt x="88936" y="257249"/>
                </a:cubicBezTo>
                <a:cubicBezTo>
                  <a:pt x="93295" y="255681"/>
                  <a:pt x="96241" y="251593"/>
                  <a:pt x="96347" y="246962"/>
                </a:cubicBezTo>
                <a:lnTo>
                  <a:pt x="96347" y="226966"/>
                </a:lnTo>
                <a:cubicBezTo>
                  <a:pt x="96254" y="223857"/>
                  <a:pt x="94875" y="220926"/>
                  <a:pt x="92538" y="218873"/>
                </a:cubicBezTo>
                <a:cubicBezTo>
                  <a:pt x="84890" y="212405"/>
                  <a:pt x="80797" y="202670"/>
                  <a:pt x="81525" y="192681"/>
                </a:cubicBezTo>
                <a:lnTo>
                  <a:pt x="81525" y="163035"/>
                </a:lnTo>
                <a:cubicBezTo>
                  <a:pt x="98950" y="160048"/>
                  <a:pt x="114727" y="150913"/>
                  <a:pt x="125993" y="137288"/>
                </a:cubicBezTo>
                <a:cubicBezTo>
                  <a:pt x="137259" y="150913"/>
                  <a:pt x="153036" y="160048"/>
                  <a:pt x="170461" y="163035"/>
                </a:cubicBezTo>
                <a:lnTo>
                  <a:pt x="170461" y="192681"/>
                </a:lnTo>
                <a:cubicBezTo>
                  <a:pt x="171193" y="202668"/>
                  <a:pt x="167105" y="212402"/>
                  <a:pt x="159463" y="218873"/>
                </a:cubicBezTo>
                <a:cubicBezTo>
                  <a:pt x="157122" y="220924"/>
                  <a:pt x="155737" y="223855"/>
                  <a:pt x="155639" y="226966"/>
                </a:cubicBezTo>
                <a:lnTo>
                  <a:pt x="155639" y="246962"/>
                </a:lnTo>
                <a:cubicBezTo>
                  <a:pt x="155745" y="251593"/>
                  <a:pt x="158691" y="255681"/>
                  <a:pt x="163050" y="257249"/>
                </a:cubicBezTo>
                <a:cubicBezTo>
                  <a:pt x="203561" y="272249"/>
                  <a:pt x="233310" y="282951"/>
                  <a:pt x="241033" y="298397"/>
                </a:cubicBezTo>
                <a:close/>
              </a:path>
            </a:pathLst>
          </a:custGeom>
          <a:noFill/>
          <a:ln w="4446">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113" name="Rounded Rectangle 40">
            <a:extLst>
              <a:ext uri="{FF2B5EF4-FFF2-40B4-BE49-F238E27FC236}">
                <a16:creationId xmlns:a16="http://schemas.microsoft.com/office/drawing/2014/main" id="{55F832EE-8AB0-9920-28F9-18B9C819DA36}"/>
              </a:ext>
            </a:extLst>
          </p:cNvPr>
          <p:cNvSpPr/>
          <p:nvPr/>
        </p:nvSpPr>
        <p:spPr>
          <a:xfrm>
            <a:off x="2537150" y="5055565"/>
            <a:ext cx="346913" cy="347445"/>
          </a:xfrm>
          <a:custGeom>
            <a:avLst/>
            <a:gdLst/>
            <a:ahLst/>
            <a:cxnLst/>
            <a:rect l="0" t="0" r="0" b="0"/>
            <a:pathLst>
              <a:path w="346913" h="347445">
                <a:moveTo>
                  <a:pt x="145965" y="239254"/>
                </a:moveTo>
                <a:cubicBezTo>
                  <a:pt x="145965" y="188037"/>
                  <a:pt x="187485" y="146516"/>
                  <a:pt x="238702" y="146516"/>
                </a:cubicBezTo>
                <a:cubicBezTo>
                  <a:pt x="289919" y="146516"/>
                  <a:pt x="331440" y="188037"/>
                  <a:pt x="331440" y="239254"/>
                </a:cubicBezTo>
                <a:cubicBezTo>
                  <a:pt x="331440" y="290471"/>
                  <a:pt x="289919" y="331990"/>
                  <a:pt x="238702" y="331990"/>
                </a:cubicBezTo>
                <a:cubicBezTo>
                  <a:pt x="187485" y="331990"/>
                  <a:pt x="145965" y="290471"/>
                  <a:pt x="145965" y="239254"/>
                </a:cubicBezTo>
                <a:close/>
                <a:moveTo>
                  <a:pt x="0" y="0"/>
                </a:moveTo>
                <a:moveTo>
                  <a:pt x="304253" y="304787"/>
                </a:moveTo>
                <a:lnTo>
                  <a:pt x="346913" y="347445"/>
                </a:lnTo>
                <a:moveTo>
                  <a:pt x="67107" y="79026"/>
                </a:moveTo>
                <a:cubicBezTo>
                  <a:pt x="67107" y="44601"/>
                  <a:pt x="95015" y="16693"/>
                  <a:pt x="129440" y="16693"/>
                </a:cubicBezTo>
                <a:cubicBezTo>
                  <a:pt x="163867" y="16693"/>
                  <a:pt x="191773" y="44601"/>
                  <a:pt x="191773" y="79026"/>
                </a:cubicBezTo>
                <a:cubicBezTo>
                  <a:pt x="191773" y="113452"/>
                  <a:pt x="163867" y="141360"/>
                  <a:pt x="129440" y="141360"/>
                </a:cubicBezTo>
                <a:cubicBezTo>
                  <a:pt x="95015" y="141360"/>
                  <a:pt x="67107" y="113452"/>
                  <a:pt x="67107" y="79026"/>
                </a:cubicBezTo>
                <a:close/>
                <a:moveTo>
                  <a:pt x="141690" y="315893"/>
                </a:moveTo>
                <a:lnTo>
                  <a:pt x="17240" y="315893"/>
                </a:lnTo>
                <a:lnTo>
                  <a:pt x="17240" y="302375"/>
                </a:lnTo>
                <a:cubicBezTo>
                  <a:pt x="17438" y="283371"/>
                  <a:pt x="22450" y="264727"/>
                  <a:pt x="31808" y="248184"/>
                </a:cubicBezTo>
                <a:cubicBezTo>
                  <a:pt x="41165" y="231642"/>
                  <a:pt x="54562" y="217741"/>
                  <a:pt x="70748" y="207782"/>
                </a:cubicBezTo>
                <a:cubicBezTo>
                  <a:pt x="86935" y="197821"/>
                  <a:pt x="105381" y="192125"/>
                  <a:pt x="124365" y="191227"/>
                </a:cubicBezTo>
                <a:moveTo>
                  <a:pt x="0" y="0"/>
                </a:moveTo>
                <a:moveTo>
                  <a:pt x="255943" y="192733"/>
                </a:moveTo>
                <a:lnTo>
                  <a:pt x="221466" y="192733"/>
                </a:lnTo>
                <a:lnTo>
                  <a:pt x="221466" y="222015"/>
                </a:lnTo>
                <a:lnTo>
                  <a:pt x="192186" y="222015"/>
                </a:lnTo>
                <a:lnTo>
                  <a:pt x="192186" y="256491"/>
                </a:lnTo>
                <a:lnTo>
                  <a:pt x="221466" y="256491"/>
                </a:lnTo>
                <a:lnTo>
                  <a:pt x="221466" y="285774"/>
                </a:lnTo>
                <a:lnTo>
                  <a:pt x="255943" y="285774"/>
                </a:lnTo>
                <a:lnTo>
                  <a:pt x="255943" y="256491"/>
                </a:lnTo>
                <a:lnTo>
                  <a:pt x="285227" y="256491"/>
                </a:lnTo>
                <a:lnTo>
                  <a:pt x="285227" y="222015"/>
                </a:lnTo>
                <a:lnTo>
                  <a:pt x="255943" y="222015"/>
                </a:lnTo>
                <a:close/>
              </a:path>
            </a:pathLst>
          </a:custGeom>
          <a:noFill/>
          <a:ln w="4446">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114" name="Rounded Rectangle 41">
            <a:extLst>
              <a:ext uri="{FF2B5EF4-FFF2-40B4-BE49-F238E27FC236}">
                <a16:creationId xmlns:a16="http://schemas.microsoft.com/office/drawing/2014/main" id="{AE93DEE0-A2A4-ED9A-0315-E181DF941451}"/>
              </a:ext>
            </a:extLst>
          </p:cNvPr>
          <p:cNvSpPr/>
          <p:nvPr/>
        </p:nvSpPr>
        <p:spPr>
          <a:xfrm>
            <a:off x="1355753" y="6095525"/>
            <a:ext cx="340923" cy="340923"/>
          </a:xfrm>
          <a:custGeom>
            <a:avLst/>
            <a:gdLst/>
            <a:ahLst/>
            <a:cxnLst/>
            <a:rect l="0" t="0" r="0" b="0"/>
            <a:pathLst>
              <a:path w="340923" h="340923">
                <a:moveTo>
                  <a:pt x="148227" y="0"/>
                </a:moveTo>
                <a:cubicBezTo>
                  <a:pt x="230091" y="0"/>
                  <a:pt x="296455" y="66363"/>
                  <a:pt x="296455" y="148227"/>
                </a:cubicBezTo>
                <a:cubicBezTo>
                  <a:pt x="296455" y="230091"/>
                  <a:pt x="230091" y="296455"/>
                  <a:pt x="148227" y="296455"/>
                </a:cubicBezTo>
                <a:cubicBezTo>
                  <a:pt x="66363" y="296455"/>
                  <a:pt x="0" y="230091"/>
                  <a:pt x="0" y="148227"/>
                </a:cubicBezTo>
                <a:cubicBezTo>
                  <a:pt x="0" y="66363"/>
                  <a:pt x="66363" y="0"/>
                  <a:pt x="148227" y="0"/>
                </a:cubicBezTo>
                <a:close/>
                <a:moveTo>
                  <a:pt x="253054" y="253083"/>
                </a:moveTo>
                <a:lnTo>
                  <a:pt x="340923" y="340923"/>
                </a:lnTo>
                <a:moveTo>
                  <a:pt x="177873" y="118582"/>
                </a:moveTo>
                <a:lnTo>
                  <a:pt x="163050" y="118582"/>
                </a:lnTo>
                <a:lnTo>
                  <a:pt x="163050" y="148227"/>
                </a:lnTo>
                <a:lnTo>
                  <a:pt x="177873" y="148227"/>
                </a:lnTo>
                <a:cubicBezTo>
                  <a:pt x="186059" y="148227"/>
                  <a:pt x="192695" y="141591"/>
                  <a:pt x="192695" y="133404"/>
                </a:cubicBezTo>
                <a:cubicBezTo>
                  <a:pt x="192695" y="125218"/>
                  <a:pt x="186059" y="118582"/>
                  <a:pt x="177873" y="118582"/>
                </a:cubicBezTo>
                <a:close/>
                <a:moveTo>
                  <a:pt x="177873" y="148227"/>
                </a:moveTo>
                <a:lnTo>
                  <a:pt x="163050" y="148227"/>
                </a:lnTo>
                <a:lnTo>
                  <a:pt x="163050" y="177873"/>
                </a:lnTo>
                <a:lnTo>
                  <a:pt x="177873" y="177873"/>
                </a:lnTo>
                <a:cubicBezTo>
                  <a:pt x="186059" y="177873"/>
                  <a:pt x="192695" y="171236"/>
                  <a:pt x="192695" y="163050"/>
                </a:cubicBezTo>
                <a:cubicBezTo>
                  <a:pt x="192695" y="154864"/>
                  <a:pt x="186059" y="148227"/>
                  <a:pt x="177873" y="148227"/>
                </a:cubicBezTo>
                <a:close/>
                <a:moveTo>
                  <a:pt x="133404" y="133404"/>
                </a:moveTo>
                <a:cubicBezTo>
                  <a:pt x="133404" y="125218"/>
                  <a:pt x="126768" y="118582"/>
                  <a:pt x="118582" y="118582"/>
                </a:cubicBezTo>
                <a:cubicBezTo>
                  <a:pt x="110395" y="118582"/>
                  <a:pt x="103759" y="125218"/>
                  <a:pt x="103759" y="133404"/>
                </a:cubicBezTo>
                <a:lnTo>
                  <a:pt x="103759" y="163050"/>
                </a:lnTo>
                <a:cubicBezTo>
                  <a:pt x="103759" y="171236"/>
                  <a:pt x="110395" y="177873"/>
                  <a:pt x="118582" y="177873"/>
                </a:cubicBezTo>
                <a:cubicBezTo>
                  <a:pt x="126768" y="177873"/>
                  <a:pt x="133404" y="171236"/>
                  <a:pt x="133404" y="163050"/>
                </a:cubicBezTo>
                <a:close/>
                <a:moveTo>
                  <a:pt x="44468" y="163050"/>
                </a:moveTo>
                <a:cubicBezTo>
                  <a:pt x="44468" y="171236"/>
                  <a:pt x="51104" y="177873"/>
                  <a:pt x="59291" y="177873"/>
                </a:cubicBezTo>
                <a:cubicBezTo>
                  <a:pt x="67477" y="177873"/>
                  <a:pt x="74113" y="171236"/>
                  <a:pt x="74113" y="163050"/>
                </a:cubicBezTo>
                <a:lnTo>
                  <a:pt x="74113" y="118582"/>
                </a:lnTo>
                <a:moveTo>
                  <a:pt x="251987" y="118582"/>
                </a:moveTo>
                <a:lnTo>
                  <a:pt x="237164" y="118582"/>
                </a:lnTo>
                <a:cubicBezTo>
                  <a:pt x="228977" y="118582"/>
                  <a:pt x="222341" y="125218"/>
                  <a:pt x="222341" y="133404"/>
                </a:cubicBezTo>
                <a:cubicBezTo>
                  <a:pt x="222341" y="141591"/>
                  <a:pt x="228977" y="148227"/>
                  <a:pt x="237164" y="148227"/>
                </a:cubicBezTo>
                <a:cubicBezTo>
                  <a:pt x="245350" y="148227"/>
                  <a:pt x="251987" y="154864"/>
                  <a:pt x="251987" y="163050"/>
                </a:cubicBezTo>
                <a:cubicBezTo>
                  <a:pt x="251987" y="171236"/>
                  <a:pt x="245350" y="177873"/>
                  <a:pt x="237164" y="177873"/>
                </a:cubicBezTo>
                <a:lnTo>
                  <a:pt x="222341" y="177873"/>
                </a:lnTo>
              </a:path>
            </a:pathLst>
          </a:custGeom>
          <a:noFill/>
          <a:ln w="4446">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115" name="Rounded Rectangle 42">
            <a:extLst>
              <a:ext uri="{FF2B5EF4-FFF2-40B4-BE49-F238E27FC236}">
                <a16:creationId xmlns:a16="http://schemas.microsoft.com/office/drawing/2014/main" id="{D6EA1A6C-722C-CDEF-0784-0FD9AB75121C}"/>
              </a:ext>
            </a:extLst>
          </p:cNvPr>
          <p:cNvSpPr/>
          <p:nvPr/>
        </p:nvSpPr>
        <p:spPr>
          <a:xfrm>
            <a:off x="3769252" y="6104444"/>
            <a:ext cx="344629" cy="344629"/>
          </a:xfrm>
          <a:custGeom>
            <a:avLst/>
            <a:gdLst/>
            <a:ahLst/>
            <a:cxnLst/>
            <a:rect l="0" t="0" r="0" b="0"/>
            <a:pathLst>
              <a:path w="344629" h="344629">
                <a:moveTo>
                  <a:pt x="154897" y="234942"/>
                </a:moveTo>
                <a:cubicBezTo>
                  <a:pt x="154897" y="191553"/>
                  <a:pt x="190070" y="156380"/>
                  <a:pt x="233458" y="156380"/>
                </a:cubicBezTo>
                <a:cubicBezTo>
                  <a:pt x="276846" y="156380"/>
                  <a:pt x="312019" y="191553"/>
                  <a:pt x="312019" y="234942"/>
                </a:cubicBezTo>
                <a:cubicBezTo>
                  <a:pt x="312019" y="278330"/>
                  <a:pt x="276846" y="313501"/>
                  <a:pt x="233458" y="313501"/>
                </a:cubicBezTo>
                <a:cubicBezTo>
                  <a:pt x="190070" y="313501"/>
                  <a:pt x="154897" y="278330"/>
                  <a:pt x="154897" y="234942"/>
                </a:cubicBezTo>
                <a:close/>
                <a:moveTo>
                  <a:pt x="0" y="0"/>
                </a:moveTo>
                <a:moveTo>
                  <a:pt x="344629" y="344629"/>
                </a:moveTo>
                <a:lnTo>
                  <a:pt x="289755" y="289755"/>
                </a:lnTo>
                <a:moveTo>
                  <a:pt x="58549" y="329803"/>
                </a:moveTo>
                <a:cubicBezTo>
                  <a:pt x="58549" y="338697"/>
                  <a:pt x="52620" y="344626"/>
                  <a:pt x="43727" y="344626"/>
                </a:cubicBezTo>
                <a:lnTo>
                  <a:pt x="25939" y="344626"/>
                </a:lnTo>
                <a:cubicBezTo>
                  <a:pt x="17046" y="344626"/>
                  <a:pt x="11117" y="338697"/>
                  <a:pt x="11117" y="329803"/>
                </a:cubicBezTo>
                <a:lnTo>
                  <a:pt x="11117" y="163788"/>
                </a:lnTo>
                <a:cubicBezTo>
                  <a:pt x="11117" y="154894"/>
                  <a:pt x="17046" y="148965"/>
                  <a:pt x="25939" y="148965"/>
                </a:cubicBezTo>
                <a:lnTo>
                  <a:pt x="43727" y="148965"/>
                </a:lnTo>
                <a:cubicBezTo>
                  <a:pt x="52620" y="148965"/>
                  <a:pt x="58549" y="154894"/>
                  <a:pt x="58549" y="163788"/>
                </a:cubicBezTo>
                <a:close/>
                <a:moveTo>
                  <a:pt x="151933" y="317943"/>
                </a:moveTo>
                <a:lnTo>
                  <a:pt x="151933" y="329802"/>
                </a:lnTo>
                <a:cubicBezTo>
                  <a:pt x="151933" y="338695"/>
                  <a:pt x="146005" y="344624"/>
                  <a:pt x="137111" y="344624"/>
                </a:cubicBezTo>
                <a:lnTo>
                  <a:pt x="119323" y="344624"/>
                </a:lnTo>
                <a:cubicBezTo>
                  <a:pt x="110430" y="344624"/>
                  <a:pt x="104501" y="338695"/>
                  <a:pt x="104501" y="329802"/>
                </a:cubicBezTo>
                <a:lnTo>
                  <a:pt x="104501" y="125248"/>
                </a:lnTo>
                <a:cubicBezTo>
                  <a:pt x="104501" y="116354"/>
                  <a:pt x="110430" y="110425"/>
                  <a:pt x="119323" y="110425"/>
                </a:cubicBezTo>
                <a:lnTo>
                  <a:pt x="137111" y="110425"/>
                </a:lnTo>
                <a:cubicBezTo>
                  <a:pt x="146004" y="110425"/>
                  <a:pt x="151933" y="116354"/>
                  <a:pt x="151933" y="125248"/>
                </a:cubicBezTo>
                <a:lnTo>
                  <a:pt x="151933" y="140070"/>
                </a:lnTo>
                <a:moveTo>
                  <a:pt x="196401" y="97089"/>
                </a:moveTo>
                <a:lnTo>
                  <a:pt x="196401" y="25939"/>
                </a:lnTo>
                <a:cubicBezTo>
                  <a:pt x="196401" y="17046"/>
                  <a:pt x="202330" y="11117"/>
                  <a:pt x="211224" y="11117"/>
                </a:cubicBezTo>
                <a:lnTo>
                  <a:pt x="233458" y="11117"/>
                </a:lnTo>
                <a:cubicBezTo>
                  <a:pt x="242352" y="11117"/>
                  <a:pt x="248281" y="17046"/>
                  <a:pt x="248281" y="25939"/>
                </a:cubicBezTo>
                <a:lnTo>
                  <a:pt x="248281" y="97089"/>
                </a:lnTo>
                <a:moveTo>
                  <a:pt x="292749" y="101535"/>
                </a:moveTo>
                <a:lnTo>
                  <a:pt x="292749" y="62996"/>
                </a:lnTo>
                <a:cubicBezTo>
                  <a:pt x="292749" y="54103"/>
                  <a:pt x="298678" y="48173"/>
                  <a:pt x="307572" y="48173"/>
                </a:cubicBezTo>
                <a:lnTo>
                  <a:pt x="329806" y="48173"/>
                </a:lnTo>
                <a:cubicBezTo>
                  <a:pt x="338700" y="48173"/>
                  <a:pt x="344629" y="54103"/>
                  <a:pt x="344629" y="62996"/>
                </a:cubicBezTo>
                <a:lnTo>
                  <a:pt x="344629" y="248281"/>
                </a:lnTo>
              </a:path>
            </a:pathLst>
          </a:custGeom>
          <a:noFill/>
          <a:ln w="4446">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116" name="Rounded Rectangle 43">
            <a:extLst>
              <a:ext uri="{FF2B5EF4-FFF2-40B4-BE49-F238E27FC236}">
                <a16:creationId xmlns:a16="http://schemas.microsoft.com/office/drawing/2014/main" id="{322B5DAF-FD45-DEBE-C164-AEA944627645}"/>
              </a:ext>
            </a:extLst>
          </p:cNvPr>
          <p:cNvSpPr/>
          <p:nvPr/>
        </p:nvSpPr>
        <p:spPr>
          <a:xfrm>
            <a:off x="6188744" y="6104508"/>
            <a:ext cx="338637" cy="344501"/>
          </a:xfrm>
          <a:custGeom>
            <a:avLst/>
            <a:gdLst/>
            <a:ahLst/>
            <a:cxnLst/>
            <a:rect l="0" t="0" r="0" b="0"/>
            <a:pathLst>
              <a:path w="338637" h="344501">
                <a:moveTo>
                  <a:pt x="111701" y="247836"/>
                </a:moveTo>
                <a:lnTo>
                  <a:pt x="96878" y="263697"/>
                </a:lnTo>
                <a:cubicBezTo>
                  <a:pt x="91097" y="269444"/>
                  <a:pt x="81759" y="269444"/>
                  <a:pt x="75978" y="263697"/>
                </a:cubicBezTo>
                <a:lnTo>
                  <a:pt x="4384" y="191510"/>
                </a:lnTo>
                <a:cubicBezTo>
                  <a:pt x="1578" y="188726"/>
                  <a:pt x="0" y="184938"/>
                  <a:pt x="0" y="180985"/>
                </a:cubicBezTo>
                <a:cubicBezTo>
                  <a:pt x="0" y="177033"/>
                  <a:pt x="1578" y="173245"/>
                  <a:pt x="4384" y="170461"/>
                </a:cubicBezTo>
                <a:lnTo>
                  <a:pt x="164915" y="10524"/>
                </a:lnTo>
                <a:cubicBezTo>
                  <a:pt x="171887" y="4274"/>
                  <a:pt x="180767" y="565"/>
                  <a:pt x="190113" y="0"/>
                </a:cubicBezTo>
                <a:lnTo>
                  <a:pt x="253851" y="0"/>
                </a:lnTo>
                <a:cubicBezTo>
                  <a:pt x="262038" y="0"/>
                  <a:pt x="268674" y="6636"/>
                  <a:pt x="268674" y="14822"/>
                </a:cubicBezTo>
                <a:lnTo>
                  <a:pt x="268674" y="74113"/>
                </a:lnTo>
                <a:cubicBezTo>
                  <a:pt x="268206" y="83498"/>
                  <a:pt x="264546" y="92441"/>
                  <a:pt x="258298" y="99460"/>
                </a:cubicBezTo>
                <a:lnTo>
                  <a:pt x="231024" y="126734"/>
                </a:lnTo>
                <a:moveTo>
                  <a:pt x="193967" y="51879"/>
                </a:moveTo>
                <a:cubicBezTo>
                  <a:pt x="193967" y="64159"/>
                  <a:pt x="203922" y="74113"/>
                  <a:pt x="216201" y="74113"/>
                </a:cubicBezTo>
                <a:cubicBezTo>
                  <a:pt x="228481" y="74113"/>
                  <a:pt x="238436" y="64159"/>
                  <a:pt x="238436" y="51879"/>
                </a:cubicBezTo>
                <a:cubicBezTo>
                  <a:pt x="238436" y="39600"/>
                  <a:pt x="228481" y="29645"/>
                  <a:pt x="216201" y="29645"/>
                </a:cubicBezTo>
                <a:cubicBezTo>
                  <a:pt x="203922" y="29645"/>
                  <a:pt x="193967" y="39600"/>
                  <a:pt x="193967" y="51879"/>
                </a:cubicBezTo>
                <a:moveTo>
                  <a:pt x="273269" y="217005"/>
                </a:moveTo>
                <a:lnTo>
                  <a:pt x="318478" y="237164"/>
                </a:lnTo>
                <a:lnTo>
                  <a:pt x="338637" y="191658"/>
                </a:lnTo>
                <a:moveTo>
                  <a:pt x="158096" y="218932"/>
                </a:moveTo>
                <a:cubicBezTo>
                  <a:pt x="170776" y="182359"/>
                  <a:pt x="207125" y="159472"/>
                  <a:pt x="245586" y="163844"/>
                </a:cubicBezTo>
                <a:cubicBezTo>
                  <a:pt x="284047" y="168216"/>
                  <a:pt x="314331" y="198678"/>
                  <a:pt x="318478" y="237164"/>
                </a:cubicBezTo>
                <a:moveTo>
                  <a:pt x="203602" y="286968"/>
                </a:moveTo>
                <a:lnTo>
                  <a:pt x="158393" y="266809"/>
                </a:lnTo>
                <a:lnTo>
                  <a:pt x="138085" y="312315"/>
                </a:lnTo>
                <a:moveTo>
                  <a:pt x="318775" y="285041"/>
                </a:moveTo>
                <a:cubicBezTo>
                  <a:pt x="306095" y="321614"/>
                  <a:pt x="269746" y="344501"/>
                  <a:pt x="231285" y="340129"/>
                </a:cubicBezTo>
                <a:cubicBezTo>
                  <a:pt x="192824" y="335757"/>
                  <a:pt x="162540" y="305295"/>
                  <a:pt x="158393" y="266809"/>
                </a:cubicBezTo>
              </a:path>
            </a:pathLst>
          </a:custGeom>
          <a:noFill/>
          <a:ln w="4446">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cxnSp>
        <p:nvCxnSpPr>
          <p:cNvPr id="131" name="Straight Connector 130">
            <a:extLst>
              <a:ext uri="{FF2B5EF4-FFF2-40B4-BE49-F238E27FC236}">
                <a16:creationId xmlns:a16="http://schemas.microsoft.com/office/drawing/2014/main" id="{AE26987C-CA99-3926-9058-D658DFB9F801}"/>
              </a:ext>
            </a:extLst>
          </p:cNvPr>
          <p:cNvCxnSpPr/>
          <p:nvPr/>
        </p:nvCxnSpPr>
        <p:spPr>
          <a:xfrm>
            <a:off x="4316669" y="1796143"/>
            <a:ext cx="0" cy="188595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3" name="Arrow: Chevron 2">
            <a:extLst>
              <a:ext uri="{FF2B5EF4-FFF2-40B4-BE49-F238E27FC236}">
                <a16:creationId xmlns:a16="http://schemas.microsoft.com/office/drawing/2014/main" id="{92D6F31E-0711-D625-FD4B-F64E201A782F}"/>
              </a:ext>
            </a:extLst>
          </p:cNvPr>
          <p:cNvSpPr/>
          <p:nvPr/>
        </p:nvSpPr>
        <p:spPr>
          <a:xfrm>
            <a:off x="8113996"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85" name="Arrow: Chevron 84">
            <a:extLst>
              <a:ext uri="{FF2B5EF4-FFF2-40B4-BE49-F238E27FC236}">
                <a16:creationId xmlns:a16="http://schemas.microsoft.com/office/drawing/2014/main" id="{8ABC1A41-49D7-B869-D9A2-97F0AC1B8FA2}"/>
              </a:ext>
            </a:extLst>
          </p:cNvPr>
          <p:cNvSpPr/>
          <p:nvPr/>
        </p:nvSpPr>
        <p:spPr>
          <a:xfrm>
            <a:off x="9076754"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130" name="Arrow: Chevron 129">
            <a:extLst>
              <a:ext uri="{FF2B5EF4-FFF2-40B4-BE49-F238E27FC236}">
                <a16:creationId xmlns:a16="http://schemas.microsoft.com/office/drawing/2014/main" id="{AED42987-BB09-5DB0-48BD-9B2E1FBBDF30}"/>
              </a:ext>
            </a:extLst>
          </p:cNvPr>
          <p:cNvSpPr/>
          <p:nvPr/>
        </p:nvSpPr>
        <p:spPr>
          <a:xfrm>
            <a:off x="1003951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132" name="Arrow: Chevron 131">
            <a:extLst>
              <a:ext uri="{FF2B5EF4-FFF2-40B4-BE49-F238E27FC236}">
                <a16:creationId xmlns:a16="http://schemas.microsoft.com/office/drawing/2014/main" id="{629D04AF-6BA4-F879-4240-65282D44F3DF}"/>
              </a:ext>
            </a:extLst>
          </p:cNvPr>
          <p:cNvSpPr/>
          <p:nvPr/>
        </p:nvSpPr>
        <p:spPr>
          <a:xfrm>
            <a:off x="10999632"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25083429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15DC7E-3440-BB17-188C-17F3B22F0C0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3BF4F2F-DFA9-2FD2-17F1-2138F82D88C4}"/>
              </a:ext>
            </a:extLst>
          </p:cNvPr>
          <p:cNvGraphicFramePr>
            <a:graphicFrameLocks noChangeAspect="1"/>
          </p:cNvGraphicFramePr>
          <p:nvPr>
            <p:custDataLst>
              <p:tags r:id="rId1"/>
            </p:custDataLst>
            <p:extLst>
              <p:ext uri="{D42A27DB-BD31-4B8C-83A1-F6EECF244321}">
                <p14:modId xmlns:p14="http://schemas.microsoft.com/office/powerpoint/2010/main" val="193160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A3BF4F2F-DFA9-2FD2-17F1-2138F82D88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4CF27A8-AB86-1B27-DB0B-AE0B1ACBD1CD}"/>
              </a:ext>
            </a:extLst>
          </p:cNvPr>
          <p:cNvSpPr>
            <a:spLocks noGrp="1"/>
          </p:cNvSpPr>
          <p:nvPr>
            <p:ph type="title"/>
          </p:nvPr>
        </p:nvSpPr>
        <p:spPr>
          <a:xfrm>
            <a:off x="137786" y="125260"/>
            <a:ext cx="6880635" cy="806754"/>
          </a:xfrm>
        </p:spPr>
        <p:txBody>
          <a:bodyPr vert="horz">
            <a:normAutofit/>
          </a:bodyPr>
          <a:lstStyle/>
          <a:p>
            <a:r>
              <a:rPr lang="en-GB" b="1" noProof="0"/>
              <a:t>The Four Actions Framework</a:t>
            </a:r>
          </a:p>
        </p:txBody>
      </p:sp>
      <p:sp>
        <p:nvSpPr>
          <p:cNvPr id="10" name="Rectangle 9">
            <a:extLst>
              <a:ext uri="{FF2B5EF4-FFF2-40B4-BE49-F238E27FC236}">
                <a16:creationId xmlns:a16="http://schemas.microsoft.com/office/drawing/2014/main" id="{A04C6496-793A-C1FB-C48B-76A8B237AC23}"/>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200" b="1" noProof="0">
                <a:solidFill>
                  <a:schemeClr val="tx1"/>
                </a:solidFill>
                <a:latin typeface="Avenir Next LT Pro" panose="020B0504020202020204" pitchFamily="34" charset="0"/>
              </a:rPr>
              <a:t>Blue Ocean Strategy </a:t>
            </a:r>
            <a:r>
              <a:rPr lang="en-GB" sz="1200" noProof="0">
                <a:solidFill>
                  <a:schemeClr val="tx1"/>
                </a:solidFill>
                <a:latin typeface="Avenir Next LT Pro" panose="020B0504020202020204" pitchFamily="34" charset="0"/>
              </a:rPr>
              <a:t>revolutionises competitive thinking by shifting focus from competing within existing market boundaries to creating uncontested market space through value innovation.</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This framework </a:t>
            </a:r>
            <a:r>
              <a:rPr lang="en-GB" sz="1200" b="1" noProof="0">
                <a:solidFill>
                  <a:schemeClr val="tx1"/>
                </a:solidFill>
                <a:latin typeface="Avenir Next LT Pro" panose="020B0504020202020204" pitchFamily="34" charset="0"/>
              </a:rPr>
              <a:t>challenges the fundamental strategic assumption </a:t>
            </a:r>
            <a:r>
              <a:rPr lang="en-GB" sz="1200" noProof="0">
                <a:solidFill>
                  <a:schemeClr val="tx1"/>
                </a:solidFill>
                <a:latin typeface="Avenir Next LT Pro" panose="020B0504020202020204" pitchFamily="34" charset="0"/>
              </a:rPr>
              <a:t>that companies must choose between differentiation and cost leadership.</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To reconstruct buyer value elements and craft a new value curve, the framework poses </a:t>
            </a:r>
            <a:r>
              <a:rPr lang="en-GB" sz="1200" b="1" noProof="0">
                <a:solidFill>
                  <a:schemeClr val="tx1"/>
                </a:solidFill>
                <a:latin typeface="Avenir Next LT Pro" panose="020B0504020202020204" pitchFamily="34" charset="0"/>
              </a:rPr>
              <a:t>four key questions that challenge an industry's strategic logic and business model</a:t>
            </a:r>
            <a:r>
              <a:rPr lang="en-GB" sz="1200" noProof="0">
                <a:solidFill>
                  <a:schemeClr val="tx1"/>
                </a:solidFill>
                <a:latin typeface="Avenir Next LT Pro" panose="020B0504020202020204" pitchFamily="34" charset="0"/>
              </a:rPr>
              <a:t>.</a:t>
            </a:r>
          </a:p>
        </p:txBody>
      </p:sp>
      <p:sp>
        <p:nvSpPr>
          <p:cNvPr id="27" name="TextBox 26">
            <a:extLst>
              <a:ext uri="{FF2B5EF4-FFF2-40B4-BE49-F238E27FC236}">
                <a16:creationId xmlns:a16="http://schemas.microsoft.com/office/drawing/2014/main" id="{C231BB3F-DB1A-08AC-679D-393F39D919B6}"/>
              </a:ext>
            </a:extLst>
          </p:cNvPr>
          <p:cNvSpPr txBox="1"/>
          <p:nvPr/>
        </p:nvSpPr>
        <p:spPr>
          <a:xfrm>
            <a:off x="9357085" y="6466114"/>
            <a:ext cx="2571750" cy="215444"/>
          </a:xfrm>
          <a:prstGeom prst="rect">
            <a:avLst/>
          </a:prstGeom>
          <a:noFill/>
        </p:spPr>
        <p:txBody>
          <a:bodyPr wrap="square" rtlCol="0">
            <a:spAutoFit/>
          </a:bodyPr>
          <a:lstStyle/>
          <a:p>
            <a:r>
              <a:rPr lang="en-GB" sz="800" i="1" noProof="0">
                <a:latin typeface="Avenir LT Pro 45Book"/>
              </a:rPr>
              <a:t>Source: Blue Ocean Strategy, Kim &amp; Mauborgne, 2005</a:t>
            </a:r>
          </a:p>
        </p:txBody>
      </p:sp>
      <p:pic>
        <p:nvPicPr>
          <p:cNvPr id="5124" name="Picture 4" descr="Why You Should Eliminate And Reduce To Find New Blue Oceans">
            <a:extLst>
              <a:ext uri="{FF2B5EF4-FFF2-40B4-BE49-F238E27FC236}">
                <a16:creationId xmlns:a16="http://schemas.microsoft.com/office/drawing/2014/main" id="{313B9E46-DB89-4EE6-ACFB-0093FE1A326A}"/>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sharpenSoften amount="25000"/>
                    </a14:imgEffect>
                    <a14:imgEffect>
                      <a14:brightnessContrast bright="-20000" contrast="52000"/>
                    </a14:imgEffect>
                  </a14:imgLayer>
                </a14:imgProps>
              </a:ext>
              <a:ext uri="{28A0092B-C50C-407E-A947-70E740481C1C}">
                <a14:useLocalDpi xmlns:a14="http://schemas.microsoft.com/office/drawing/2010/main" val="0"/>
              </a:ext>
            </a:extLst>
          </a:blip>
          <a:srcRect l="7901" r="8246" b="6314"/>
          <a:stretch>
            <a:fillRect/>
          </a:stretch>
        </p:blipFill>
        <p:spPr bwMode="auto">
          <a:xfrm>
            <a:off x="8467" y="1381308"/>
            <a:ext cx="4600469" cy="5139956"/>
          </a:xfrm>
          <a:prstGeom prst="rect">
            <a:avLst/>
          </a:prstGeom>
          <a:noFill/>
          <a:extLst>
            <a:ext uri="{909E8E84-426E-40DD-AFC4-6F175D3DCCD1}">
              <a14:hiddenFill xmlns:a14="http://schemas.microsoft.com/office/drawing/2010/main">
                <a:solidFill>
                  <a:srgbClr val="FFFFFF"/>
                </a:solidFill>
              </a14:hiddenFill>
            </a:ext>
          </a:extLst>
        </p:spPr>
      </p:pic>
      <p:grpSp>
        <p:nvGrpSpPr>
          <p:cNvPr id="42" name="Group 41">
            <a:extLst>
              <a:ext uri="{FF2B5EF4-FFF2-40B4-BE49-F238E27FC236}">
                <a16:creationId xmlns:a16="http://schemas.microsoft.com/office/drawing/2014/main" id="{6FEB1009-AD26-4539-35BB-F49CFE80D5A2}"/>
              </a:ext>
            </a:extLst>
          </p:cNvPr>
          <p:cNvGrpSpPr/>
          <p:nvPr/>
        </p:nvGrpSpPr>
        <p:grpSpPr>
          <a:xfrm>
            <a:off x="4690754" y="4129773"/>
            <a:ext cx="4286699" cy="2424828"/>
            <a:chOff x="2464183" y="1605015"/>
            <a:chExt cx="6999987" cy="3959636"/>
          </a:xfrm>
        </p:grpSpPr>
        <p:sp>
          <p:nvSpPr>
            <p:cNvPr id="11" name="Rounded Rectangle 1">
              <a:extLst>
                <a:ext uri="{FF2B5EF4-FFF2-40B4-BE49-F238E27FC236}">
                  <a16:creationId xmlns:a16="http://schemas.microsoft.com/office/drawing/2014/main" id="{97072E3B-F3D8-17E9-DE23-2A4C1082CAD3}"/>
                </a:ext>
              </a:extLst>
            </p:cNvPr>
            <p:cNvSpPr/>
            <p:nvPr/>
          </p:nvSpPr>
          <p:spPr>
            <a:xfrm>
              <a:off x="2637941" y="1977390"/>
              <a:ext cx="6752492" cy="3587261"/>
            </a:xfrm>
            <a:custGeom>
              <a:avLst/>
              <a:gdLst/>
              <a:ahLst/>
              <a:cxnLst/>
              <a:rect l="0" t="0" r="0" b="0"/>
              <a:pathLst>
                <a:path w="6752492" h="3587261">
                  <a:moveTo>
                    <a:pt x="6752492" y="1793630"/>
                  </a:moveTo>
                  <a:lnTo>
                    <a:pt x="3377251" y="1793630"/>
                  </a:lnTo>
                  <a:moveTo>
                    <a:pt x="3377251" y="1793630"/>
                  </a:moveTo>
                  <a:lnTo>
                    <a:pt x="0" y="1793630"/>
                  </a:lnTo>
                  <a:moveTo>
                    <a:pt x="3377251" y="1793630"/>
                  </a:moveTo>
                  <a:lnTo>
                    <a:pt x="3377251" y="0"/>
                  </a:lnTo>
                  <a:moveTo>
                    <a:pt x="3377251" y="1793630"/>
                  </a:moveTo>
                  <a:lnTo>
                    <a:pt x="3377251" y="3587261"/>
                  </a:lnTo>
                </a:path>
              </a:pathLst>
            </a:custGeom>
            <a:noFill/>
            <a:ln w="6594">
              <a:solidFill>
                <a:srgbClr val="464646"/>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nvGrpSpPr>
            <p:cNvPr id="12" name="Group 11">
              <a:extLst>
                <a:ext uri="{FF2B5EF4-FFF2-40B4-BE49-F238E27FC236}">
                  <a16:creationId xmlns:a16="http://schemas.microsoft.com/office/drawing/2014/main" id="{353ADC1E-5F74-2497-4ADE-E84CA299453F}"/>
                </a:ext>
              </a:extLst>
            </p:cNvPr>
            <p:cNvGrpSpPr/>
            <p:nvPr/>
          </p:nvGrpSpPr>
          <p:grpSpPr>
            <a:xfrm>
              <a:off x="6197683" y="3982036"/>
              <a:ext cx="2005789" cy="1371600"/>
              <a:chOff x="4324672" y="3165230"/>
              <a:chExt cx="2005789" cy="1371600"/>
            </a:xfrm>
          </p:grpSpPr>
          <p:sp>
            <p:nvSpPr>
              <p:cNvPr id="40" name="Rounded Rectangle 2">
                <a:extLst>
                  <a:ext uri="{FF2B5EF4-FFF2-40B4-BE49-F238E27FC236}">
                    <a16:creationId xmlns:a16="http://schemas.microsoft.com/office/drawing/2014/main" id="{65A1EA61-5E52-55DA-7730-D9394CF1AFEE}"/>
                  </a:ext>
                </a:extLst>
              </p:cNvPr>
              <p:cNvSpPr/>
              <p:nvPr/>
            </p:nvSpPr>
            <p:spPr>
              <a:xfrm>
                <a:off x="4537895" y="3165230"/>
                <a:ext cx="1660699" cy="764579"/>
              </a:xfrm>
              <a:custGeom>
                <a:avLst/>
                <a:gdLst/>
                <a:ahLst/>
                <a:cxnLst/>
                <a:rect l="0" t="0" r="0" b="0"/>
                <a:pathLst>
                  <a:path w="1660699" h="764579">
                    <a:moveTo>
                      <a:pt x="0" y="316523"/>
                    </a:moveTo>
                    <a:lnTo>
                      <a:pt x="182704" y="0"/>
                    </a:lnTo>
                    <a:lnTo>
                      <a:pt x="548200" y="0"/>
                    </a:lnTo>
                    <a:lnTo>
                      <a:pt x="730904" y="316523"/>
                    </a:lnTo>
                    <a:lnTo>
                      <a:pt x="548200" y="633046"/>
                    </a:lnTo>
                    <a:lnTo>
                      <a:pt x="182704" y="633046"/>
                    </a:lnTo>
                    <a:close/>
                    <a:moveTo>
                      <a:pt x="1660699" y="685624"/>
                    </a:moveTo>
                    <a:lnTo>
                      <a:pt x="1615155" y="764579"/>
                    </a:lnTo>
                    <a:lnTo>
                      <a:pt x="1523979" y="764579"/>
                    </a:lnTo>
                    <a:lnTo>
                      <a:pt x="1478347" y="685624"/>
                    </a:lnTo>
                    <a:lnTo>
                      <a:pt x="1523979" y="606669"/>
                    </a:lnTo>
                    <a:lnTo>
                      <a:pt x="1615155" y="606669"/>
                    </a:ln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41" name="Rounded Rectangle 3">
                <a:extLst>
                  <a:ext uri="{FF2B5EF4-FFF2-40B4-BE49-F238E27FC236}">
                    <a16:creationId xmlns:a16="http://schemas.microsoft.com/office/drawing/2014/main" id="{683A9BDA-D73D-FDC6-6861-F91399F46D05}"/>
                  </a:ext>
                </a:extLst>
              </p:cNvPr>
              <p:cNvSpPr/>
              <p:nvPr/>
            </p:nvSpPr>
            <p:spPr>
              <a:xfrm>
                <a:off x="4324672" y="3165230"/>
                <a:ext cx="2005789" cy="1371600"/>
              </a:xfrm>
              <a:custGeom>
                <a:avLst/>
                <a:gdLst/>
                <a:ahLst/>
                <a:cxnLst/>
                <a:rect l="0" t="0" r="0" b="0"/>
                <a:pathLst>
                  <a:path w="2005789" h="1371600">
                    <a:moveTo>
                      <a:pt x="395927" y="633046"/>
                    </a:moveTo>
                    <a:lnTo>
                      <a:pt x="761423" y="633046"/>
                    </a:lnTo>
                    <a:lnTo>
                      <a:pt x="944127" y="316523"/>
                    </a:lnTo>
                    <a:lnTo>
                      <a:pt x="761423" y="0"/>
                    </a:lnTo>
                    <a:lnTo>
                      <a:pt x="395927" y="0"/>
                    </a:lnTo>
                    <a:lnTo>
                      <a:pt x="213223" y="316523"/>
                    </a:lnTo>
                    <a:close/>
                    <a:moveTo>
                      <a:pt x="1873919" y="685624"/>
                    </a:moveTo>
                    <a:lnTo>
                      <a:pt x="1828375" y="764579"/>
                    </a:lnTo>
                    <a:lnTo>
                      <a:pt x="1737199" y="764579"/>
                    </a:lnTo>
                    <a:lnTo>
                      <a:pt x="1691567" y="685624"/>
                    </a:lnTo>
                    <a:lnTo>
                      <a:pt x="1737199" y="606669"/>
                    </a:lnTo>
                    <a:lnTo>
                      <a:pt x="1828375" y="606669"/>
                    </a:lnTo>
                    <a:close/>
                    <a:moveTo>
                      <a:pt x="0" y="685800"/>
                    </a:moveTo>
                    <a:lnTo>
                      <a:pt x="395917" y="0"/>
                    </a:lnTo>
                    <a:lnTo>
                      <a:pt x="1187840" y="0"/>
                    </a:lnTo>
                    <a:lnTo>
                      <a:pt x="1583758" y="685800"/>
                    </a:lnTo>
                    <a:lnTo>
                      <a:pt x="1187840" y="1371600"/>
                    </a:lnTo>
                    <a:lnTo>
                      <a:pt x="395917" y="1371600"/>
                    </a:lnTo>
                    <a:close/>
                    <a:moveTo>
                      <a:pt x="2005789" y="685800"/>
                    </a:moveTo>
                    <a:lnTo>
                      <a:pt x="1873904" y="685800"/>
                    </a:lnTo>
                    <a:moveTo>
                      <a:pt x="2005789" y="949569"/>
                    </a:moveTo>
                    <a:lnTo>
                      <a:pt x="2005789" y="422030"/>
                    </a:lnTo>
                  </a:path>
                </a:pathLst>
              </a:custGeom>
              <a:noFill/>
              <a:ln w="6594">
                <a:solidFill>
                  <a:schemeClr val="bg1">
                    <a:lumMod val="85000"/>
                  </a:schemeClr>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grpSp>
          <p:nvGrpSpPr>
            <p:cNvPr id="13" name="Group 12">
              <a:extLst>
                <a:ext uri="{FF2B5EF4-FFF2-40B4-BE49-F238E27FC236}">
                  <a16:creationId xmlns:a16="http://schemas.microsoft.com/office/drawing/2014/main" id="{965CDCE8-7136-F9FB-A286-AC7CDB689CA3}"/>
                </a:ext>
              </a:extLst>
            </p:cNvPr>
            <p:cNvGrpSpPr/>
            <p:nvPr/>
          </p:nvGrpSpPr>
          <p:grpSpPr>
            <a:xfrm>
              <a:off x="3772149" y="3982036"/>
              <a:ext cx="2005789" cy="1371600"/>
              <a:chOff x="1899138" y="3165230"/>
              <a:chExt cx="2005789" cy="1371600"/>
            </a:xfrm>
          </p:grpSpPr>
          <p:sp>
            <p:nvSpPr>
              <p:cNvPr id="38" name="Rounded Rectangle 5">
                <a:extLst>
                  <a:ext uri="{FF2B5EF4-FFF2-40B4-BE49-F238E27FC236}">
                    <a16:creationId xmlns:a16="http://schemas.microsoft.com/office/drawing/2014/main" id="{079AC4C1-BEDB-C0EE-A982-EADE592C2593}"/>
                  </a:ext>
                </a:extLst>
              </p:cNvPr>
              <p:cNvSpPr/>
              <p:nvPr/>
            </p:nvSpPr>
            <p:spPr>
              <a:xfrm>
                <a:off x="2033324" y="3165230"/>
                <a:ext cx="1658387" cy="764579"/>
              </a:xfrm>
              <a:custGeom>
                <a:avLst/>
                <a:gdLst/>
                <a:ahLst/>
                <a:cxnLst/>
                <a:rect l="0" t="0" r="0" b="0"/>
                <a:pathLst>
                  <a:path w="1658387" h="764579">
                    <a:moveTo>
                      <a:pt x="1475683" y="633046"/>
                    </a:moveTo>
                    <a:lnTo>
                      <a:pt x="1110187" y="633046"/>
                    </a:lnTo>
                    <a:lnTo>
                      <a:pt x="927482" y="316523"/>
                    </a:lnTo>
                    <a:lnTo>
                      <a:pt x="1110187" y="0"/>
                    </a:lnTo>
                    <a:lnTo>
                      <a:pt x="1475683" y="0"/>
                    </a:lnTo>
                    <a:lnTo>
                      <a:pt x="1658387" y="316523"/>
                    </a:lnTo>
                    <a:close/>
                    <a:moveTo>
                      <a:pt x="182352" y="685624"/>
                    </a:moveTo>
                    <a:lnTo>
                      <a:pt x="136808" y="764579"/>
                    </a:lnTo>
                    <a:lnTo>
                      <a:pt x="45632" y="764579"/>
                    </a:lnTo>
                    <a:lnTo>
                      <a:pt x="0" y="685624"/>
                    </a:lnTo>
                    <a:lnTo>
                      <a:pt x="45632" y="606669"/>
                    </a:lnTo>
                    <a:lnTo>
                      <a:pt x="136808" y="606669"/>
                    </a:lnTo>
                    <a:close/>
                  </a:path>
                </a:pathLst>
              </a:custGeom>
              <a:solidFill>
                <a:srgbClr val="FF9C26"/>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39" name="Rounded Rectangle 6">
                <a:extLst>
                  <a:ext uri="{FF2B5EF4-FFF2-40B4-BE49-F238E27FC236}">
                    <a16:creationId xmlns:a16="http://schemas.microsoft.com/office/drawing/2014/main" id="{84AE7819-5B53-F8AC-7CC3-EED3D2ABD8EA}"/>
                  </a:ext>
                </a:extLst>
              </p:cNvPr>
              <p:cNvSpPr/>
              <p:nvPr/>
            </p:nvSpPr>
            <p:spPr>
              <a:xfrm>
                <a:off x="1899138" y="3165230"/>
                <a:ext cx="2005789" cy="1371600"/>
              </a:xfrm>
              <a:custGeom>
                <a:avLst/>
                <a:gdLst/>
                <a:ahLst/>
                <a:cxnLst/>
                <a:rect l="0" t="0" r="0" b="0"/>
                <a:pathLst>
                  <a:path w="2005789" h="1371600">
                    <a:moveTo>
                      <a:pt x="1609871" y="1371600"/>
                    </a:moveTo>
                    <a:lnTo>
                      <a:pt x="817948" y="1371600"/>
                    </a:lnTo>
                    <a:lnTo>
                      <a:pt x="422030" y="685800"/>
                    </a:lnTo>
                    <a:lnTo>
                      <a:pt x="817948" y="0"/>
                    </a:lnTo>
                    <a:lnTo>
                      <a:pt x="1609871" y="0"/>
                    </a:lnTo>
                    <a:lnTo>
                      <a:pt x="2005789" y="685800"/>
                    </a:lnTo>
                    <a:close/>
                    <a:moveTo>
                      <a:pt x="1792575" y="316523"/>
                    </a:moveTo>
                    <a:lnTo>
                      <a:pt x="1609871" y="0"/>
                    </a:lnTo>
                    <a:lnTo>
                      <a:pt x="1244375" y="0"/>
                    </a:lnTo>
                    <a:lnTo>
                      <a:pt x="1061671" y="316523"/>
                    </a:lnTo>
                    <a:lnTo>
                      <a:pt x="1244375" y="633046"/>
                    </a:lnTo>
                    <a:lnTo>
                      <a:pt x="1609871" y="633046"/>
                    </a:lnTo>
                    <a:close/>
                    <a:moveTo>
                      <a:pt x="316523" y="685624"/>
                    </a:moveTo>
                    <a:lnTo>
                      <a:pt x="270978" y="764579"/>
                    </a:lnTo>
                    <a:lnTo>
                      <a:pt x="179802" y="764579"/>
                    </a:lnTo>
                    <a:lnTo>
                      <a:pt x="134170" y="685624"/>
                    </a:lnTo>
                    <a:lnTo>
                      <a:pt x="179802" y="606669"/>
                    </a:lnTo>
                    <a:lnTo>
                      <a:pt x="270978" y="606669"/>
                    </a:lnTo>
                    <a:close/>
                    <a:moveTo>
                      <a:pt x="131884" y="685800"/>
                    </a:moveTo>
                    <a:lnTo>
                      <a:pt x="0" y="685800"/>
                    </a:lnTo>
                    <a:moveTo>
                      <a:pt x="0" y="949569"/>
                    </a:moveTo>
                    <a:lnTo>
                      <a:pt x="0" y="422030"/>
                    </a:lnTo>
                  </a:path>
                </a:pathLst>
              </a:custGeom>
              <a:noFill/>
              <a:ln w="6594">
                <a:solidFill>
                  <a:schemeClr val="bg1">
                    <a:lumMod val="85000"/>
                  </a:schemeClr>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grpSp>
          <p:nvGrpSpPr>
            <p:cNvPr id="14" name="Group 13">
              <a:extLst>
                <a:ext uri="{FF2B5EF4-FFF2-40B4-BE49-F238E27FC236}">
                  <a16:creationId xmlns:a16="http://schemas.microsoft.com/office/drawing/2014/main" id="{2F69B25E-6B51-0FD5-8416-23ED3B74418E}"/>
                </a:ext>
              </a:extLst>
            </p:cNvPr>
            <p:cNvGrpSpPr/>
            <p:nvPr/>
          </p:nvGrpSpPr>
          <p:grpSpPr>
            <a:xfrm>
              <a:off x="6197682" y="2188406"/>
              <a:ext cx="2005789" cy="1371600"/>
              <a:chOff x="4324671" y="1371600"/>
              <a:chExt cx="2005789" cy="1371600"/>
            </a:xfrm>
          </p:grpSpPr>
          <p:sp>
            <p:nvSpPr>
              <p:cNvPr id="36" name="Rounded Rectangle 8">
                <a:extLst>
                  <a:ext uri="{FF2B5EF4-FFF2-40B4-BE49-F238E27FC236}">
                    <a16:creationId xmlns:a16="http://schemas.microsoft.com/office/drawing/2014/main" id="{BCA76A69-92E0-8B72-760D-08E992ABDC0D}"/>
                  </a:ext>
                </a:extLst>
              </p:cNvPr>
              <p:cNvSpPr/>
              <p:nvPr/>
            </p:nvSpPr>
            <p:spPr>
              <a:xfrm>
                <a:off x="4537895" y="1978269"/>
                <a:ext cx="1660699" cy="764930"/>
              </a:xfrm>
              <a:custGeom>
                <a:avLst/>
                <a:gdLst/>
                <a:ahLst/>
                <a:cxnLst/>
                <a:rect l="0" t="0" r="0" b="0"/>
                <a:pathLst>
                  <a:path w="1660699" h="764930">
                    <a:moveTo>
                      <a:pt x="182704" y="131884"/>
                    </a:moveTo>
                    <a:lnTo>
                      <a:pt x="548200" y="131884"/>
                    </a:lnTo>
                    <a:lnTo>
                      <a:pt x="730904" y="448407"/>
                    </a:lnTo>
                    <a:lnTo>
                      <a:pt x="548200" y="764930"/>
                    </a:lnTo>
                    <a:lnTo>
                      <a:pt x="182704" y="764930"/>
                    </a:lnTo>
                    <a:lnTo>
                      <a:pt x="0" y="448407"/>
                    </a:lnTo>
                    <a:close/>
                    <a:moveTo>
                      <a:pt x="1660699" y="78954"/>
                    </a:moveTo>
                    <a:lnTo>
                      <a:pt x="1615155" y="157909"/>
                    </a:lnTo>
                    <a:lnTo>
                      <a:pt x="1523979" y="157909"/>
                    </a:lnTo>
                    <a:lnTo>
                      <a:pt x="1478347" y="78954"/>
                    </a:lnTo>
                    <a:lnTo>
                      <a:pt x="1523979" y="0"/>
                    </a:lnTo>
                    <a:lnTo>
                      <a:pt x="1615155" y="0"/>
                    </a:lnTo>
                    <a:close/>
                  </a:path>
                </a:pathLst>
              </a:custGeom>
              <a:solidFill>
                <a:srgbClr val="F98700"/>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37" name="Rounded Rectangle 9">
                <a:extLst>
                  <a:ext uri="{FF2B5EF4-FFF2-40B4-BE49-F238E27FC236}">
                    <a16:creationId xmlns:a16="http://schemas.microsoft.com/office/drawing/2014/main" id="{7DB87195-CBDA-9774-5886-181A929741AF}"/>
                  </a:ext>
                </a:extLst>
              </p:cNvPr>
              <p:cNvSpPr/>
              <p:nvPr/>
            </p:nvSpPr>
            <p:spPr>
              <a:xfrm>
                <a:off x="4324672" y="1371600"/>
                <a:ext cx="2005789" cy="1371600"/>
              </a:xfrm>
              <a:custGeom>
                <a:avLst/>
                <a:gdLst/>
                <a:ahLst/>
                <a:cxnLst/>
                <a:rect l="0" t="0" r="0" b="0"/>
                <a:pathLst>
                  <a:path w="2005789" h="1371600">
                    <a:moveTo>
                      <a:pt x="395917" y="0"/>
                    </a:moveTo>
                    <a:lnTo>
                      <a:pt x="1187840" y="0"/>
                    </a:lnTo>
                    <a:lnTo>
                      <a:pt x="1583758" y="685800"/>
                    </a:lnTo>
                    <a:lnTo>
                      <a:pt x="1187840" y="1371600"/>
                    </a:lnTo>
                    <a:lnTo>
                      <a:pt x="395917" y="1371600"/>
                    </a:lnTo>
                    <a:lnTo>
                      <a:pt x="0" y="685800"/>
                    </a:lnTo>
                    <a:close/>
                    <a:moveTo>
                      <a:pt x="213213" y="1055076"/>
                    </a:moveTo>
                    <a:lnTo>
                      <a:pt x="395917" y="1371600"/>
                    </a:lnTo>
                    <a:lnTo>
                      <a:pt x="761413" y="1371600"/>
                    </a:lnTo>
                    <a:lnTo>
                      <a:pt x="944118" y="1055076"/>
                    </a:lnTo>
                    <a:lnTo>
                      <a:pt x="761413" y="738553"/>
                    </a:lnTo>
                    <a:lnTo>
                      <a:pt x="395917" y="738553"/>
                    </a:lnTo>
                    <a:close/>
                    <a:moveTo>
                      <a:pt x="1873904" y="685624"/>
                    </a:moveTo>
                    <a:lnTo>
                      <a:pt x="1828360" y="764579"/>
                    </a:lnTo>
                    <a:lnTo>
                      <a:pt x="1737184" y="764579"/>
                    </a:lnTo>
                    <a:lnTo>
                      <a:pt x="1691552" y="685624"/>
                    </a:lnTo>
                    <a:lnTo>
                      <a:pt x="1737184" y="606669"/>
                    </a:lnTo>
                    <a:lnTo>
                      <a:pt x="1828360" y="606669"/>
                    </a:lnTo>
                    <a:close/>
                    <a:moveTo>
                      <a:pt x="2005789" y="685800"/>
                    </a:moveTo>
                    <a:lnTo>
                      <a:pt x="1873904" y="685800"/>
                    </a:lnTo>
                    <a:moveTo>
                      <a:pt x="2005789" y="949569"/>
                    </a:moveTo>
                    <a:lnTo>
                      <a:pt x="2005789" y="422030"/>
                    </a:lnTo>
                  </a:path>
                </a:pathLst>
              </a:custGeom>
              <a:noFill/>
              <a:ln w="6594">
                <a:solidFill>
                  <a:schemeClr val="bg1">
                    <a:lumMod val="85000"/>
                  </a:schemeClr>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grpSp>
          <p:nvGrpSpPr>
            <p:cNvPr id="15" name="Group 14">
              <a:extLst>
                <a:ext uri="{FF2B5EF4-FFF2-40B4-BE49-F238E27FC236}">
                  <a16:creationId xmlns:a16="http://schemas.microsoft.com/office/drawing/2014/main" id="{DD58FE40-C1AA-ACFD-BCEF-C717CABE1205}"/>
                </a:ext>
              </a:extLst>
            </p:cNvPr>
            <p:cNvGrpSpPr/>
            <p:nvPr/>
          </p:nvGrpSpPr>
          <p:grpSpPr>
            <a:xfrm>
              <a:off x="3772149" y="2188406"/>
              <a:ext cx="2005789" cy="1371600"/>
              <a:chOff x="1899138" y="1371600"/>
              <a:chExt cx="2005789" cy="1371600"/>
            </a:xfrm>
          </p:grpSpPr>
          <p:sp>
            <p:nvSpPr>
              <p:cNvPr id="34" name="Rounded Rectangle 11">
                <a:extLst>
                  <a:ext uri="{FF2B5EF4-FFF2-40B4-BE49-F238E27FC236}">
                    <a16:creationId xmlns:a16="http://schemas.microsoft.com/office/drawing/2014/main" id="{D6F3D86D-D1DD-DA6F-62DC-E91851815F67}"/>
                  </a:ext>
                </a:extLst>
              </p:cNvPr>
              <p:cNvSpPr/>
              <p:nvPr/>
            </p:nvSpPr>
            <p:spPr>
              <a:xfrm>
                <a:off x="2033324" y="1978269"/>
                <a:ext cx="1658387" cy="764930"/>
              </a:xfrm>
              <a:custGeom>
                <a:avLst/>
                <a:gdLst/>
                <a:ahLst/>
                <a:cxnLst/>
                <a:rect l="0" t="0" r="0" b="0"/>
                <a:pathLst>
                  <a:path w="1658387" h="764930">
                    <a:moveTo>
                      <a:pt x="1658387" y="448407"/>
                    </a:moveTo>
                    <a:lnTo>
                      <a:pt x="1475683" y="764930"/>
                    </a:lnTo>
                    <a:lnTo>
                      <a:pt x="1110187" y="764930"/>
                    </a:lnTo>
                    <a:lnTo>
                      <a:pt x="927482" y="448407"/>
                    </a:lnTo>
                    <a:lnTo>
                      <a:pt x="1110187" y="131884"/>
                    </a:lnTo>
                    <a:lnTo>
                      <a:pt x="1475683" y="131884"/>
                    </a:lnTo>
                    <a:close/>
                    <a:moveTo>
                      <a:pt x="182352" y="78954"/>
                    </a:moveTo>
                    <a:lnTo>
                      <a:pt x="136808" y="157909"/>
                    </a:lnTo>
                    <a:lnTo>
                      <a:pt x="45632" y="157909"/>
                    </a:lnTo>
                    <a:lnTo>
                      <a:pt x="0" y="78954"/>
                    </a:lnTo>
                    <a:lnTo>
                      <a:pt x="45632" y="0"/>
                    </a:lnTo>
                    <a:lnTo>
                      <a:pt x="136808" y="0"/>
                    </a:lnTo>
                    <a:close/>
                  </a:path>
                </a:pathLst>
              </a:custGeom>
              <a:solidFill>
                <a:srgbClr val="986222"/>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35" name="Rounded Rectangle 12">
                <a:extLst>
                  <a:ext uri="{FF2B5EF4-FFF2-40B4-BE49-F238E27FC236}">
                    <a16:creationId xmlns:a16="http://schemas.microsoft.com/office/drawing/2014/main" id="{DBC1CC17-2D6F-DDEE-A98C-34D60D8AEA2C}"/>
                  </a:ext>
                </a:extLst>
              </p:cNvPr>
              <p:cNvSpPr/>
              <p:nvPr/>
            </p:nvSpPr>
            <p:spPr>
              <a:xfrm>
                <a:off x="1899138" y="1371600"/>
                <a:ext cx="2005789" cy="1371600"/>
              </a:xfrm>
              <a:custGeom>
                <a:avLst/>
                <a:gdLst/>
                <a:ahLst/>
                <a:cxnLst/>
                <a:rect l="0" t="0" r="0" b="0"/>
                <a:pathLst>
                  <a:path w="2005789" h="1371600">
                    <a:moveTo>
                      <a:pt x="1609871" y="738553"/>
                    </a:moveTo>
                    <a:lnTo>
                      <a:pt x="1244375" y="738553"/>
                    </a:lnTo>
                    <a:lnTo>
                      <a:pt x="1061671" y="1055076"/>
                    </a:lnTo>
                    <a:lnTo>
                      <a:pt x="1244375" y="1371600"/>
                    </a:lnTo>
                    <a:lnTo>
                      <a:pt x="1609871" y="1371600"/>
                    </a:lnTo>
                    <a:lnTo>
                      <a:pt x="1792575" y="1055076"/>
                    </a:lnTo>
                    <a:close/>
                    <a:moveTo>
                      <a:pt x="316538" y="685624"/>
                    </a:moveTo>
                    <a:lnTo>
                      <a:pt x="270993" y="764579"/>
                    </a:lnTo>
                    <a:lnTo>
                      <a:pt x="179817" y="764579"/>
                    </a:lnTo>
                    <a:lnTo>
                      <a:pt x="134185" y="685624"/>
                    </a:lnTo>
                    <a:lnTo>
                      <a:pt x="179817" y="606669"/>
                    </a:lnTo>
                    <a:lnTo>
                      <a:pt x="270993" y="606669"/>
                    </a:lnTo>
                    <a:close/>
                    <a:moveTo>
                      <a:pt x="2005789" y="685800"/>
                    </a:moveTo>
                    <a:lnTo>
                      <a:pt x="1609871" y="1371600"/>
                    </a:lnTo>
                    <a:lnTo>
                      <a:pt x="817948" y="1371600"/>
                    </a:lnTo>
                    <a:lnTo>
                      <a:pt x="422030" y="685800"/>
                    </a:lnTo>
                    <a:lnTo>
                      <a:pt x="817948" y="0"/>
                    </a:lnTo>
                    <a:lnTo>
                      <a:pt x="1609871" y="0"/>
                    </a:lnTo>
                    <a:close/>
                    <a:moveTo>
                      <a:pt x="131884" y="685800"/>
                    </a:moveTo>
                    <a:lnTo>
                      <a:pt x="0" y="685800"/>
                    </a:lnTo>
                    <a:moveTo>
                      <a:pt x="0" y="949569"/>
                    </a:moveTo>
                    <a:lnTo>
                      <a:pt x="0" y="422030"/>
                    </a:lnTo>
                  </a:path>
                </a:pathLst>
              </a:custGeom>
              <a:noFill/>
              <a:ln w="6594">
                <a:solidFill>
                  <a:schemeClr val="bg1">
                    <a:lumMod val="85000"/>
                  </a:schemeClr>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sp>
          <p:nvSpPr>
            <p:cNvPr id="16" name="TextBox 14">
              <a:extLst>
                <a:ext uri="{FF2B5EF4-FFF2-40B4-BE49-F238E27FC236}">
                  <a16:creationId xmlns:a16="http://schemas.microsoft.com/office/drawing/2014/main" id="{73C9AF7B-0A73-55F8-3754-BB09E7F8238F}"/>
                </a:ext>
              </a:extLst>
            </p:cNvPr>
            <p:cNvSpPr txBox="1"/>
            <p:nvPr/>
          </p:nvSpPr>
          <p:spPr>
            <a:xfrm>
              <a:off x="6590755" y="2407426"/>
              <a:ext cx="827172" cy="27642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100" b="1" noProof="0">
                  <a:solidFill>
                    <a:srgbClr val="464646"/>
                  </a:solidFill>
                  <a:latin typeface="Avenir LT Pro 45Book"/>
                </a:rPr>
                <a:t>Reduced</a:t>
              </a:r>
            </a:p>
          </p:txBody>
        </p:sp>
        <p:sp>
          <p:nvSpPr>
            <p:cNvPr id="17" name="TextBox 15">
              <a:extLst>
                <a:ext uri="{FF2B5EF4-FFF2-40B4-BE49-F238E27FC236}">
                  <a16:creationId xmlns:a16="http://schemas.microsoft.com/office/drawing/2014/main" id="{40681548-9157-910F-7814-C16825444ADD}"/>
                </a:ext>
              </a:extLst>
            </p:cNvPr>
            <p:cNvSpPr txBox="1"/>
            <p:nvPr/>
          </p:nvSpPr>
          <p:spPr>
            <a:xfrm>
              <a:off x="2464627" y="2407426"/>
              <a:ext cx="1280023" cy="1055430"/>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700" b="0" noProof="0">
                  <a:solidFill>
                    <a:srgbClr val="464646"/>
                  </a:solidFill>
                  <a:latin typeface="Avenir LT Pro 45Book"/>
                </a:rPr>
                <a:t>Animal shows and
star performers were
eliminated to reduce
costs. Ethical
concerns were also
addressed.</a:t>
              </a:r>
            </a:p>
          </p:txBody>
        </p:sp>
        <p:sp>
          <p:nvSpPr>
            <p:cNvPr id="18" name="TextBox 16">
              <a:extLst>
                <a:ext uri="{FF2B5EF4-FFF2-40B4-BE49-F238E27FC236}">
                  <a16:creationId xmlns:a16="http://schemas.microsoft.com/office/drawing/2014/main" id="{AECB8F41-E145-6593-A20E-0BA5290DA31A}"/>
                </a:ext>
              </a:extLst>
            </p:cNvPr>
            <p:cNvSpPr txBox="1"/>
            <p:nvPr/>
          </p:nvSpPr>
          <p:spPr>
            <a:xfrm>
              <a:off x="8257441" y="2492293"/>
              <a:ext cx="1206729" cy="1231335"/>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700" b="0" noProof="0">
                  <a:solidFill>
                    <a:srgbClr val="464646"/>
                  </a:solidFill>
                  <a:latin typeface="Avenir LT Pro 45Book"/>
                </a:rPr>
                <a:t>Humour and danger
elements were
reduced to shift
towards
sophistication. Thrill
elements were also
toned down.</a:t>
              </a:r>
            </a:p>
          </p:txBody>
        </p:sp>
        <p:sp>
          <p:nvSpPr>
            <p:cNvPr id="21" name="TextBox 19">
              <a:extLst>
                <a:ext uri="{FF2B5EF4-FFF2-40B4-BE49-F238E27FC236}">
                  <a16:creationId xmlns:a16="http://schemas.microsoft.com/office/drawing/2014/main" id="{968ECA09-C556-7649-ECE7-F1CBEE5EA1ED}"/>
                </a:ext>
              </a:extLst>
            </p:cNvPr>
            <p:cNvSpPr txBox="1"/>
            <p:nvPr/>
          </p:nvSpPr>
          <p:spPr>
            <a:xfrm>
              <a:off x="4669228" y="4891292"/>
              <a:ext cx="630850" cy="27642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100" b="1" noProof="0">
                  <a:solidFill>
                    <a:srgbClr val="464646"/>
                  </a:solidFill>
                  <a:latin typeface="Avenir LT Pro 45Book"/>
                </a:rPr>
                <a:t>Raised</a:t>
              </a:r>
            </a:p>
          </p:txBody>
        </p:sp>
        <p:sp>
          <p:nvSpPr>
            <p:cNvPr id="22" name="TextBox 20">
              <a:extLst>
                <a:ext uri="{FF2B5EF4-FFF2-40B4-BE49-F238E27FC236}">
                  <a16:creationId xmlns:a16="http://schemas.microsoft.com/office/drawing/2014/main" id="{8D95AC0F-1C8D-BF76-D721-083EA52F22F5}"/>
                </a:ext>
              </a:extLst>
            </p:cNvPr>
            <p:cNvSpPr txBox="1"/>
            <p:nvPr/>
          </p:nvSpPr>
          <p:spPr>
            <a:xfrm>
              <a:off x="4458626" y="2407426"/>
              <a:ext cx="1028731" cy="27642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100" b="1" noProof="0">
                  <a:solidFill>
                    <a:srgbClr val="464646"/>
                  </a:solidFill>
                  <a:latin typeface="Avenir LT Pro 45Book"/>
                </a:rPr>
                <a:t>Eliminated</a:t>
              </a:r>
            </a:p>
          </p:txBody>
        </p:sp>
        <p:sp>
          <p:nvSpPr>
            <p:cNvPr id="23" name="TextBox 21">
              <a:extLst>
                <a:ext uri="{FF2B5EF4-FFF2-40B4-BE49-F238E27FC236}">
                  <a16:creationId xmlns:a16="http://schemas.microsoft.com/office/drawing/2014/main" id="{7BC8932C-0948-6448-5ED7-35F6FC443755}"/>
                </a:ext>
              </a:extLst>
            </p:cNvPr>
            <p:cNvSpPr txBox="1"/>
            <p:nvPr/>
          </p:nvSpPr>
          <p:spPr>
            <a:xfrm>
              <a:off x="4442978" y="1605015"/>
              <a:ext cx="3142416" cy="351810"/>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400" b="1" noProof="0">
                  <a:solidFill>
                    <a:srgbClr val="464646"/>
                  </a:solidFill>
                  <a:latin typeface="Avenir LT Pro 45Book"/>
                </a:rPr>
                <a:t>Entertainment Innovation</a:t>
              </a:r>
            </a:p>
          </p:txBody>
        </p:sp>
        <p:sp>
          <p:nvSpPr>
            <p:cNvPr id="24" name="TextBox 22">
              <a:extLst>
                <a:ext uri="{FF2B5EF4-FFF2-40B4-BE49-F238E27FC236}">
                  <a16:creationId xmlns:a16="http://schemas.microsoft.com/office/drawing/2014/main" id="{EADBFCA7-2421-43A1-8C48-66C0FC758E2E}"/>
                </a:ext>
              </a:extLst>
            </p:cNvPr>
            <p:cNvSpPr txBox="1"/>
            <p:nvPr/>
          </p:nvSpPr>
          <p:spPr>
            <a:xfrm>
              <a:off x="6575630" y="4860668"/>
              <a:ext cx="751261" cy="276422"/>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100" b="1" noProof="0">
                  <a:solidFill>
                    <a:srgbClr val="464646"/>
                  </a:solidFill>
                  <a:latin typeface="Avenir LT Pro 45Book"/>
                </a:rPr>
                <a:t>Created</a:t>
              </a:r>
            </a:p>
          </p:txBody>
        </p:sp>
        <p:sp>
          <p:nvSpPr>
            <p:cNvPr id="28" name="TextBox 25">
              <a:extLst>
                <a:ext uri="{FF2B5EF4-FFF2-40B4-BE49-F238E27FC236}">
                  <a16:creationId xmlns:a16="http://schemas.microsoft.com/office/drawing/2014/main" id="{E2F21087-B080-EE54-82A5-3DDF4F310E72}"/>
                </a:ext>
              </a:extLst>
            </p:cNvPr>
            <p:cNvSpPr txBox="1"/>
            <p:nvPr/>
          </p:nvSpPr>
          <p:spPr>
            <a:xfrm>
              <a:off x="8272242" y="4171061"/>
              <a:ext cx="1170083" cy="1055430"/>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700" b="0" noProof="0">
                  <a:solidFill>
                    <a:srgbClr val="464646"/>
                  </a:solidFill>
                  <a:latin typeface="Avenir LT Pro 45Book"/>
                </a:rPr>
                <a:t>Theme, storyline,
and original scores
were created for
uniqueness. Artistic
dance and lighting
were also added.</a:t>
              </a:r>
            </a:p>
          </p:txBody>
        </p:sp>
        <p:sp>
          <p:nvSpPr>
            <p:cNvPr id="29" name="TextBox 26">
              <a:extLst>
                <a:ext uri="{FF2B5EF4-FFF2-40B4-BE49-F238E27FC236}">
                  <a16:creationId xmlns:a16="http://schemas.microsoft.com/office/drawing/2014/main" id="{81EAEA29-EAD4-FFA9-81E9-169ABEA2DC74}"/>
                </a:ext>
              </a:extLst>
            </p:cNvPr>
            <p:cNvSpPr txBox="1"/>
            <p:nvPr/>
          </p:nvSpPr>
          <p:spPr>
            <a:xfrm>
              <a:off x="2464183" y="4121047"/>
              <a:ext cx="1259082" cy="1055430"/>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700" b="0" noProof="0">
                  <a:solidFill>
                    <a:srgbClr val="464646"/>
                  </a:solidFill>
                  <a:latin typeface="Avenir LT Pro 45Book"/>
                </a:rPr>
                <a:t>Venue experience
and artistic quality
were raised for
sophistication.
Intellectual elements
were also enhanced.</a:t>
              </a:r>
            </a:p>
          </p:txBody>
        </p:sp>
        <p:sp>
          <p:nvSpPr>
            <p:cNvPr id="30" name="Rounded Rectangle 27">
              <a:extLst>
                <a:ext uri="{FF2B5EF4-FFF2-40B4-BE49-F238E27FC236}">
                  <a16:creationId xmlns:a16="http://schemas.microsoft.com/office/drawing/2014/main" id="{6EEA96E5-C776-2EDC-84B6-2408AC958EE8}"/>
                </a:ext>
              </a:extLst>
            </p:cNvPr>
            <p:cNvSpPr/>
            <p:nvPr/>
          </p:nvSpPr>
          <p:spPr>
            <a:xfrm>
              <a:off x="5003150" y="3006537"/>
              <a:ext cx="404446" cy="404447"/>
            </a:xfrm>
            <a:custGeom>
              <a:avLst/>
              <a:gdLst/>
              <a:ahLst/>
              <a:cxnLst/>
              <a:rect l="0" t="0" r="0" b="0"/>
              <a:pathLst>
                <a:path w="404446" h="404447">
                  <a:moveTo>
                    <a:pt x="131884" y="404447"/>
                  </a:moveTo>
                  <a:lnTo>
                    <a:pt x="131884" y="147712"/>
                  </a:lnTo>
                  <a:lnTo>
                    <a:pt x="290146" y="147712"/>
                  </a:lnTo>
                  <a:lnTo>
                    <a:pt x="290146" y="404447"/>
                  </a:lnTo>
                  <a:moveTo>
                    <a:pt x="342900" y="228598"/>
                  </a:moveTo>
                  <a:lnTo>
                    <a:pt x="404446" y="228598"/>
                  </a:lnTo>
                  <a:lnTo>
                    <a:pt x="404446" y="404444"/>
                  </a:lnTo>
                  <a:moveTo>
                    <a:pt x="17584" y="404444"/>
                  </a:moveTo>
                  <a:lnTo>
                    <a:pt x="17584" y="228598"/>
                  </a:lnTo>
                  <a:lnTo>
                    <a:pt x="79130" y="228598"/>
                  </a:lnTo>
                  <a:moveTo>
                    <a:pt x="0" y="0"/>
                  </a:moveTo>
                  <a:moveTo>
                    <a:pt x="246184" y="87922"/>
                  </a:moveTo>
                  <a:lnTo>
                    <a:pt x="175846" y="17583"/>
                  </a:lnTo>
                  <a:moveTo>
                    <a:pt x="246184" y="17583"/>
                  </a:moveTo>
                  <a:lnTo>
                    <a:pt x="175846" y="87922"/>
                  </a:lnTo>
                </a:path>
              </a:pathLst>
            </a:custGeom>
            <a:noFill/>
            <a:ln w="6594">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31" name="Rounded Rectangle 28">
              <a:extLst>
                <a:ext uri="{FF2B5EF4-FFF2-40B4-BE49-F238E27FC236}">
                  <a16:creationId xmlns:a16="http://schemas.microsoft.com/office/drawing/2014/main" id="{BB0936C2-8B00-1EC5-7516-0B3F0786418C}"/>
                </a:ext>
              </a:extLst>
            </p:cNvPr>
            <p:cNvSpPr/>
            <p:nvPr/>
          </p:nvSpPr>
          <p:spPr>
            <a:xfrm>
              <a:off x="6614402" y="3146829"/>
              <a:ext cx="378068" cy="219807"/>
            </a:xfrm>
            <a:custGeom>
              <a:avLst/>
              <a:gdLst/>
              <a:ahLst/>
              <a:cxnLst/>
              <a:rect l="0" t="0" r="0" b="0"/>
              <a:pathLst>
                <a:path w="378069" h="219807">
                  <a:moveTo>
                    <a:pt x="378069" y="219754"/>
                  </a:moveTo>
                  <a:lnTo>
                    <a:pt x="257825" y="83474"/>
                  </a:lnTo>
                  <a:cubicBezTo>
                    <a:pt x="251308" y="76211"/>
                    <a:pt x="240231" y="75359"/>
                    <a:pt x="232679" y="81539"/>
                  </a:cubicBezTo>
                  <a:lnTo>
                    <a:pt x="154181" y="146954"/>
                  </a:lnTo>
                  <a:cubicBezTo>
                    <a:pt x="146626" y="153134"/>
                    <a:pt x="135553" y="152307"/>
                    <a:pt x="129000" y="145073"/>
                  </a:cubicBezTo>
                  <a:lnTo>
                    <a:pt x="0" y="0"/>
                  </a:lnTo>
                  <a:moveTo>
                    <a:pt x="378069" y="114669"/>
                  </a:moveTo>
                  <a:lnTo>
                    <a:pt x="378069" y="219807"/>
                  </a:lnTo>
                  <a:lnTo>
                    <a:pt x="256067" y="219807"/>
                  </a:lnTo>
                </a:path>
              </a:pathLst>
            </a:custGeom>
            <a:noFill/>
            <a:ln w="6594">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32" name="Rounded Rectangle 29">
              <a:extLst>
                <a:ext uri="{FF2B5EF4-FFF2-40B4-BE49-F238E27FC236}">
                  <a16:creationId xmlns:a16="http://schemas.microsoft.com/office/drawing/2014/main" id="{C49C2299-D150-A880-4C5D-8B70C7FD5295}"/>
                </a:ext>
              </a:extLst>
            </p:cNvPr>
            <p:cNvSpPr/>
            <p:nvPr/>
          </p:nvSpPr>
          <p:spPr>
            <a:xfrm>
              <a:off x="6606726" y="4076297"/>
              <a:ext cx="387286" cy="404445"/>
            </a:xfrm>
            <a:custGeom>
              <a:avLst/>
              <a:gdLst/>
              <a:ahLst/>
              <a:cxnLst/>
              <a:rect l="0" t="0" r="0" b="0"/>
              <a:pathLst>
                <a:path w="387286" h="404446">
                  <a:moveTo>
                    <a:pt x="212" y="404446"/>
                  </a:moveTo>
                  <a:lnTo>
                    <a:pt x="212" y="386861"/>
                  </a:lnTo>
                  <a:cubicBezTo>
                    <a:pt x="0" y="372974"/>
                    <a:pt x="6560" y="359854"/>
                    <a:pt x="17797" y="351692"/>
                  </a:cubicBezTo>
                  <a:cubicBezTo>
                    <a:pt x="41272" y="333773"/>
                    <a:pt x="92883" y="298938"/>
                    <a:pt x="193643" y="298938"/>
                  </a:cubicBezTo>
                  <a:cubicBezTo>
                    <a:pt x="294403" y="298938"/>
                    <a:pt x="346014" y="333773"/>
                    <a:pt x="369489" y="351692"/>
                  </a:cubicBezTo>
                  <a:cubicBezTo>
                    <a:pt x="380726" y="359854"/>
                    <a:pt x="387286" y="372974"/>
                    <a:pt x="387074" y="386861"/>
                  </a:cubicBezTo>
                  <a:lnTo>
                    <a:pt x="387074" y="404446"/>
                  </a:lnTo>
                  <a:moveTo>
                    <a:pt x="287228" y="310860"/>
                  </a:moveTo>
                  <a:lnTo>
                    <a:pt x="193643" y="404446"/>
                  </a:lnTo>
                  <a:moveTo>
                    <a:pt x="193643" y="404446"/>
                  </a:moveTo>
                  <a:lnTo>
                    <a:pt x="100058" y="310860"/>
                  </a:lnTo>
                  <a:moveTo>
                    <a:pt x="220020" y="378069"/>
                  </a:moveTo>
                  <a:lnTo>
                    <a:pt x="193643" y="298938"/>
                  </a:lnTo>
                  <a:lnTo>
                    <a:pt x="167266" y="378069"/>
                  </a:lnTo>
                  <a:moveTo>
                    <a:pt x="82262" y="316540"/>
                  </a:moveTo>
                  <a:lnTo>
                    <a:pt x="61758" y="378069"/>
                  </a:lnTo>
                  <a:lnTo>
                    <a:pt x="114512" y="404446"/>
                  </a:lnTo>
                  <a:moveTo>
                    <a:pt x="272774" y="404446"/>
                  </a:moveTo>
                  <a:lnTo>
                    <a:pt x="325527" y="378069"/>
                  </a:lnTo>
                  <a:lnTo>
                    <a:pt x="305024" y="316540"/>
                  </a:lnTo>
                  <a:moveTo>
                    <a:pt x="228812" y="263769"/>
                  </a:moveTo>
                  <a:lnTo>
                    <a:pt x="158474" y="263769"/>
                  </a:lnTo>
                  <a:moveTo>
                    <a:pt x="193643" y="0"/>
                  </a:moveTo>
                  <a:lnTo>
                    <a:pt x="193643" y="17584"/>
                  </a:lnTo>
                  <a:moveTo>
                    <a:pt x="334320" y="123092"/>
                  </a:moveTo>
                  <a:lnTo>
                    <a:pt x="316735" y="123092"/>
                  </a:lnTo>
                  <a:moveTo>
                    <a:pt x="316735" y="35169"/>
                  </a:moveTo>
                  <a:lnTo>
                    <a:pt x="299151" y="52753"/>
                  </a:lnTo>
                  <a:moveTo>
                    <a:pt x="52966" y="123092"/>
                  </a:moveTo>
                  <a:lnTo>
                    <a:pt x="70551" y="123092"/>
                  </a:lnTo>
                  <a:moveTo>
                    <a:pt x="70551" y="35169"/>
                  </a:moveTo>
                  <a:lnTo>
                    <a:pt x="88135" y="52753"/>
                  </a:lnTo>
                  <a:moveTo>
                    <a:pt x="316735" y="211015"/>
                  </a:moveTo>
                  <a:lnTo>
                    <a:pt x="299151" y="193430"/>
                  </a:lnTo>
                  <a:moveTo>
                    <a:pt x="88135" y="193430"/>
                  </a:moveTo>
                  <a:lnTo>
                    <a:pt x="70551" y="211015"/>
                  </a:lnTo>
                  <a:moveTo>
                    <a:pt x="228812" y="202434"/>
                  </a:moveTo>
                  <a:lnTo>
                    <a:pt x="228812" y="219807"/>
                  </a:lnTo>
                  <a:cubicBezTo>
                    <a:pt x="228812" y="224663"/>
                    <a:pt x="224876" y="228600"/>
                    <a:pt x="220020" y="228600"/>
                  </a:cubicBezTo>
                  <a:lnTo>
                    <a:pt x="167266" y="228600"/>
                  </a:lnTo>
                  <a:cubicBezTo>
                    <a:pt x="162410" y="228600"/>
                    <a:pt x="158474" y="224663"/>
                    <a:pt x="158474" y="219807"/>
                  </a:cubicBezTo>
                  <a:lnTo>
                    <a:pt x="158474" y="202434"/>
                  </a:lnTo>
                  <a:cubicBezTo>
                    <a:pt x="123472" y="185067"/>
                    <a:pt x="106385" y="144754"/>
                    <a:pt x="118248" y="107525"/>
                  </a:cubicBezTo>
                  <a:cubicBezTo>
                    <a:pt x="130110" y="70296"/>
                    <a:pt x="167369" y="47298"/>
                    <a:pt x="205966" y="53383"/>
                  </a:cubicBezTo>
                  <a:cubicBezTo>
                    <a:pt x="244562" y="59467"/>
                    <a:pt x="272940" y="92811"/>
                    <a:pt x="272774" y="131884"/>
                  </a:cubicBezTo>
                  <a:cubicBezTo>
                    <a:pt x="272700" y="161839"/>
                    <a:pt x="255670" y="189169"/>
                    <a:pt x="228812" y="202434"/>
                  </a:cubicBezTo>
                  <a:close/>
                </a:path>
              </a:pathLst>
            </a:custGeom>
            <a:noFill/>
            <a:ln w="6594">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33" name="Rounded Rectangle 30">
              <a:extLst>
                <a:ext uri="{FF2B5EF4-FFF2-40B4-BE49-F238E27FC236}">
                  <a16:creationId xmlns:a16="http://schemas.microsoft.com/office/drawing/2014/main" id="{EBB89BCD-2616-EF44-970C-B62472927D42}"/>
                </a:ext>
              </a:extLst>
            </p:cNvPr>
            <p:cNvSpPr/>
            <p:nvPr/>
          </p:nvSpPr>
          <p:spPr>
            <a:xfrm>
              <a:off x="5003152" y="4108167"/>
              <a:ext cx="408841" cy="408841"/>
            </a:xfrm>
            <a:custGeom>
              <a:avLst/>
              <a:gdLst/>
              <a:ahLst/>
              <a:cxnLst/>
              <a:rect l="0" t="0" r="0" b="0"/>
              <a:pathLst>
                <a:path w="408842" h="408842">
                  <a:moveTo>
                    <a:pt x="408842" y="123971"/>
                  </a:moveTo>
                  <a:lnTo>
                    <a:pt x="231237" y="273440"/>
                  </a:lnTo>
                  <a:lnTo>
                    <a:pt x="182000" y="215411"/>
                  </a:lnTo>
                  <a:lnTo>
                    <a:pt x="13188" y="349054"/>
                  </a:lnTo>
                  <a:moveTo>
                    <a:pt x="0" y="0"/>
                  </a:moveTo>
                  <a:moveTo>
                    <a:pt x="57150" y="401808"/>
                  </a:moveTo>
                  <a:lnTo>
                    <a:pt x="57150" y="314187"/>
                  </a:lnTo>
                  <a:moveTo>
                    <a:pt x="57150" y="259373"/>
                  </a:moveTo>
                  <a:lnTo>
                    <a:pt x="57150" y="102869"/>
                  </a:lnTo>
                  <a:moveTo>
                    <a:pt x="145073" y="13188"/>
                  </a:moveTo>
                  <a:lnTo>
                    <a:pt x="145073" y="173208"/>
                  </a:lnTo>
                  <a:moveTo>
                    <a:pt x="232996" y="180242"/>
                  </a:moveTo>
                  <a:lnTo>
                    <a:pt x="232996" y="67700"/>
                  </a:lnTo>
                  <a:moveTo>
                    <a:pt x="320919" y="67700"/>
                  </a:moveTo>
                  <a:lnTo>
                    <a:pt x="320919" y="13188"/>
                  </a:lnTo>
                  <a:moveTo>
                    <a:pt x="0" y="0"/>
                  </a:moveTo>
                  <a:moveTo>
                    <a:pt x="145073" y="334986"/>
                  </a:moveTo>
                  <a:lnTo>
                    <a:pt x="145073" y="245085"/>
                  </a:lnTo>
                  <a:moveTo>
                    <a:pt x="0" y="0"/>
                  </a:moveTo>
                  <a:moveTo>
                    <a:pt x="232996" y="356088"/>
                  </a:moveTo>
                  <a:lnTo>
                    <a:pt x="232996" y="272287"/>
                  </a:lnTo>
                  <a:moveTo>
                    <a:pt x="0" y="0"/>
                  </a:moveTo>
                  <a:moveTo>
                    <a:pt x="320919" y="408842"/>
                  </a:moveTo>
                  <a:lnTo>
                    <a:pt x="320919" y="197826"/>
                  </a:lnTo>
                  <a:moveTo>
                    <a:pt x="329711" y="123971"/>
                  </a:moveTo>
                  <a:lnTo>
                    <a:pt x="408842" y="123971"/>
                  </a:lnTo>
                  <a:lnTo>
                    <a:pt x="408842" y="197826"/>
                  </a:lnTo>
                </a:path>
              </a:pathLst>
            </a:custGeom>
            <a:noFill/>
            <a:ln w="6594">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pic>
        <p:nvPicPr>
          <p:cNvPr id="5132" name="Picture 6" descr="Buy Cabernet Sauvignon - Yellow Tail for net price £ 6,974.09 online -  vinello.co.uk">
            <a:extLst>
              <a:ext uri="{FF2B5EF4-FFF2-40B4-BE49-F238E27FC236}">
                <a16:creationId xmlns:a16="http://schemas.microsoft.com/office/drawing/2014/main" id="{3D625331-E829-E492-0F03-62E18EF84C9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62841" y="1228851"/>
            <a:ext cx="573105" cy="579901"/>
          </a:xfrm>
          <a:prstGeom prst="rect">
            <a:avLst/>
          </a:prstGeom>
          <a:noFill/>
          <a:extLst>
            <a:ext uri="{909E8E84-426E-40DD-AFC4-6F175D3DCCD1}">
              <a14:hiddenFill xmlns:a14="http://schemas.microsoft.com/office/drawing/2010/main">
                <a:solidFill>
                  <a:srgbClr val="FFFFFF"/>
                </a:solidFill>
              </a14:hiddenFill>
            </a:ext>
          </a:extLst>
        </p:spPr>
      </p:pic>
      <p:pic>
        <p:nvPicPr>
          <p:cNvPr id="5133" name="Picture 8" descr="Cirque du Soleil - Wikipedia">
            <a:extLst>
              <a:ext uri="{FF2B5EF4-FFF2-40B4-BE49-F238E27FC236}">
                <a16:creationId xmlns:a16="http://schemas.microsoft.com/office/drawing/2014/main" id="{CD90BD3C-D7FE-2C0D-F329-B1AF1EF4DB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41935" y="4070333"/>
            <a:ext cx="778152" cy="507490"/>
          </a:xfrm>
          <a:prstGeom prst="rect">
            <a:avLst/>
          </a:prstGeom>
          <a:noFill/>
          <a:extLst>
            <a:ext uri="{909E8E84-426E-40DD-AFC4-6F175D3DCCD1}">
              <a14:hiddenFill xmlns:a14="http://schemas.microsoft.com/office/drawing/2010/main">
                <a:solidFill>
                  <a:srgbClr val="FFFFFF"/>
                </a:solidFill>
              </a14:hiddenFill>
            </a:ext>
          </a:extLst>
        </p:spPr>
      </p:pic>
      <p:grpSp>
        <p:nvGrpSpPr>
          <p:cNvPr id="5137" name="Group 5136">
            <a:extLst>
              <a:ext uri="{FF2B5EF4-FFF2-40B4-BE49-F238E27FC236}">
                <a16:creationId xmlns:a16="http://schemas.microsoft.com/office/drawing/2014/main" id="{8AE1FB12-6520-2EFF-C66F-32932B65A58B}"/>
              </a:ext>
            </a:extLst>
          </p:cNvPr>
          <p:cNvGrpSpPr/>
          <p:nvPr/>
        </p:nvGrpSpPr>
        <p:grpSpPr>
          <a:xfrm>
            <a:off x="4674897" y="1269748"/>
            <a:ext cx="4426251" cy="2518395"/>
            <a:chOff x="4702739" y="1195630"/>
            <a:chExt cx="4426251" cy="2518395"/>
          </a:xfrm>
        </p:grpSpPr>
        <p:grpSp>
          <p:nvGrpSpPr>
            <p:cNvPr id="5131" name="Group 5130">
              <a:extLst>
                <a:ext uri="{FF2B5EF4-FFF2-40B4-BE49-F238E27FC236}">
                  <a16:creationId xmlns:a16="http://schemas.microsoft.com/office/drawing/2014/main" id="{AF8F44A9-33D3-8683-FF61-EEEF1D05DC98}"/>
                </a:ext>
              </a:extLst>
            </p:cNvPr>
            <p:cNvGrpSpPr/>
            <p:nvPr/>
          </p:nvGrpSpPr>
          <p:grpSpPr>
            <a:xfrm>
              <a:off x="4702739" y="1195630"/>
              <a:ext cx="4426251" cy="2518395"/>
              <a:chOff x="2451777" y="1549680"/>
              <a:chExt cx="7065086" cy="4019807"/>
            </a:xfrm>
          </p:grpSpPr>
          <p:sp>
            <p:nvSpPr>
              <p:cNvPr id="43" name="Rounded Rectangle 1">
                <a:extLst>
                  <a:ext uri="{FF2B5EF4-FFF2-40B4-BE49-F238E27FC236}">
                    <a16:creationId xmlns:a16="http://schemas.microsoft.com/office/drawing/2014/main" id="{6473DDCD-A914-C1D5-5AD9-54ACF9ABFE57}"/>
                  </a:ext>
                </a:extLst>
              </p:cNvPr>
              <p:cNvSpPr/>
              <p:nvPr/>
            </p:nvSpPr>
            <p:spPr>
              <a:xfrm>
                <a:off x="2568086" y="1982227"/>
                <a:ext cx="6752493" cy="3587260"/>
              </a:xfrm>
              <a:custGeom>
                <a:avLst/>
                <a:gdLst/>
                <a:ahLst/>
                <a:cxnLst/>
                <a:rect l="0" t="0" r="0" b="0"/>
                <a:pathLst>
                  <a:path w="6752492" h="3587261">
                    <a:moveTo>
                      <a:pt x="6752492" y="1793630"/>
                    </a:moveTo>
                    <a:lnTo>
                      <a:pt x="3377251" y="1793630"/>
                    </a:lnTo>
                    <a:moveTo>
                      <a:pt x="3377251" y="1793630"/>
                    </a:moveTo>
                    <a:lnTo>
                      <a:pt x="0" y="1793630"/>
                    </a:lnTo>
                    <a:moveTo>
                      <a:pt x="3377251" y="1793630"/>
                    </a:moveTo>
                    <a:lnTo>
                      <a:pt x="3377251" y="0"/>
                    </a:lnTo>
                    <a:moveTo>
                      <a:pt x="3377251" y="1793630"/>
                    </a:moveTo>
                    <a:lnTo>
                      <a:pt x="3377251" y="3587261"/>
                    </a:lnTo>
                  </a:path>
                </a:pathLst>
              </a:custGeom>
              <a:noFill/>
              <a:ln w="6594">
                <a:solidFill>
                  <a:srgbClr val="464646"/>
                </a:solidFill>
                <a:prstDash val="dash"/>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nvGrpSpPr>
              <p:cNvPr id="44" name="Group 43">
                <a:extLst>
                  <a:ext uri="{FF2B5EF4-FFF2-40B4-BE49-F238E27FC236}">
                    <a16:creationId xmlns:a16="http://schemas.microsoft.com/office/drawing/2014/main" id="{65E4EE64-F6FA-4750-6A3C-9DFF458F8F60}"/>
                  </a:ext>
                </a:extLst>
              </p:cNvPr>
              <p:cNvGrpSpPr/>
              <p:nvPr/>
            </p:nvGrpSpPr>
            <p:grpSpPr>
              <a:xfrm>
                <a:off x="6127828" y="3986872"/>
                <a:ext cx="2005789" cy="1371600"/>
                <a:chOff x="4324672" y="3165230"/>
                <a:chExt cx="2005789" cy="1371600"/>
              </a:xfrm>
            </p:grpSpPr>
            <p:sp>
              <p:nvSpPr>
                <p:cNvPr id="5129" name="Rounded Rectangle 2">
                  <a:extLst>
                    <a:ext uri="{FF2B5EF4-FFF2-40B4-BE49-F238E27FC236}">
                      <a16:creationId xmlns:a16="http://schemas.microsoft.com/office/drawing/2014/main" id="{1C4F4B3F-4828-936A-CB6C-66AF90615DAE}"/>
                    </a:ext>
                  </a:extLst>
                </p:cNvPr>
                <p:cNvSpPr/>
                <p:nvPr/>
              </p:nvSpPr>
              <p:spPr>
                <a:xfrm>
                  <a:off x="4537895" y="3165230"/>
                  <a:ext cx="1660699" cy="764579"/>
                </a:xfrm>
                <a:custGeom>
                  <a:avLst/>
                  <a:gdLst/>
                  <a:ahLst/>
                  <a:cxnLst/>
                  <a:rect l="0" t="0" r="0" b="0"/>
                  <a:pathLst>
                    <a:path w="1660699" h="764579">
                      <a:moveTo>
                        <a:pt x="0" y="316523"/>
                      </a:moveTo>
                      <a:lnTo>
                        <a:pt x="182704" y="0"/>
                      </a:lnTo>
                      <a:lnTo>
                        <a:pt x="548200" y="0"/>
                      </a:lnTo>
                      <a:lnTo>
                        <a:pt x="730904" y="316523"/>
                      </a:lnTo>
                      <a:lnTo>
                        <a:pt x="548200" y="633046"/>
                      </a:lnTo>
                      <a:lnTo>
                        <a:pt x="182704" y="633046"/>
                      </a:lnTo>
                      <a:close/>
                      <a:moveTo>
                        <a:pt x="1660699" y="685624"/>
                      </a:moveTo>
                      <a:lnTo>
                        <a:pt x="1615155" y="764579"/>
                      </a:lnTo>
                      <a:lnTo>
                        <a:pt x="1523979" y="764579"/>
                      </a:lnTo>
                      <a:lnTo>
                        <a:pt x="1478347" y="685624"/>
                      </a:lnTo>
                      <a:lnTo>
                        <a:pt x="1523979" y="606669"/>
                      </a:lnTo>
                      <a:lnTo>
                        <a:pt x="1615155" y="606669"/>
                      </a:ln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5130" name="Rounded Rectangle 3">
                  <a:extLst>
                    <a:ext uri="{FF2B5EF4-FFF2-40B4-BE49-F238E27FC236}">
                      <a16:creationId xmlns:a16="http://schemas.microsoft.com/office/drawing/2014/main" id="{E16306FE-2FAC-6EF1-4F96-934EC611024E}"/>
                    </a:ext>
                  </a:extLst>
                </p:cNvPr>
                <p:cNvSpPr/>
                <p:nvPr/>
              </p:nvSpPr>
              <p:spPr>
                <a:xfrm>
                  <a:off x="4324672" y="3165230"/>
                  <a:ext cx="2005789" cy="1371600"/>
                </a:xfrm>
                <a:custGeom>
                  <a:avLst/>
                  <a:gdLst/>
                  <a:ahLst/>
                  <a:cxnLst/>
                  <a:rect l="0" t="0" r="0" b="0"/>
                  <a:pathLst>
                    <a:path w="2005789" h="1371600">
                      <a:moveTo>
                        <a:pt x="395927" y="633046"/>
                      </a:moveTo>
                      <a:lnTo>
                        <a:pt x="761423" y="633046"/>
                      </a:lnTo>
                      <a:lnTo>
                        <a:pt x="944127" y="316523"/>
                      </a:lnTo>
                      <a:lnTo>
                        <a:pt x="761423" y="0"/>
                      </a:lnTo>
                      <a:lnTo>
                        <a:pt x="395927" y="0"/>
                      </a:lnTo>
                      <a:lnTo>
                        <a:pt x="213223" y="316523"/>
                      </a:lnTo>
                      <a:close/>
                      <a:moveTo>
                        <a:pt x="1873919" y="685624"/>
                      </a:moveTo>
                      <a:lnTo>
                        <a:pt x="1828375" y="764579"/>
                      </a:lnTo>
                      <a:lnTo>
                        <a:pt x="1737199" y="764579"/>
                      </a:lnTo>
                      <a:lnTo>
                        <a:pt x="1691567" y="685624"/>
                      </a:lnTo>
                      <a:lnTo>
                        <a:pt x="1737199" y="606669"/>
                      </a:lnTo>
                      <a:lnTo>
                        <a:pt x="1828375" y="606669"/>
                      </a:lnTo>
                      <a:close/>
                      <a:moveTo>
                        <a:pt x="0" y="685800"/>
                      </a:moveTo>
                      <a:lnTo>
                        <a:pt x="395917" y="0"/>
                      </a:lnTo>
                      <a:lnTo>
                        <a:pt x="1187840" y="0"/>
                      </a:lnTo>
                      <a:lnTo>
                        <a:pt x="1583758" y="685800"/>
                      </a:lnTo>
                      <a:lnTo>
                        <a:pt x="1187840" y="1371600"/>
                      </a:lnTo>
                      <a:lnTo>
                        <a:pt x="395917" y="1371600"/>
                      </a:lnTo>
                      <a:close/>
                      <a:moveTo>
                        <a:pt x="2005789" y="685800"/>
                      </a:moveTo>
                      <a:lnTo>
                        <a:pt x="1873904" y="685800"/>
                      </a:lnTo>
                      <a:moveTo>
                        <a:pt x="2005789" y="949569"/>
                      </a:moveTo>
                      <a:lnTo>
                        <a:pt x="2005789" y="422030"/>
                      </a:lnTo>
                    </a:path>
                  </a:pathLst>
                </a:custGeom>
                <a:noFill/>
                <a:ln w="6594">
                  <a:solidFill>
                    <a:schemeClr val="bg1">
                      <a:lumMod val="85000"/>
                    </a:schemeClr>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grpSp>
            <p:nvGrpSpPr>
              <p:cNvPr id="45" name="Group 44">
                <a:extLst>
                  <a:ext uri="{FF2B5EF4-FFF2-40B4-BE49-F238E27FC236}">
                    <a16:creationId xmlns:a16="http://schemas.microsoft.com/office/drawing/2014/main" id="{F2DC734B-4784-BEB7-98AC-65A099DC1E1C}"/>
                  </a:ext>
                </a:extLst>
              </p:cNvPr>
              <p:cNvGrpSpPr/>
              <p:nvPr/>
            </p:nvGrpSpPr>
            <p:grpSpPr>
              <a:xfrm>
                <a:off x="3702294" y="3986872"/>
                <a:ext cx="2005789" cy="1371601"/>
                <a:chOff x="1899138" y="3165230"/>
                <a:chExt cx="2005789" cy="1371601"/>
              </a:xfrm>
            </p:grpSpPr>
            <p:sp>
              <p:nvSpPr>
                <p:cNvPr id="5127" name="Rounded Rectangle 5">
                  <a:extLst>
                    <a:ext uri="{FF2B5EF4-FFF2-40B4-BE49-F238E27FC236}">
                      <a16:creationId xmlns:a16="http://schemas.microsoft.com/office/drawing/2014/main" id="{D52EADD3-F920-EA01-B487-9FAB8CB0BB05}"/>
                    </a:ext>
                  </a:extLst>
                </p:cNvPr>
                <p:cNvSpPr/>
                <p:nvPr/>
              </p:nvSpPr>
              <p:spPr>
                <a:xfrm>
                  <a:off x="2033324" y="3165230"/>
                  <a:ext cx="1658387" cy="764579"/>
                </a:xfrm>
                <a:custGeom>
                  <a:avLst/>
                  <a:gdLst/>
                  <a:ahLst/>
                  <a:cxnLst/>
                  <a:rect l="0" t="0" r="0" b="0"/>
                  <a:pathLst>
                    <a:path w="1658387" h="764579">
                      <a:moveTo>
                        <a:pt x="1475683" y="633046"/>
                      </a:moveTo>
                      <a:lnTo>
                        <a:pt x="1110187" y="633046"/>
                      </a:lnTo>
                      <a:lnTo>
                        <a:pt x="927482" y="316523"/>
                      </a:lnTo>
                      <a:lnTo>
                        <a:pt x="1110187" y="0"/>
                      </a:lnTo>
                      <a:lnTo>
                        <a:pt x="1475683" y="0"/>
                      </a:lnTo>
                      <a:lnTo>
                        <a:pt x="1658387" y="316523"/>
                      </a:lnTo>
                      <a:close/>
                      <a:moveTo>
                        <a:pt x="182352" y="685624"/>
                      </a:moveTo>
                      <a:lnTo>
                        <a:pt x="136808" y="764579"/>
                      </a:lnTo>
                      <a:lnTo>
                        <a:pt x="45632" y="764579"/>
                      </a:lnTo>
                      <a:lnTo>
                        <a:pt x="0" y="685624"/>
                      </a:lnTo>
                      <a:lnTo>
                        <a:pt x="45632" y="606669"/>
                      </a:lnTo>
                      <a:lnTo>
                        <a:pt x="136808" y="606669"/>
                      </a:lnTo>
                      <a:close/>
                    </a:path>
                  </a:pathLst>
                </a:custGeom>
                <a:solidFill>
                  <a:srgbClr val="FF9C26"/>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5128" name="Rounded Rectangle 6">
                  <a:extLst>
                    <a:ext uri="{FF2B5EF4-FFF2-40B4-BE49-F238E27FC236}">
                      <a16:creationId xmlns:a16="http://schemas.microsoft.com/office/drawing/2014/main" id="{948E163F-C73B-575E-F6B3-FCBC27253798}"/>
                    </a:ext>
                  </a:extLst>
                </p:cNvPr>
                <p:cNvSpPr/>
                <p:nvPr/>
              </p:nvSpPr>
              <p:spPr>
                <a:xfrm>
                  <a:off x="1899138" y="3165230"/>
                  <a:ext cx="2005789" cy="1371600"/>
                </a:xfrm>
                <a:custGeom>
                  <a:avLst/>
                  <a:gdLst/>
                  <a:ahLst/>
                  <a:cxnLst/>
                  <a:rect l="0" t="0" r="0" b="0"/>
                  <a:pathLst>
                    <a:path w="2005789" h="1371600">
                      <a:moveTo>
                        <a:pt x="1609871" y="1371600"/>
                      </a:moveTo>
                      <a:lnTo>
                        <a:pt x="817948" y="1371600"/>
                      </a:lnTo>
                      <a:lnTo>
                        <a:pt x="422030" y="685800"/>
                      </a:lnTo>
                      <a:lnTo>
                        <a:pt x="817948" y="0"/>
                      </a:lnTo>
                      <a:lnTo>
                        <a:pt x="1609871" y="0"/>
                      </a:lnTo>
                      <a:lnTo>
                        <a:pt x="2005789" y="685800"/>
                      </a:lnTo>
                      <a:close/>
                      <a:moveTo>
                        <a:pt x="1792575" y="316523"/>
                      </a:moveTo>
                      <a:lnTo>
                        <a:pt x="1609871" y="0"/>
                      </a:lnTo>
                      <a:lnTo>
                        <a:pt x="1244375" y="0"/>
                      </a:lnTo>
                      <a:lnTo>
                        <a:pt x="1061671" y="316523"/>
                      </a:lnTo>
                      <a:lnTo>
                        <a:pt x="1244375" y="633046"/>
                      </a:lnTo>
                      <a:lnTo>
                        <a:pt x="1609871" y="633046"/>
                      </a:lnTo>
                      <a:close/>
                      <a:moveTo>
                        <a:pt x="316523" y="685624"/>
                      </a:moveTo>
                      <a:lnTo>
                        <a:pt x="270978" y="764579"/>
                      </a:lnTo>
                      <a:lnTo>
                        <a:pt x="179802" y="764579"/>
                      </a:lnTo>
                      <a:lnTo>
                        <a:pt x="134170" y="685624"/>
                      </a:lnTo>
                      <a:lnTo>
                        <a:pt x="179802" y="606669"/>
                      </a:lnTo>
                      <a:lnTo>
                        <a:pt x="270978" y="606669"/>
                      </a:lnTo>
                      <a:close/>
                      <a:moveTo>
                        <a:pt x="131884" y="685800"/>
                      </a:moveTo>
                      <a:lnTo>
                        <a:pt x="0" y="685800"/>
                      </a:lnTo>
                      <a:moveTo>
                        <a:pt x="0" y="949569"/>
                      </a:moveTo>
                      <a:lnTo>
                        <a:pt x="0" y="422030"/>
                      </a:lnTo>
                    </a:path>
                  </a:pathLst>
                </a:custGeom>
                <a:noFill/>
                <a:ln w="6594">
                  <a:solidFill>
                    <a:schemeClr val="bg1">
                      <a:lumMod val="85000"/>
                    </a:schemeClr>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grpSp>
            <p:nvGrpSpPr>
              <p:cNvPr id="46" name="Group 45">
                <a:extLst>
                  <a:ext uri="{FF2B5EF4-FFF2-40B4-BE49-F238E27FC236}">
                    <a16:creationId xmlns:a16="http://schemas.microsoft.com/office/drawing/2014/main" id="{C2A2634C-3262-927C-B742-0CE05C9581E9}"/>
                  </a:ext>
                </a:extLst>
              </p:cNvPr>
              <p:cNvGrpSpPr/>
              <p:nvPr/>
            </p:nvGrpSpPr>
            <p:grpSpPr>
              <a:xfrm>
                <a:off x="6127828" y="2193242"/>
                <a:ext cx="2005789" cy="1371600"/>
                <a:chOff x="4324672" y="1371600"/>
                <a:chExt cx="2005789" cy="1371600"/>
              </a:xfrm>
            </p:grpSpPr>
            <p:sp>
              <p:nvSpPr>
                <p:cNvPr id="5125" name="Rounded Rectangle 8">
                  <a:extLst>
                    <a:ext uri="{FF2B5EF4-FFF2-40B4-BE49-F238E27FC236}">
                      <a16:creationId xmlns:a16="http://schemas.microsoft.com/office/drawing/2014/main" id="{02ADCBB8-C2D1-4FF3-AD62-3A619B00E7D8}"/>
                    </a:ext>
                  </a:extLst>
                </p:cNvPr>
                <p:cNvSpPr/>
                <p:nvPr/>
              </p:nvSpPr>
              <p:spPr>
                <a:xfrm>
                  <a:off x="4537895" y="1978269"/>
                  <a:ext cx="1660699" cy="764930"/>
                </a:xfrm>
                <a:custGeom>
                  <a:avLst/>
                  <a:gdLst/>
                  <a:ahLst/>
                  <a:cxnLst/>
                  <a:rect l="0" t="0" r="0" b="0"/>
                  <a:pathLst>
                    <a:path w="1660699" h="764930">
                      <a:moveTo>
                        <a:pt x="182704" y="131884"/>
                      </a:moveTo>
                      <a:lnTo>
                        <a:pt x="548200" y="131884"/>
                      </a:lnTo>
                      <a:lnTo>
                        <a:pt x="730904" y="448407"/>
                      </a:lnTo>
                      <a:lnTo>
                        <a:pt x="548200" y="764930"/>
                      </a:lnTo>
                      <a:lnTo>
                        <a:pt x="182704" y="764930"/>
                      </a:lnTo>
                      <a:lnTo>
                        <a:pt x="0" y="448407"/>
                      </a:lnTo>
                      <a:close/>
                      <a:moveTo>
                        <a:pt x="1660699" y="78954"/>
                      </a:moveTo>
                      <a:lnTo>
                        <a:pt x="1615155" y="157909"/>
                      </a:lnTo>
                      <a:lnTo>
                        <a:pt x="1523979" y="157909"/>
                      </a:lnTo>
                      <a:lnTo>
                        <a:pt x="1478347" y="78954"/>
                      </a:lnTo>
                      <a:lnTo>
                        <a:pt x="1523979" y="0"/>
                      </a:lnTo>
                      <a:lnTo>
                        <a:pt x="1615155" y="0"/>
                      </a:lnTo>
                      <a:close/>
                    </a:path>
                  </a:pathLst>
                </a:custGeom>
                <a:solidFill>
                  <a:srgbClr val="F98700"/>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5126" name="Rounded Rectangle 9">
                  <a:extLst>
                    <a:ext uri="{FF2B5EF4-FFF2-40B4-BE49-F238E27FC236}">
                      <a16:creationId xmlns:a16="http://schemas.microsoft.com/office/drawing/2014/main" id="{56030B8C-3B89-94B0-1B7F-F8559357E93D}"/>
                    </a:ext>
                  </a:extLst>
                </p:cNvPr>
                <p:cNvSpPr/>
                <p:nvPr/>
              </p:nvSpPr>
              <p:spPr>
                <a:xfrm>
                  <a:off x="4324672" y="1371600"/>
                  <a:ext cx="2005789" cy="1371600"/>
                </a:xfrm>
                <a:custGeom>
                  <a:avLst/>
                  <a:gdLst/>
                  <a:ahLst/>
                  <a:cxnLst/>
                  <a:rect l="0" t="0" r="0" b="0"/>
                  <a:pathLst>
                    <a:path w="2005789" h="1371600">
                      <a:moveTo>
                        <a:pt x="395917" y="0"/>
                      </a:moveTo>
                      <a:lnTo>
                        <a:pt x="1187840" y="0"/>
                      </a:lnTo>
                      <a:lnTo>
                        <a:pt x="1583758" y="685800"/>
                      </a:lnTo>
                      <a:lnTo>
                        <a:pt x="1187840" y="1371600"/>
                      </a:lnTo>
                      <a:lnTo>
                        <a:pt x="395917" y="1371600"/>
                      </a:lnTo>
                      <a:lnTo>
                        <a:pt x="0" y="685800"/>
                      </a:lnTo>
                      <a:close/>
                      <a:moveTo>
                        <a:pt x="213213" y="1055076"/>
                      </a:moveTo>
                      <a:lnTo>
                        <a:pt x="395917" y="1371600"/>
                      </a:lnTo>
                      <a:lnTo>
                        <a:pt x="761413" y="1371600"/>
                      </a:lnTo>
                      <a:lnTo>
                        <a:pt x="944118" y="1055076"/>
                      </a:lnTo>
                      <a:lnTo>
                        <a:pt x="761413" y="738553"/>
                      </a:lnTo>
                      <a:lnTo>
                        <a:pt x="395917" y="738553"/>
                      </a:lnTo>
                      <a:close/>
                      <a:moveTo>
                        <a:pt x="1873904" y="685624"/>
                      </a:moveTo>
                      <a:lnTo>
                        <a:pt x="1828360" y="764579"/>
                      </a:lnTo>
                      <a:lnTo>
                        <a:pt x="1737184" y="764579"/>
                      </a:lnTo>
                      <a:lnTo>
                        <a:pt x="1691552" y="685624"/>
                      </a:lnTo>
                      <a:lnTo>
                        <a:pt x="1737184" y="606669"/>
                      </a:lnTo>
                      <a:lnTo>
                        <a:pt x="1828360" y="606669"/>
                      </a:lnTo>
                      <a:close/>
                      <a:moveTo>
                        <a:pt x="2005789" y="685800"/>
                      </a:moveTo>
                      <a:lnTo>
                        <a:pt x="1873904" y="685800"/>
                      </a:lnTo>
                      <a:moveTo>
                        <a:pt x="2005789" y="949569"/>
                      </a:moveTo>
                      <a:lnTo>
                        <a:pt x="2005789" y="422030"/>
                      </a:lnTo>
                    </a:path>
                  </a:pathLst>
                </a:custGeom>
                <a:noFill/>
                <a:ln w="6594">
                  <a:solidFill>
                    <a:schemeClr val="bg1">
                      <a:lumMod val="85000"/>
                    </a:schemeClr>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grpSp>
            <p:nvGrpSpPr>
              <p:cNvPr id="47" name="Group 46">
                <a:extLst>
                  <a:ext uri="{FF2B5EF4-FFF2-40B4-BE49-F238E27FC236}">
                    <a16:creationId xmlns:a16="http://schemas.microsoft.com/office/drawing/2014/main" id="{EB66F643-0C66-4A3B-FB6A-680EBCEEB317}"/>
                  </a:ext>
                </a:extLst>
              </p:cNvPr>
              <p:cNvGrpSpPr/>
              <p:nvPr/>
            </p:nvGrpSpPr>
            <p:grpSpPr>
              <a:xfrm>
                <a:off x="3702294" y="2193242"/>
                <a:ext cx="2005789" cy="1371600"/>
                <a:chOff x="1899138" y="1371600"/>
                <a:chExt cx="2005789" cy="1371600"/>
              </a:xfrm>
            </p:grpSpPr>
            <p:sp>
              <p:nvSpPr>
                <p:cNvPr id="5121" name="Rounded Rectangle 11">
                  <a:extLst>
                    <a:ext uri="{FF2B5EF4-FFF2-40B4-BE49-F238E27FC236}">
                      <a16:creationId xmlns:a16="http://schemas.microsoft.com/office/drawing/2014/main" id="{869A6F68-9095-A752-83A1-3D22F11B7793}"/>
                    </a:ext>
                  </a:extLst>
                </p:cNvPr>
                <p:cNvSpPr/>
                <p:nvPr/>
              </p:nvSpPr>
              <p:spPr>
                <a:xfrm>
                  <a:off x="2033324" y="1978269"/>
                  <a:ext cx="1658387" cy="764930"/>
                </a:xfrm>
                <a:custGeom>
                  <a:avLst/>
                  <a:gdLst/>
                  <a:ahLst/>
                  <a:cxnLst/>
                  <a:rect l="0" t="0" r="0" b="0"/>
                  <a:pathLst>
                    <a:path w="1658387" h="764930">
                      <a:moveTo>
                        <a:pt x="1658387" y="448407"/>
                      </a:moveTo>
                      <a:lnTo>
                        <a:pt x="1475683" y="764930"/>
                      </a:lnTo>
                      <a:lnTo>
                        <a:pt x="1110187" y="764930"/>
                      </a:lnTo>
                      <a:lnTo>
                        <a:pt x="927482" y="448407"/>
                      </a:lnTo>
                      <a:lnTo>
                        <a:pt x="1110187" y="131884"/>
                      </a:lnTo>
                      <a:lnTo>
                        <a:pt x="1475683" y="131884"/>
                      </a:lnTo>
                      <a:close/>
                      <a:moveTo>
                        <a:pt x="182352" y="78954"/>
                      </a:moveTo>
                      <a:lnTo>
                        <a:pt x="136808" y="157909"/>
                      </a:lnTo>
                      <a:lnTo>
                        <a:pt x="45632" y="157909"/>
                      </a:lnTo>
                      <a:lnTo>
                        <a:pt x="0" y="78954"/>
                      </a:lnTo>
                      <a:lnTo>
                        <a:pt x="45632" y="0"/>
                      </a:lnTo>
                      <a:lnTo>
                        <a:pt x="136808" y="0"/>
                      </a:lnTo>
                      <a:close/>
                    </a:path>
                  </a:pathLst>
                </a:custGeom>
                <a:solidFill>
                  <a:srgbClr val="986222"/>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5123" name="Rounded Rectangle 12">
                  <a:extLst>
                    <a:ext uri="{FF2B5EF4-FFF2-40B4-BE49-F238E27FC236}">
                      <a16:creationId xmlns:a16="http://schemas.microsoft.com/office/drawing/2014/main" id="{D32F4F1E-7682-C489-8611-28C36534ED5D}"/>
                    </a:ext>
                  </a:extLst>
                </p:cNvPr>
                <p:cNvSpPr/>
                <p:nvPr/>
              </p:nvSpPr>
              <p:spPr>
                <a:xfrm>
                  <a:off x="1899138" y="1371600"/>
                  <a:ext cx="2005789" cy="1371600"/>
                </a:xfrm>
                <a:custGeom>
                  <a:avLst/>
                  <a:gdLst/>
                  <a:ahLst/>
                  <a:cxnLst/>
                  <a:rect l="0" t="0" r="0" b="0"/>
                  <a:pathLst>
                    <a:path w="2005789" h="1371600">
                      <a:moveTo>
                        <a:pt x="1609871" y="738553"/>
                      </a:moveTo>
                      <a:lnTo>
                        <a:pt x="1244375" y="738553"/>
                      </a:lnTo>
                      <a:lnTo>
                        <a:pt x="1061671" y="1055076"/>
                      </a:lnTo>
                      <a:lnTo>
                        <a:pt x="1244375" y="1371600"/>
                      </a:lnTo>
                      <a:lnTo>
                        <a:pt x="1609871" y="1371600"/>
                      </a:lnTo>
                      <a:lnTo>
                        <a:pt x="1792575" y="1055076"/>
                      </a:lnTo>
                      <a:close/>
                      <a:moveTo>
                        <a:pt x="316538" y="685624"/>
                      </a:moveTo>
                      <a:lnTo>
                        <a:pt x="270993" y="764579"/>
                      </a:lnTo>
                      <a:lnTo>
                        <a:pt x="179817" y="764579"/>
                      </a:lnTo>
                      <a:lnTo>
                        <a:pt x="134185" y="685624"/>
                      </a:lnTo>
                      <a:lnTo>
                        <a:pt x="179817" y="606669"/>
                      </a:lnTo>
                      <a:lnTo>
                        <a:pt x="270993" y="606669"/>
                      </a:lnTo>
                      <a:close/>
                      <a:moveTo>
                        <a:pt x="2005789" y="685800"/>
                      </a:moveTo>
                      <a:lnTo>
                        <a:pt x="1609871" y="1371600"/>
                      </a:lnTo>
                      <a:lnTo>
                        <a:pt x="817948" y="1371600"/>
                      </a:lnTo>
                      <a:lnTo>
                        <a:pt x="422030" y="685800"/>
                      </a:lnTo>
                      <a:lnTo>
                        <a:pt x="817948" y="0"/>
                      </a:lnTo>
                      <a:lnTo>
                        <a:pt x="1609871" y="0"/>
                      </a:lnTo>
                      <a:close/>
                      <a:moveTo>
                        <a:pt x="131884" y="685800"/>
                      </a:moveTo>
                      <a:lnTo>
                        <a:pt x="0" y="685800"/>
                      </a:lnTo>
                      <a:moveTo>
                        <a:pt x="0" y="949569"/>
                      </a:moveTo>
                      <a:lnTo>
                        <a:pt x="0" y="422030"/>
                      </a:lnTo>
                    </a:path>
                  </a:pathLst>
                </a:custGeom>
                <a:noFill/>
                <a:ln w="6594">
                  <a:solidFill>
                    <a:schemeClr val="bg1">
                      <a:lumMod val="85000"/>
                    </a:schemeClr>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sp>
            <p:nvSpPr>
              <p:cNvPr id="48" name="TextBox 14">
                <a:extLst>
                  <a:ext uri="{FF2B5EF4-FFF2-40B4-BE49-F238E27FC236}">
                    <a16:creationId xmlns:a16="http://schemas.microsoft.com/office/drawing/2014/main" id="{F732D01E-D8C6-F58C-6489-2C921CD50D28}"/>
                  </a:ext>
                </a:extLst>
              </p:cNvPr>
              <p:cNvSpPr txBox="1"/>
              <p:nvPr/>
            </p:nvSpPr>
            <p:spPr>
              <a:xfrm>
                <a:off x="6497018" y="2445704"/>
                <a:ext cx="808543" cy="270196"/>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100" b="1" noProof="0">
                    <a:solidFill>
                      <a:srgbClr val="464646"/>
                    </a:solidFill>
                    <a:latin typeface="Avenir LT Pro 45Book"/>
                  </a:rPr>
                  <a:t>Reduced</a:t>
                </a:r>
              </a:p>
            </p:txBody>
          </p:sp>
          <p:sp>
            <p:nvSpPr>
              <p:cNvPr id="49" name="TextBox 15">
                <a:extLst>
                  <a:ext uri="{FF2B5EF4-FFF2-40B4-BE49-F238E27FC236}">
                    <a16:creationId xmlns:a16="http://schemas.microsoft.com/office/drawing/2014/main" id="{C89CF717-1B40-54C0-02A1-ADC8E46BBD2D}"/>
                  </a:ext>
                </a:extLst>
              </p:cNvPr>
              <p:cNvSpPr txBox="1"/>
              <p:nvPr/>
            </p:nvSpPr>
            <p:spPr>
              <a:xfrm>
                <a:off x="2610501" y="2224250"/>
                <a:ext cx="1041383" cy="1203603"/>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700" b="0" noProof="0">
                    <a:solidFill>
                      <a:srgbClr val="464646"/>
                    </a:solidFill>
                    <a:latin typeface="Avenir LT Pro 45Book"/>
                  </a:rPr>
                  <a:t>Wine complexity
and traditional
imagery were
removed. Ageing
qualities and
terminology were
also eliminated.</a:t>
                </a:r>
              </a:p>
            </p:txBody>
          </p:sp>
          <p:sp>
            <p:nvSpPr>
              <p:cNvPr id="50" name="TextBox 16">
                <a:extLst>
                  <a:ext uri="{FF2B5EF4-FFF2-40B4-BE49-F238E27FC236}">
                    <a16:creationId xmlns:a16="http://schemas.microsoft.com/office/drawing/2014/main" id="{86FCCAEA-94C5-5410-E70F-257477ABFD6F}"/>
                  </a:ext>
                </a:extLst>
              </p:cNvPr>
              <p:cNvSpPr txBox="1"/>
              <p:nvPr/>
            </p:nvSpPr>
            <p:spPr>
              <a:xfrm>
                <a:off x="8188908" y="2406079"/>
                <a:ext cx="1120701" cy="1031659"/>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700" b="0" noProof="0">
                    <a:solidFill>
                      <a:srgbClr val="464646"/>
                    </a:solidFill>
                    <a:latin typeface="Avenir LT Pro 45Book"/>
                  </a:rPr>
                  <a:t>Wine variety was
reduced to
Chardonnay and
Shiraz. Tannins and
oak influence were
also reduced.</a:t>
                </a:r>
              </a:p>
            </p:txBody>
          </p:sp>
          <p:sp>
            <p:nvSpPr>
              <p:cNvPr id="53" name="TextBox 19">
                <a:extLst>
                  <a:ext uri="{FF2B5EF4-FFF2-40B4-BE49-F238E27FC236}">
                    <a16:creationId xmlns:a16="http://schemas.microsoft.com/office/drawing/2014/main" id="{D49D063B-A298-EEE9-6DFC-03C1E7E54300}"/>
                  </a:ext>
                </a:extLst>
              </p:cNvPr>
              <p:cNvSpPr txBox="1"/>
              <p:nvPr/>
            </p:nvSpPr>
            <p:spPr>
              <a:xfrm>
                <a:off x="4550119" y="4800895"/>
                <a:ext cx="616640" cy="270196"/>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100" b="1" noProof="0">
                    <a:solidFill>
                      <a:srgbClr val="464646"/>
                    </a:solidFill>
                    <a:latin typeface="Avenir LT Pro 45Book"/>
                  </a:rPr>
                  <a:t>Raised</a:t>
                </a:r>
              </a:p>
            </p:txBody>
          </p:sp>
          <p:sp>
            <p:nvSpPr>
              <p:cNvPr id="54" name="TextBox 20">
                <a:extLst>
                  <a:ext uri="{FF2B5EF4-FFF2-40B4-BE49-F238E27FC236}">
                    <a16:creationId xmlns:a16="http://schemas.microsoft.com/office/drawing/2014/main" id="{36959F29-085E-F213-67E9-841C23842CAC}"/>
                  </a:ext>
                </a:extLst>
              </p:cNvPr>
              <p:cNvSpPr txBox="1"/>
              <p:nvPr/>
            </p:nvSpPr>
            <p:spPr>
              <a:xfrm>
                <a:off x="4409616" y="2454976"/>
                <a:ext cx="1005561" cy="270196"/>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100" b="1" noProof="0">
                    <a:solidFill>
                      <a:srgbClr val="464646"/>
                    </a:solidFill>
                    <a:latin typeface="Avenir LT Pro 45Book"/>
                  </a:rPr>
                  <a:t>Eliminated</a:t>
                </a:r>
              </a:p>
            </p:txBody>
          </p:sp>
          <p:sp>
            <p:nvSpPr>
              <p:cNvPr id="55" name="TextBox 21">
                <a:extLst>
                  <a:ext uri="{FF2B5EF4-FFF2-40B4-BE49-F238E27FC236}">
                    <a16:creationId xmlns:a16="http://schemas.microsoft.com/office/drawing/2014/main" id="{26474EE4-7BDC-96AE-CBBA-8F2DC3F2AE6E}"/>
                  </a:ext>
                </a:extLst>
              </p:cNvPr>
              <p:cNvSpPr txBox="1"/>
              <p:nvPr/>
            </p:nvSpPr>
            <p:spPr>
              <a:xfrm>
                <a:off x="4325350" y="1549680"/>
                <a:ext cx="3205410" cy="34388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400" b="1" noProof="0">
                    <a:solidFill>
                      <a:srgbClr val="464646"/>
                    </a:solidFill>
                    <a:latin typeface="Avenir LT Pro 45Book"/>
                  </a:rPr>
                  <a:t>Wine Industry Redefinition</a:t>
                </a:r>
              </a:p>
            </p:txBody>
          </p:sp>
          <p:sp>
            <p:nvSpPr>
              <p:cNvPr id="56" name="TextBox 22">
                <a:extLst>
                  <a:ext uri="{FF2B5EF4-FFF2-40B4-BE49-F238E27FC236}">
                    <a16:creationId xmlns:a16="http://schemas.microsoft.com/office/drawing/2014/main" id="{5915535B-869E-BE1B-7424-A2F4FEA0ED8E}"/>
                  </a:ext>
                </a:extLst>
              </p:cNvPr>
              <p:cNvSpPr txBox="1"/>
              <p:nvPr/>
            </p:nvSpPr>
            <p:spPr>
              <a:xfrm>
                <a:off x="6538713" y="4786067"/>
                <a:ext cx="734341" cy="270196"/>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100" b="1" noProof="0">
                    <a:solidFill>
                      <a:srgbClr val="464646"/>
                    </a:solidFill>
                    <a:latin typeface="Avenir LT Pro 45Book"/>
                  </a:rPr>
                  <a:t>Created</a:t>
                </a:r>
              </a:p>
            </p:txBody>
          </p:sp>
          <p:sp>
            <p:nvSpPr>
              <p:cNvPr id="58" name="TextBox 24">
                <a:extLst>
                  <a:ext uri="{FF2B5EF4-FFF2-40B4-BE49-F238E27FC236}">
                    <a16:creationId xmlns:a16="http://schemas.microsoft.com/office/drawing/2014/main" id="{420390B5-B97E-3CDA-82EC-5381A453916C}"/>
                  </a:ext>
                </a:extLst>
              </p:cNvPr>
              <p:cNvSpPr txBox="1"/>
              <p:nvPr/>
            </p:nvSpPr>
            <p:spPr>
              <a:xfrm>
                <a:off x="2451777" y="4290974"/>
                <a:ext cx="1207697" cy="859716"/>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700" b="0" noProof="0">
                    <a:solidFill>
                      <a:srgbClr val="464646"/>
                    </a:solidFill>
                    <a:latin typeface="Avenir LT Pro 45Book"/>
                  </a:rPr>
                  <a:t>Easy drinking and a
fun personality were
raised. Retail staff
engagement was
also raised.</a:t>
                </a:r>
              </a:p>
            </p:txBody>
          </p:sp>
          <p:sp>
            <p:nvSpPr>
              <p:cNvPr id="59" name="TextBox 25">
                <a:extLst>
                  <a:ext uri="{FF2B5EF4-FFF2-40B4-BE49-F238E27FC236}">
                    <a16:creationId xmlns:a16="http://schemas.microsoft.com/office/drawing/2014/main" id="{3D85B14D-62A7-9BB5-BDAD-C2EB6B26E3D5}"/>
                  </a:ext>
                </a:extLst>
              </p:cNvPr>
              <p:cNvSpPr txBox="1"/>
              <p:nvPr/>
            </p:nvSpPr>
            <p:spPr>
              <a:xfrm>
                <a:off x="8188908" y="4278841"/>
                <a:ext cx="1327955" cy="859716"/>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700" b="0" noProof="0">
                    <a:solidFill>
                      <a:srgbClr val="464646"/>
                    </a:solidFill>
                    <a:latin typeface="Avenir LT Pro 45Book"/>
                  </a:rPr>
                  <a:t>Ease of selection and
a vibrant identity were
created. Social
drinking experience
was also created.</a:t>
                </a:r>
              </a:p>
            </p:txBody>
          </p:sp>
          <p:sp>
            <p:nvSpPr>
              <p:cNvPr id="62" name="Rounded Rectangle 28">
                <a:extLst>
                  <a:ext uri="{FF2B5EF4-FFF2-40B4-BE49-F238E27FC236}">
                    <a16:creationId xmlns:a16="http://schemas.microsoft.com/office/drawing/2014/main" id="{CE6005F3-CB69-9E15-3187-F5A7FEECA1E3}"/>
                  </a:ext>
                </a:extLst>
              </p:cNvPr>
              <p:cNvSpPr/>
              <p:nvPr/>
            </p:nvSpPr>
            <p:spPr>
              <a:xfrm>
                <a:off x="6498019" y="3130731"/>
                <a:ext cx="378069" cy="219807"/>
              </a:xfrm>
              <a:custGeom>
                <a:avLst/>
                <a:gdLst/>
                <a:ahLst/>
                <a:cxnLst/>
                <a:rect l="0" t="0" r="0" b="0"/>
                <a:pathLst>
                  <a:path w="378069" h="219807">
                    <a:moveTo>
                      <a:pt x="378069" y="219754"/>
                    </a:moveTo>
                    <a:lnTo>
                      <a:pt x="257825" y="83474"/>
                    </a:lnTo>
                    <a:cubicBezTo>
                      <a:pt x="251308" y="76211"/>
                      <a:pt x="240231" y="75359"/>
                      <a:pt x="232679" y="81539"/>
                    </a:cubicBezTo>
                    <a:lnTo>
                      <a:pt x="154181" y="146954"/>
                    </a:lnTo>
                    <a:cubicBezTo>
                      <a:pt x="146626" y="153134"/>
                      <a:pt x="135553" y="152307"/>
                      <a:pt x="129000" y="145073"/>
                    </a:cubicBezTo>
                    <a:lnTo>
                      <a:pt x="0" y="0"/>
                    </a:lnTo>
                    <a:moveTo>
                      <a:pt x="378069" y="114669"/>
                    </a:moveTo>
                    <a:lnTo>
                      <a:pt x="378069" y="219807"/>
                    </a:lnTo>
                    <a:lnTo>
                      <a:pt x="256067" y="219807"/>
                    </a:lnTo>
                  </a:path>
                </a:pathLst>
              </a:custGeom>
              <a:noFill/>
              <a:ln w="6594">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sp>
          <p:nvSpPr>
            <p:cNvPr id="5134" name="Rounded Rectangle 27">
              <a:extLst>
                <a:ext uri="{FF2B5EF4-FFF2-40B4-BE49-F238E27FC236}">
                  <a16:creationId xmlns:a16="http://schemas.microsoft.com/office/drawing/2014/main" id="{CB473A58-7804-A3C3-A65A-DCECA135976F}"/>
                </a:ext>
              </a:extLst>
            </p:cNvPr>
            <p:cNvSpPr/>
            <p:nvPr/>
          </p:nvSpPr>
          <p:spPr>
            <a:xfrm>
              <a:off x="6268853" y="2135914"/>
              <a:ext cx="247677" cy="247678"/>
            </a:xfrm>
            <a:custGeom>
              <a:avLst/>
              <a:gdLst/>
              <a:ahLst/>
              <a:cxnLst/>
              <a:rect l="0" t="0" r="0" b="0"/>
              <a:pathLst>
                <a:path w="404446" h="404447">
                  <a:moveTo>
                    <a:pt x="131884" y="404447"/>
                  </a:moveTo>
                  <a:lnTo>
                    <a:pt x="131884" y="147712"/>
                  </a:lnTo>
                  <a:lnTo>
                    <a:pt x="290146" y="147712"/>
                  </a:lnTo>
                  <a:lnTo>
                    <a:pt x="290146" y="404447"/>
                  </a:lnTo>
                  <a:moveTo>
                    <a:pt x="342900" y="228598"/>
                  </a:moveTo>
                  <a:lnTo>
                    <a:pt x="404446" y="228598"/>
                  </a:lnTo>
                  <a:lnTo>
                    <a:pt x="404446" y="404444"/>
                  </a:lnTo>
                  <a:moveTo>
                    <a:pt x="17584" y="404444"/>
                  </a:moveTo>
                  <a:lnTo>
                    <a:pt x="17584" y="228598"/>
                  </a:lnTo>
                  <a:lnTo>
                    <a:pt x="79130" y="228598"/>
                  </a:lnTo>
                  <a:moveTo>
                    <a:pt x="0" y="0"/>
                  </a:moveTo>
                  <a:moveTo>
                    <a:pt x="246184" y="87922"/>
                  </a:moveTo>
                  <a:lnTo>
                    <a:pt x="175846" y="17583"/>
                  </a:lnTo>
                  <a:moveTo>
                    <a:pt x="246184" y="17583"/>
                  </a:moveTo>
                  <a:lnTo>
                    <a:pt x="175846" y="87922"/>
                  </a:lnTo>
                </a:path>
              </a:pathLst>
            </a:custGeom>
            <a:noFill/>
            <a:ln w="6594">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5135" name="Rounded Rectangle 29">
              <a:extLst>
                <a:ext uri="{FF2B5EF4-FFF2-40B4-BE49-F238E27FC236}">
                  <a16:creationId xmlns:a16="http://schemas.microsoft.com/office/drawing/2014/main" id="{72FE28BB-550E-5592-4A4F-19D1F3B73ED6}"/>
                </a:ext>
              </a:extLst>
            </p:cNvPr>
            <p:cNvSpPr/>
            <p:nvPr/>
          </p:nvSpPr>
          <p:spPr>
            <a:xfrm>
              <a:off x="7250861" y="2782857"/>
              <a:ext cx="237169" cy="247677"/>
            </a:xfrm>
            <a:custGeom>
              <a:avLst/>
              <a:gdLst/>
              <a:ahLst/>
              <a:cxnLst/>
              <a:rect l="0" t="0" r="0" b="0"/>
              <a:pathLst>
                <a:path w="387286" h="404446">
                  <a:moveTo>
                    <a:pt x="212" y="404446"/>
                  </a:moveTo>
                  <a:lnTo>
                    <a:pt x="212" y="386861"/>
                  </a:lnTo>
                  <a:cubicBezTo>
                    <a:pt x="0" y="372974"/>
                    <a:pt x="6560" y="359854"/>
                    <a:pt x="17797" y="351692"/>
                  </a:cubicBezTo>
                  <a:cubicBezTo>
                    <a:pt x="41272" y="333773"/>
                    <a:pt x="92883" y="298938"/>
                    <a:pt x="193643" y="298938"/>
                  </a:cubicBezTo>
                  <a:cubicBezTo>
                    <a:pt x="294403" y="298938"/>
                    <a:pt x="346014" y="333773"/>
                    <a:pt x="369489" y="351692"/>
                  </a:cubicBezTo>
                  <a:cubicBezTo>
                    <a:pt x="380726" y="359854"/>
                    <a:pt x="387286" y="372974"/>
                    <a:pt x="387074" y="386861"/>
                  </a:cubicBezTo>
                  <a:lnTo>
                    <a:pt x="387074" y="404446"/>
                  </a:lnTo>
                  <a:moveTo>
                    <a:pt x="287228" y="310860"/>
                  </a:moveTo>
                  <a:lnTo>
                    <a:pt x="193643" y="404446"/>
                  </a:lnTo>
                  <a:moveTo>
                    <a:pt x="193643" y="404446"/>
                  </a:moveTo>
                  <a:lnTo>
                    <a:pt x="100058" y="310860"/>
                  </a:lnTo>
                  <a:moveTo>
                    <a:pt x="220020" y="378069"/>
                  </a:moveTo>
                  <a:lnTo>
                    <a:pt x="193643" y="298938"/>
                  </a:lnTo>
                  <a:lnTo>
                    <a:pt x="167266" y="378069"/>
                  </a:lnTo>
                  <a:moveTo>
                    <a:pt x="82262" y="316540"/>
                  </a:moveTo>
                  <a:lnTo>
                    <a:pt x="61758" y="378069"/>
                  </a:lnTo>
                  <a:lnTo>
                    <a:pt x="114512" y="404446"/>
                  </a:lnTo>
                  <a:moveTo>
                    <a:pt x="272774" y="404446"/>
                  </a:moveTo>
                  <a:lnTo>
                    <a:pt x="325527" y="378069"/>
                  </a:lnTo>
                  <a:lnTo>
                    <a:pt x="305024" y="316540"/>
                  </a:lnTo>
                  <a:moveTo>
                    <a:pt x="228812" y="263769"/>
                  </a:moveTo>
                  <a:lnTo>
                    <a:pt x="158474" y="263769"/>
                  </a:lnTo>
                  <a:moveTo>
                    <a:pt x="193643" y="0"/>
                  </a:moveTo>
                  <a:lnTo>
                    <a:pt x="193643" y="17584"/>
                  </a:lnTo>
                  <a:moveTo>
                    <a:pt x="334320" y="123092"/>
                  </a:moveTo>
                  <a:lnTo>
                    <a:pt x="316735" y="123092"/>
                  </a:lnTo>
                  <a:moveTo>
                    <a:pt x="316735" y="35169"/>
                  </a:moveTo>
                  <a:lnTo>
                    <a:pt x="299151" y="52753"/>
                  </a:lnTo>
                  <a:moveTo>
                    <a:pt x="52966" y="123092"/>
                  </a:moveTo>
                  <a:lnTo>
                    <a:pt x="70551" y="123092"/>
                  </a:lnTo>
                  <a:moveTo>
                    <a:pt x="70551" y="35169"/>
                  </a:moveTo>
                  <a:lnTo>
                    <a:pt x="88135" y="52753"/>
                  </a:lnTo>
                  <a:moveTo>
                    <a:pt x="316735" y="211015"/>
                  </a:moveTo>
                  <a:lnTo>
                    <a:pt x="299151" y="193430"/>
                  </a:lnTo>
                  <a:moveTo>
                    <a:pt x="88135" y="193430"/>
                  </a:moveTo>
                  <a:lnTo>
                    <a:pt x="70551" y="211015"/>
                  </a:lnTo>
                  <a:moveTo>
                    <a:pt x="228812" y="202434"/>
                  </a:moveTo>
                  <a:lnTo>
                    <a:pt x="228812" y="219807"/>
                  </a:lnTo>
                  <a:cubicBezTo>
                    <a:pt x="228812" y="224663"/>
                    <a:pt x="224876" y="228600"/>
                    <a:pt x="220020" y="228600"/>
                  </a:cubicBezTo>
                  <a:lnTo>
                    <a:pt x="167266" y="228600"/>
                  </a:lnTo>
                  <a:cubicBezTo>
                    <a:pt x="162410" y="228600"/>
                    <a:pt x="158474" y="224663"/>
                    <a:pt x="158474" y="219807"/>
                  </a:cubicBezTo>
                  <a:lnTo>
                    <a:pt x="158474" y="202434"/>
                  </a:lnTo>
                  <a:cubicBezTo>
                    <a:pt x="123472" y="185067"/>
                    <a:pt x="106385" y="144754"/>
                    <a:pt x="118248" y="107525"/>
                  </a:cubicBezTo>
                  <a:cubicBezTo>
                    <a:pt x="130110" y="70296"/>
                    <a:pt x="167369" y="47298"/>
                    <a:pt x="205966" y="53383"/>
                  </a:cubicBezTo>
                  <a:cubicBezTo>
                    <a:pt x="244562" y="59467"/>
                    <a:pt x="272940" y="92811"/>
                    <a:pt x="272774" y="131884"/>
                  </a:cubicBezTo>
                  <a:cubicBezTo>
                    <a:pt x="272700" y="161839"/>
                    <a:pt x="255670" y="189169"/>
                    <a:pt x="228812" y="202434"/>
                  </a:cubicBezTo>
                  <a:close/>
                </a:path>
              </a:pathLst>
            </a:custGeom>
            <a:noFill/>
            <a:ln w="6594">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sp>
          <p:nvSpPr>
            <p:cNvPr id="5136" name="Rounded Rectangle 30">
              <a:extLst>
                <a:ext uri="{FF2B5EF4-FFF2-40B4-BE49-F238E27FC236}">
                  <a16:creationId xmlns:a16="http://schemas.microsoft.com/office/drawing/2014/main" id="{C62A266D-8C85-4537-1C6F-535F048A76B4}"/>
                </a:ext>
              </a:extLst>
            </p:cNvPr>
            <p:cNvSpPr/>
            <p:nvPr/>
          </p:nvSpPr>
          <p:spPr>
            <a:xfrm>
              <a:off x="6268854" y="2802374"/>
              <a:ext cx="250369" cy="250369"/>
            </a:xfrm>
            <a:custGeom>
              <a:avLst/>
              <a:gdLst/>
              <a:ahLst/>
              <a:cxnLst/>
              <a:rect l="0" t="0" r="0" b="0"/>
              <a:pathLst>
                <a:path w="408842" h="408842">
                  <a:moveTo>
                    <a:pt x="408842" y="123971"/>
                  </a:moveTo>
                  <a:lnTo>
                    <a:pt x="231237" y="273440"/>
                  </a:lnTo>
                  <a:lnTo>
                    <a:pt x="182000" y="215411"/>
                  </a:lnTo>
                  <a:lnTo>
                    <a:pt x="13188" y="349054"/>
                  </a:lnTo>
                  <a:moveTo>
                    <a:pt x="0" y="0"/>
                  </a:moveTo>
                  <a:moveTo>
                    <a:pt x="57150" y="401808"/>
                  </a:moveTo>
                  <a:lnTo>
                    <a:pt x="57150" y="314187"/>
                  </a:lnTo>
                  <a:moveTo>
                    <a:pt x="57150" y="259373"/>
                  </a:moveTo>
                  <a:lnTo>
                    <a:pt x="57150" y="102869"/>
                  </a:lnTo>
                  <a:moveTo>
                    <a:pt x="145073" y="13188"/>
                  </a:moveTo>
                  <a:lnTo>
                    <a:pt x="145073" y="173208"/>
                  </a:lnTo>
                  <a:moveTo>
                    <a:pt x="232996" y="180242"/>
                  </a:moveTo>
                  <a:lnTo>
                    <a:pt x="232996" y="67700"/>
                  </a:lnTo>
                  <a:moveTo>
                    <a:pt x="320919" y="67700"/>
                  </a:moveTo>
                  <a:lnTo>
                    <a:pt x="320919" y="13188"/>
                  </a:lnTo>
                  <a:moveTo>
                    <a:pt x="0" y="0"/>
                  </a:moveTo>
                  <a:moveTo>
                    <a:pt x="145073" y="334986"/>
                  </a:moveTo>
                  <a:lnTo>
                    <a:pt x="145073" y="245085"/>
                  </a:lnTo>
                  <a:moveTo>
                    <a:pt x="0" y="0"/>
                  </a:moveTo>
                  <a:moveTo>
                    <a:pt x="232996" y="356088"/>
                  </a:moveTo>
                  <a:lnTo>
                    <a:pt x="232996" y="272287"/>
                  </a:lnTo>
                  <a:moveTo>
                    <a:pt x="0" y="0"/>
                  </a:moveTo>
                  <a:moveTo>
                    <a:pt x="320919" y="408842"/>
                  </a:moveTo>
                  <a:lnTo>
                    <a:pt x="320919" y="197826"/>
                  </a:lnTo>
                  <a:moveTo>
                    <a:pt x="329711" y="123971"/>
                  </a:moveTo>
                  <a:lnTo>
                    <a:pt x="408842" y="123971"/>
                  </a:lnTo>
                  <a:lnTo>
                    <a:pt x="408842" y="197826"/>
                  </a:lnTo>
                </a:path>
              </a:pathLst>
            </a:custGeom>
            <a:noFill/>
            <a:ln w="6594">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sz="1400" noProof="0"/>
            </a:p>
          </p:txBody>
        </p:sp>
      </p:grpSp>
      <p:sp>
        <p:nvSpPr>
          <p:cNvPr id="3" name="Arrow: Chevron 2">
            <a:extLst>
              <a:ext uri="{FF2B5EF4-FFF2-40B4-BE49-F238E27FC236}">
                <a16:creationId xmlns:a16="http://schemas.microsoft.com/office/drawing/2014/main" id="{08CF7E6C-7147-A72A-9DA3-74B5B1771182}"/>
              </a:ext>
            </a:extLst>
          </p:cNvPr>
          <p:cNvSpPr/>
          <p:nvPr/>
        </p:nvSpPr>
        <p:spPr>
          <a:xfrm>
            <a:off x="8113996"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19" name="Arrow: Chevron 18">
            <a:extLst>
              <a:ext uri="{FF2B5EF4-FFF2-40B4-BE49-F238E27FC236}">
                <a16:creationId xmlns:a16="http://schemas.microsoft.com/office/drawing/2014/main" id="{7E33ACB0-121F-111B-6A92-38EC9B271834}"/>
              </a:ext>
            </a:extLst>
          </p:cNvPr>
          <p:cNvSpPr/>
          <p:nvPr/>
        </p:nvSpPr>
        <p:spPr>
          <a:xfrm>
            <a:off x="9076754"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20" name="Arrow: Chevron 19">
            <a:extLst>
              <a:ext uri="{FF2B5EF4-FFF2-40B4-BE49-F238E27FC236}">
                <a16:creationId xmlns:a16="http://schemas.microsoft.com/office/drawing/2014/main" id="{7CA6BE62-9099-9173-3C1F-289567379CDD}"/>
              </a:ext>
            </a:extLst>
          </p:cNvPr>
          <p:cNvSpPr/>
          <p:nvPr/>
        </p:nvSpPr>
        <p:spPr>
          <a:xfrm>
            <a:off x="1003951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25" name="Arrow: Chevron 24">
            <a:extLst>
              <a:ext uri="{FF2B5EF4-FFF2-40B4-BE49-F238E27FC236}">
                <a16:creationId xmlns:a16="http://schemas.microsoft.com/office/drawing/2014/main" id="{F841E12E-F9CC-FE60-58CD-A00CB8A8ADA9}"/>
              </a:ext>
            </a:extLst>
          </p:cNvPr>
          <p:cNvSpPr/>
          <p:nvPr/>
        </p:nvSpPr>
        <p:spPr>
          <a:xfrm>
            <a:off x="10999632"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39122514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57627F-2A42-48CB-2243-F1615467460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B2A0297-9EF9-3F7B-F98E-FCBA6CE05ACD}"/>
              </a:ext>
            </a:extLst>
          </p:cNvPr>
          <p:cNvGraphicFramePr>
            <a:graphicFrameLocks noChangeAspect="1"/>
          </p:cNvGraphicFramePr>
          <p:nvPr>
            <p:custDataLst>
              <p:tags r:id="rId1"/>
            </p:custDataLst>
            <p:extLst>
              <p:ext uri="{D42A27DB-BD31-4B8C-83A1-F6EECF244321}">
                <p14:modId xmlns:p14="http://schemas.microsoft.com/office/powerpoint/2010/main" val="3155611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BB2A0297-9EF9-3F7B-F98E-FCBA6CE05A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3F43E43-FBC1-AA34-3EEF-93B656DA04EC}"/>
              </a:ext>
            </a:extLst>
          </p:cNvPr>
          <p:cNvSpPr>
            <a:spLocks noGrp="1"/>
          </p:cNvSpPr>
          <p:nvPr>
            <p:ph type="title"/>
          </p:nvPr>
        </p:nvSpPr>
        <p:spPr/>
        <p:txBody>
          <a:bodyPr vert="horz"/>
          <a:lstStyle/>
          <a:p>
            <a:r>
              <a:rPr lang="en-GB" b="1" noProof="0"/>
              <a:t>Table of Contents</a:t>
            </a:r>
          </a:p>
        </p:txBody>
      </p:sp>
      <p:sp>
        <p:nvSpPr>
          <p:cNvPr id="18" name="TextBox 17">
            <a:extLst>
              <a:ext uri="{FF2B5EF4-FFF2-40B4-BE49-F238E27FC236}">
                <a16:creationId xmlns:a16="http://schemas.microsoft.com/office/drawing/2014/main" id="{D55906D9-CA06-342A-88D4-2AAA55B5948F}"/>
              </a:ext>
            </a:extLst>
          </p:cNvPr>
          <p:cNvSpPr txBox="1"/>
          <p:nvPr/>
        </p:nvSpPr>
        <p:spPr>
          <a:xfrm>
            <a:off x="956733" y="1151467"/>
            <a:ext cx="10253134" cy="4832092"/>
          </a:xfrm>
          <a:prstGeom prst="rect">
            <a:avLst/>
          </a:prstGeom>
          <a:noFill/>
        </p:spPr>
        <p:txBody>
          <a:bodyPr wrap="square" rtlCol="0">
            <a:spAutoFit/>
          </a:bodyPr>
          <a:lstStyle/>
          <a:p>
            <a:pPr lvl="0" eaLnBrk="0" fontAlgn="base" hangingPunct="0">
              <a:spcBef>
                <a:spcPct val="0"/>
              </a:spcBef>
              <a:spcAft>
                <a:spcPct val="0"/>
              </a:spcAft>
              <a:buFontTx/>
              <a:buAutoNum type="arabicPeriod"/>
            </a:pPr>
            <a:r>
              <a:rPr kumimoji="0" lang="en-GB" sz="1400" b="1" i="0" u="none" strike="noStrike" cap="none" normalizeH="0" baseline="0" noProof="0">
                <a:ln>
                  <a:noFill/>
                </a:ln>
                <a:effectLst/>
                <a:latin typeface="Avenir Next LT Pro" panose="020B0504020202020204" pitchFamily="34" charset="0"/>
              </a:rPr>
              <a:t> Value Proposition - What It Is and Why It Is Important</a:t>
            </a:r>
          </a:p>
          <a:p>
            <a:pPr marL="228600" lvl="0" indent="-228600" eaLnBrk="0" fontAlgn="base" hangingPunct="0">
              <a:spcBef>
                <a:spcPct val="0"/>
              </a:spcBef>
              <a:spcAft>
                <a:spcPct val="0"/>
              </a:spcAft>
              <a:buFont typeface="+mj-lt"/>
              <a:buAutoNum type="arabicPeriod"/>
            </a:pPr>
            <a:r>
              <a:rPr kumimoji="0" lang="en-GB" sz="1400" b="1" i="0" u="none" strike="noStrike" cap="none" normalizeH="0" baseline="0" noProof="0">
                <a:ln>
                  <a:noFill/>
                </a:ln>
                <a:effectLst/>
                <a:latin typeface="Avenir Next LT Pro" panose="020B0504020202020204" pitchFamily="34" charset="0"/>
              </a:rPr>
              <a:t>Key Strategic Choices</a:t>
            </a:r>
          </a:p>
          <a:p>
            <a:pPr marL="685800" lvl="1" indent="-228600" eaLnBrk="0" fontAlgn="base" hangingPunct="0">
              <a:spcBef>
                <a:spcPct val="0"/>
              </a:spcBef>
              <a:spcAft>
                <a:spcPct val="0"/>
              </a:spcAft>
              <a:buFont typeface="+mj-lt"/>
              <a:buAutoNum type="arabicPeriod"/>
            </a:pPr>
            <a:r>
              <a:rPr kumimoji="0" lang="en-GB" sz="1400" b="0" i="0" u="none" strike="noStrike" cap="none" normalizeH="0" baseline="0" noProof="0">
                <a:ln>
                  <a:noFill/>
                </a:ln>
                <a:effectLst/>
                <a:latin typeface="Avenir Next LT Pro" panose="020B0504020202020204" pitchFamily="34" charset="0"/>
              </a:rPr>
              <a:t>Choice of Strategic Positioning</a:t>
            </a:r>
          </a:p>
          <a:p>
            <a:pPr marL="1143000" lvl="2" indent="-228600" eaLnBrk="0" fontAlgn="base" hangingPunct="0">
              <a:spcBef>
                <a:spcPct val="0"/>
              </a:spcBef>
              <a:spcAft>
                <a:spcPct val="0"/>
              </a:spcAft>
              <a:buFont typeface="+mj-lt"/>
              <a:buAutoNum type="arabicPeriod"/>
            </a:pPr>
            <a:r>
              <a:rPr kumimoji="0" lang="en-GB" sz="1400" b="0" i="0" u="none" strike="noStrike" cap="none" normalizeH="0" baseline="0" noProof="0">
                <a:ln>
                  <a:noFill/>
                </a:ln>
                <a:effectLst/>
                <a:latin typeface="Avenir Next LT Pro" panose="020B0504020202020204" pitchFamily="34" charset="0"/>
              </a:rPr>
              <a:t>Choice of Generic Positioning</a:t>
            </a:r>
          </a:p>
          <a:p>
            <a:pPr marL="1143000" lvl="2" indent="-228600" eaLnBrk="0" fontAlgn="base" hangingPunct="0">
              <a:spcBef>
                <a:spcPct val="0"/>
              </a:spcBef>
              <a:spcAft>
                <a:spcPct val="0"/>
              </a:spcAft>
              <a:buFont typeface="+mj-lt"/>
              <a:buAutoNum type="arabicPeriod"/>
            </a:pPr>
            <a:r>
              <a:rPr kumimoji="0" lang="en-GB" sz="1400" b="0" i="0" u="none" strike="noStrike" cap="none" normalizeH="0" baseline="0" noProof="0">
                <a:ln>
                  <a:noFill/>
                </a:ln>
                <a:effectLst/>
                <a:latin typeface="Avenir Next LT Pro" panose="020B0504020202020204" pitchFamily="34" charset="0"/>
              </a:rPr>
              <a:t>Choice of Positioning Archetype</a:t>
            </a:r>
          </a:p>
          <a:p>
            <a:pPr marL="685800" lvl="1" indent="-228600" eaLnBrk="0" fontAlgn="base" hangingPunct="0">
              <a:spcBef>
                <a:spcPct val="0"/>
              </a:spcBef>
              <a:spcAft>
                <a:spcPct val="0"/>
              </a:spcAft>
              <a:buFont typeface="+mj-lt"/>
              <a:buAutoNum type="arabicPeriod"/>
            </a:pPr>
            <a:r>
              <a:rPr kumimoji="0" lang="en-GB" sz="1400" b="0" i="0" u="none" strike="noStrike" cap="none" normalizeH="0" baseline="0" noProof="0">
                <a:ln>
                  <a:noFill/>
                </a:ln>
                <a:effectLst/>
                <a:latin typeface="Avenir Next LT Pro" panose="020B0504020202020204" pitchFamily="34" charset="0"/>
              </a:rPr>
              <a:t>Choice of Segmentation of Value Propositions</a:t>
            </a:r>
          </a:p>
          <a:p>
            <a:pPr marL="685800" lvl="1" indent="-228600" eaLnBrk="0" fontAlgn="base" hangingPunct="0">
              <a:spcBef>
                <a:spcPct val="0"/>
              </a:spcBef>
              <a:spcAft>
                <a:spcPct val="0"/>
              </a:spcAft>
              <a:buFont typeface="+mj-lt"/>
              <a:buAutoNum type="arabicPeriod"/>
            </a:pPr>
            <a:r>
              <a:rPr kumimoji="0" lang="en-GB" sz="1400" b="0" i="0" u="none" strike="noStrike" cap="none" normalizeH="0" baseline="0" noProof="0">
                <a:ln>
                  <a:noFill/>
                </a:ln>
                <a:effectLst/>
                <a:latin typeface="Avenir Next LT Pro" panose="020B0504020202020204" pitchFamily="34" charset="0"/>
              </a:rPr>
              <a:t>Design/Enhancement Choices for each Value Proposition</a:t>
            </a:r>
          </a:p>
          <a:p>
            <a:pPr marL="1143000" lvl="2" indent="-228600" eaLnBrk="0" fontAlgn="base" hangingPunct="0">
              <a:spcBef>
                <a:spcPct val="0"/>
              </a:spcBef>
              <a:spcAft>
                <a:spcPct val="0"/>
              </a:spcAft>
              <a:buFont typeface="+mj-lt"/>
              <a:buAutoNum type="arabicPeriod"/>
            </a:pPr>
            <a:r>
              <a:rPr lang="en-GB" sz="1400" noProof="0">
                <a:latin typeface="Avenir Next LT Pro" panose="020B0504020202020204" pitchFamily="34" charset="0"/>
              </a:rPr>
              <a:t>Selection of Value Attributes to Focus On</a:t>
            </a:r>
          </a:p>
          <a:p>
            <a:pPr marL="1143000" lvl="2" indent="-228600" eaLnBrk="0" fontAlgn="base" hangingPunct="0">
              <a:spcBef>
                <a:spcPct val="0"/>
              </a:spcBef>
              <a:spcAft>
                <a:spcPct val="0"/>
              </a:spcAft>
              <a:buFont typeface="+mj-lt"/>
              <a:buAutoNum type="arabicPeriod"/>
            </a:pPr>
            <a:r>
              <a:rPr kumimoji="0" lang="en-GB" sz="1400" b="0" i="0" u="none" strike="noStrike" cap="none" normalizeH="0" baseline="0" noProof="0">
                <a:ln>
                  <a:noFill/>
                </a:ln>
                <a:effectLst/>
                <a:latin typeface="Avenir Next LT Pro" panose="020B0504020202020204" pitchFamily="34" charset="0"/>
              </a:rPr>
              <a:t>Choice of Competitive Benchmarks</a:t>
            </a:r>
          </a:p>
          <a:p>
            <a:pPr marL="1143000" lvl="2" indent="-228600" eaLnBrk="0" fontAlgn="base" hangingPunct="0">
              <a:spcBef>
                <a:spcPct val="0"/>
              </a:spcBef>
              <a:spcAft>
                <a:spcPct val="0"/>
              </a:spcAft>
              <a:buFont typeface="+mj-lt"/>
              <a:buAutoNum type="arabicPeriod"/>
            </a:pPr>
            <a:r>
              <a:rPr lang="en-GB" sz="1400" noProof="0">
                <a:latin typeface="Avenir Next LT Pro" panose="020B0504020202020204" pitchFamily="34" charset="0"/>
              </a:rPr>
              <a:t>Value Innovation Design</a:t>
            </a:r>
          </a:p>
          <a:p>
            <a:pPr marL="1143000" lvl="2" indent="-228600" eaLnBrk="0" fontAlgn="base" hangingPunct="0">
              <a:spcBef>
                <a:spcPct val="0"/>
              </a:spcBef>
              <a:spcAft>
                <a:spcPct val="0"/>
              </a:spcAft>
              <a:buFont typeface="+mj-lt"/>
              <a:buAutoNum type="arabicPeriod"/>
            </a:pPr>
            <a:r>
              <a:rPr kumimoji="0" lang="en-GB" sz="1400" b="0" i="0" u="none" strike="noStrike" cap="none" normalizeH="0" baseline="0" noProof="0">
                <a:ln>
                  <a:noFill/>
                </a:ln>
                <a:effectLst/>
                <a:latin typeface="Avenir Next LT Pro" panose="020B0504020202020204" pitchFamily="34" charset="0"/>
              </a:rPr>
              <a:t>Strategic Pricing</a:t>
            </a:r>
          </a:p>
          <a:p>
            <a:pPr marL="228600" lvl="0" indent="-228600" eaLnBrk="0" fontAlgn="base" hangingPunct="0">
              <a:spcBef>
                <a:spcPct val="0"/>
              </a:spcBef>
              <a:spcAft>
                <a:spcPct val="0"/>
              </a:spcAft>
              <a:buFont typeface="+mj-lt"/>
              <a:buAutoNum type="arabicPeriod"/>
            </a:pPr>
            <a:r>
              <a:rPr kumimoji="0" lang="en-GB" sz="1400" b="1" i="0" u="none" strike="noStrike" cap="none" normalizeH="0" baseline="0" noProof="0">
                <a:ln>
                  <a:noFill/>
                </a:ln>
                <a:effectLst/>
                <a:latin typeface="Avenir Next LT Pro" panose="020B0504020202020204" pitchFamily="34" charset="0"/>
              </a:rPr>
              <a:t>Diagnostic Questions</a:t>
            </a:r>
          </a:p>
          <a:p>
            <a:pPr marL="685800" lvl="1" indent="-228600" eaLnBrk="0" fontAlgn="base" hangingPunct="0">
              <a:spcBef>
                <a:spcPct val="0"/>
              </a:spcBef>
              <a:spcAft>
                <a:spcPct val="0"/>
              </a:spcAft>
              <a:buFont typeface="+mj-lt"/>
              <a:buAutoNum type="arabicPeriod"/>
            </a:pPr>
            <a:r>
              <a:rPr lang="en-GB" sz="1400" noProof="0">
                <a:latin typeface="Avenir Next LT Pro" panose="020B0504020202020204" pitchFamily="34" charset="0"/>
              </a:rPr>
              <a:t>What is our current strategic positioning?</a:t>
            </a:r>
          </a:p>
          <a:p>
            <a:pPr marL="685800" lvl="1" indent="-228600" eaLnBrk="0" fontAlgn="base" hangingPunct="0">
              <a:spcBef>
                <a:spcPct val="0"/>
              </a:spcBef>
              <a:spcAft>
                <a:spcPct val="0"/>
              </a:spcAft>
              <a:buFont typeface="+mj-lt"/>
              <a:buAutoNum type="arabicPeriod"/>
            </a:pPr>
            <a:r>
              <a:rPr kumimoji="0" lang="en-GB" sz="1400" b="0" i="0" u="none" strike="noStrike" cap="none" normalizeH="0" baseline="0" noProof="0">
                <a:ln>
                  <a:noFill/>
                </a:ln>
                <a:effectLst/>
                <a:latin typeface="Avenir Next LT Pro" panose="020B0504020202020204" pitchFamily="34" charset="0"/>
              </a:rPr>
              <a:t>What is o</a:t>
            </a:r>
            <a:r>
              <a:rPr lang="en-GB" sz="1400" noProof="0">
                <a:latin typeface="Avenir Next LT Pro" panose="020B0504020202020204" pitchFamily="34" charset="0"/>
              </a:rPr>
              <a:t>ur current segmentation of Value Propositions?</a:t>
            </a:r>
          </a:p>
          <a:p>
            <a:pPr marL="685800" lvl="1" indent="-228600" eaLnBrk="0" fontAlgn="base" hangingPunct="0">
              <a:spcBef>
                <a:spcPct val="0"/>
              </a:spcBef>
              <a:spcAft>
                <a:spcPct val="0"/>
              </a:spcAft>
              <a:buFont typeface="+mj-lt"/>
              <a:buAutoNum type="arabicPeriod"/>
            </a:pPr>
            <a:r>
              <a:rPr kumimoji="0" lang="en-GB" sz="1400" b="0" i="0" u="none" strike="noStrike" cap="none" normalizeH="0" baseline="0" noProof="0">
                <a:ln>
                  <a:noFill/>
                </a:ln>
                <a:effectLst/>
                <a:latin typeface="Avenir Next LT Pro" panose="020B0504020202020204" pitchFamily="34" charset="0"/>
              </a:rPr>
              <a:t>How do our </a:t>
            </a:r>
            <a:r>
              <a:rPr lang="en-GB" sz="1400" noProof="0">
                <a:latin typeface="Avenir Next LT Pro" panose="020B0504020202020204" pitchFamily="34" charset="0"/>
              </a:rPr>
              <a:t>Value Propositions compare with our most significant competitors – what sets us apart?</a:t>
            </a:r>
          </a:p>
          <a:p>
            <a:pPr marL="685800" lvl="1" indent="-228600" eaLnBrk="0" fontAlgn="base" hangingPunct="0">
              <a:spcBef>
                <a:spcPct val="0"/>
              </a:spcBef>
              <a:spcAft>
                <a:spcPct val="0"/>
              </a:spcAft>
              <a:buFont typeface="+mj-lt"/>
              <a:buAutoNum type="arabicPeriod"/>
            </a:pPr>
            <a:r>
              <a:rPr kumimoji="0" lang="en-GB" sz="1400" b="0" i="0" u="none" strike="noStrike" cap="none" normalizeH="0" baseline="0" noProof="0">
                <a:ln>
                  <a:noFill/>
                </a:ln>
                <a:effectLst/>
                <a:latin typeface="Avenir Next LT Pro" panose="020B0504020202020204" pitchFamily="34" charset="0"/>
              </a:rPr>
              <a:t>Diagnostic Pitfalls to Avoid</a:t>
            </a:r>
          </a:p>
          <a:p>
            <a:pPr marL="228600" lvl="0" indent="-228600" eaLnBrk="0" fontAlgn="base" hangingPunct="0">
              <a:spcBef>
                <a:spcPct val="0"/>
              </a:spcBef>
              <a:spcAft>
                <a:spcPct val="0"/>
              </a:spcAft>
              <a:buFont typeface="+mj-lt"/>
              <a:buAutoNum type="arabicPeriod"/>
            </a:pPr>
            <a:r>
              <a:rPr kumimoji="0" lang="en-GB" sz="1400" b="1" i="0" u="none" strike="noStrike" cap="none" normalizeH="0" baseline="0" noProof="0">
                <a:ln>
                  <a:noFill/>
                </a:ln>
                <a:effectLst/>
                <a:latin typeface="Avenir Next LT Pro" panose="020B0504020202020204" pitchFamily="34" charset="0"/>
              </a:rPr>
              <a:t>Key Concepts and Frameworks underpinning the Value Proposition</a:t>
            </a:r>
          </a:p>
          <a:p>
            <a:pPr marL="685800" lvl="1" indent="-228600" eaLnBrk="0" fontAlgn="base" hangingPunct="0">
              <a:spcBef>
                <a:spcPct val="0"/>
              </a:spcBef>
              <a:spcAft>
                <a:spcPct val="0"/>
              </a:spcAft>
              <a:buFont typeface="+mj-lt"/>
              <a:buAutoNum type="arabicPeriod"/>
            </a:pPr>
            <a:r>
              <a:rPr kumimoji="0" lang="en-GB" sz="1400" b="0" i="0" u="none" strike="noStrike" cap="none" normalizeH="0" baseline="0" noProof="0">
                <a:ln>
                  <a:noFill/>
                </a:ln>
                <a:effectLst/>
                <a:latin typeface="Avenir Next LT Pro" panose="020B0504020202020204" pitchFamily="34" charset="0"/>
              </a:rPr>
              <a:t>The Value Stick Framework</a:t>
            </a:r>
          </a:p>
          <a:p>
            <a:pPr marL="685800" lvl="1" indent="-228600" eaLnBrk="0" fontAlgn="base" hangingPunct="0">
              <a:spcBef>
                <a:spcPct val="0"/>
              </a:spcBef>
              <a:spcAft>
                <a:spcPct val="0"/>
              </a:spcAft>
              <a:buFont typeface="+mj-lt"/>
              <a:buAutoNum type="arabicPeriod"/>
            </a:pPr>
            <a:r>
              <a:rPr lang="en-GB" sz="1400" noProof="0">
                <a:latin typeface="Avenir Next LT Pro" panose="020B0504020202020204" pitchFamily="34" charset="0"/>
              </a:rPr>
              <a:t>The Elements of Value Framework</a:t>
            </a:r>
          </a:p>
          <a:p>
            <a:pPr marL="685800" lvl="1" indent="-228600" eaLnBrk="0" fontAlgn="base" hangingPunct="0">
              <a:spcBef>
                <a:spcPct val="0"/>
              </a:spcBef>
              <a:spcAft>
                <a:spcPct val="0"/>
              </a:spcAft>
              <a:buFont typeface="+mj-lt"/>
              <a:buAutoNum type="arabicPeriod"/>
            </a:pPr>
            <a:r>
              <a:rPr kumimoji="0" lang="en-GB" sz="1400" b="0" i="0" u="none" strike="noStrike" cap="none" normalizeH="0" baseline="0" noProof="0">
                <a:ln>
                  <a:noFill/>
                </a:ln>
                <a:effectLst/>
                <a:latin typeface="Avenir Next LT Pro" panose="020B0504020202020204" pitchFamily="34" charset="0"/>
              </a:rPr>
              <a:t>The Three Value Disciplines Framework</a:t>
            </a:r>
          </a:p>
          <a:p>
            <a:pPr marL="685800" lvl="1" indent="-228600" eaLnBrk="0" fontAlgn="base" hangingPunct="0">
              <a:spcBef>
                <a:spcPct val="0"/>
              </a:spcBef>
              <a:spcAft>
                <a:spcPct val="0"/>
              </a:spcAft>
              <a:buFont typeface="+mj-lt"/>
              <a:buAutoNum type="arabicPeriod"/>
            </a:pPr>
            <a:r>
              <a:rPr lang="en-GB" sz="1400" noProof="0">
                <a:latin typeface="Avenir Next LT Pro" panose="020B0504020202020204" pitchFamily="34" charset="0"/>
              </a:rPr>
              <a:t>The Jobs To Be Done Framework</a:t>
            </a:r>
          </a:p>
          <a:p>
            <a:pPr marL="685800" lvl="1" indent="-228600" eaLnBrk="0" fontAlgn="base" hangingPunct="0">
              <a:spcBef>
                <a:spcPct val="0"/>
              </a:spcBef>
              <a:spcAft>
                <a:spcPct val="0"/>
              </a:spcAft>
              <a:buFont typeface="+mj-lt"/>
              <a:buAutoNum type="arabicPeriod"/>
            </a:pPr>
            <a:r>
              <a:rPr kumimoji="0" lang="en-GB" sz="1400" b="0" i="0" u="none" strike="noStrike" cap="none" normalizeH="0" baseline="0" noProof="0">
                <a:ln>
                  <a:noFill/>
                </a:ln>
                <a:effectLst/>
                <a:latin typeface="Avenir Next LT Pro" panose="020B0504020202020204" pitchFamily="34" charset="0"/>
              </a:rPr>
              <a:t>The Four Actions Framework</a:t>
            </a:r>
          </a:p>
        </p:txBody>
      </p:sp>
      <p:sp>
        <p:nvSpPr>
          <p:cNvPr id="20" name="Arrow: Chevron 19">
            <a:extLst>
              <a:ext uri="{FF2B5EF4-FFF2-40B4-BE49-F238E27FC236}">
                <a16:creationId xmlns:a16="http://schemas.microsoft.com/office/drawing/2014/main" id="{DADBEA66-02CB-CCD6-94EC-59A4F70D40CB}"/>
              </a:ext>
            </a:extLst>
          </p:cNvPr>
          <p:cNvSpPr/>
          <p:nvPr/>
        </p:nvSpPr>
        <p:spPr>
          <a:xfrm>
            <a:off x="8134317"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21" name="Arrow: Chevron 20">
            <a:extLst>
              <a:ext uri="{FF2B5EF4-FFF2-40B4-BE49-F238E27FC236}">
                <a16:creationId xmlns:a16="http://schemas.microsoft.com/office/drawing/2014/main" id="{26198737-8EFB-A057-1F2C-C0A6FF5E9808}"/>
              </a:ext>
            </a:extLst>
          </p:cNvPr>
          <p:cNvSpPr/>
          <p:nvPr/>
        </p:nvSpPr>
        <p:spPr>
          <a:xfrm>
            <a:off x="9097075"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22" name="Arrow: Chevron 21">
            <a:extLst>
              <a:ext uri="{FF2B5EF4-FFF2-40B4-BE49-F238E27FC236}">
                <a16:creationId xmlns:a16="http://schemas.microsoft.com/office/drawing/2014/main" id="{098EF744-2950-3EEB-AE54-D670AD607B59}"/>
              </a:ext>
            </a:extLst>
          </p:cNvPr>
          <p:cNvSpPr/>
          <p:nvPr/>
        </p:nvSpPr>
        <p:spPr>
          <a:xfrm>
            <a:off x="10059833"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24" name="Arrow: Chevron 23">
            <a:extLst>
              <a:ext uri="{FF2B5EF4-FFF2-40B4-BE49-F238E27FC236}">
                <a16:creationId xmlns:a16="http://schemas.microsoft.com/office/drawing/2014/main" id="{BEB7A3F5-DF1A-26C5-DAE1-10D251BEC0CB}"/>
              </a:ext>
            </a:extLst>
          </p:cNvPr>
          <p:cNvSpPr/>
          <p:nvPr/>
        </p:nvSpPr>
        <p:spPr>
          <a:xfrm>
            <a:off x="10999632"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16042885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87B908-E590-812F-C25C-F5CE10B860D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E187B0D-FF12-2F3B-D927-91ECCCA9A7E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8" progId="TCLayout.ActiveDocument.1">
                  <p:embed/>
                </p:oleObj>
              </mc:Choice>
              <mc:Fallback>
                <p:oleObj name="think-cell Slide" r:id="rId5" imgW="426" imgH="428" progId="TCLayout.ActiveDocument.1">
                  <p:embed/>
                  <p:pic>
                    <p:nvPicPr>
                      <p:cNvPr id="4" name="think-cell data - do not delete" hidden="1">
                        <a:extLst>
                          <a:ext uri="{FF2B5EF4-FFF2-40B4-BE49-F238E27FC236}">
                            <a16:creationId xmlns:a16="http://schemas.microsoft.com/office/drawing/2014/main" id="{FE187B0D-FF12-2F3B-D927-91ECCCA9A7E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104718785"/>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62A29-A73F-2F2F-40D6-35F7D208BAD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E225D20-A38B-D5A4-88C2-69A51FF8B712}"/>
              </a:ext>
            </a:extLst>
          </p:cNvPr>
          <p:cNvGraphicFramePr>
            <a:graphicFrameLocks noChangeAspect="1"/>
          </p:cNvGraphicFramePr>
          <p:nvPr>
            <p:custDataLst>
              <p:tags r:id="rId1"/>
            </p:custDataLst>
            <p:extLst>
              <p:ext uri="{D42A27DB-BD31-4B8C-83A1-F6EECF244321}">
                <p14:modId xmlns:p14="http://schemas.microsoft.com/office/powerpoint/2010/main" val="2574231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6E225D20-A38B-D5A4-88C2-69A51FF8B7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21E439-F149-27E1-9605-8A2384282463}"/>
              </a:ext>
            </a:extLst>
          </p:cNvPr>
          <p:cNvSpPr>
            <a:spLocks noGrp="1"/>
          </p:cNvSpPr>
          <p:nvPr>
            <p:ph type="title"/>
          </p:nvPr>
        </p:nvSpPr>
        <p:spPr>
          <a:xfrm>
            <a:off x="137786" y="125260"/>
            <a:ext cx="7888614" cy="806754"/>
          </a:xfrm>
        </p:spPr>
        <p:txBody>
          <a:bodyPr vert="horz"/>
          <a:lstStyle/>
          <a:p>
            <a:r>
              <a:rPr lang="en-GB" b="1" noProof="0"/>
              <a:t>What It Is &amp; Why It Is Important</a:t>
            </a:r>
          </a:p>
        </p:txBody>
      </p:sp>
      <p:sp>
        <p:nvSpPr>
          <p:cNvPr id="4" name="Arrow: Chevron 3">
            <a:extLst>
              <a:ext uri="{FF2B5EF4-FFF2-40B4-BE49-F238E27FC236}">
                <a16:creationId xmlns:a16="http://schemas.microsoft.com/office/drawing/2014/main" id="{EF1B93E4-196D-6B48-5D92-49A37E92C56F}"/>
              </a:ext>
            </a:extLst>
          </p:cNvPr>
          <p:cNvSpPr/>
          <p:nvPr/>
        </p:nvSpPr>
        <p:spPr>
          <a:xfrm>
            <a:off x="8117384"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5" name="Arrow: Chevron 4">
            <a:extLst>
              <a:ext uri="{FF2B5EF4-FFF2-40B4-BE49-F238E27FC236}">
                <a16:creationId xmlns:a16="http://schemas.microsoft.com/office/drawing/2014/main" id="{28032BB8-AA0D-CF8A-24F3-C498D7F55745}"/>
              </a:ext>
            </a:extLst>
          </p:cNvPr>
          <p:cNvSpPr/>
          <p:nvPr/>
        </p:nvSpPr>
        <p:spPr>
          <a:xfrm>
            <a:off x="908014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6" name="Arrow: Chevron 5">
            <a:extLst>
              <a:ext uri="{FF2B5EF4-FFF2-40B4-BE49-F238E27FC236}">
                <a16:creationId xmlns:a16="http://schemas.microsoft.com/office/drawing/2014/main" id="{D0D37932-561F-9A0D-6784-5725675062B9}"/>
              </a:ext>
            </a:extLst>
          </p:cNvPr>
          <p:cNvSpPr/>
          <p:nvPr/>
        </p:nvSpPr>
        <p:spPr>
          <a:xfrm>
            <a:off x="10042900"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9" name="Arrow: Chevron 8">
            <a:extLst>
              <a:ext uri="{FF2B5EF4-FFF2-40B4-BE49-F238E27FC236}">
                <a16:creationId xmlns:a16="http://schemas.microsoft.com/office/drawing/2014/main" id="{E3A76D93-8F86-F69F-3900-86B0A502E799}"/>
              </a:ext>
            </a:extLst>
          </p:cNvPr>
          <p:cNvSpPr/>
          <p:nvPr/>
        </p:nvSpPr>
        <p:spPr>
          <a:xfrm>
            <a:off x="1099963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
        <p:nvSpPr>
          <p:cNvPr id="48" name="Rectangle 47">
            <a:extLst>
              <a:ext uri="{FF2B5EF4-FFF2-40B4-BE49-F238E27FC236}">
                <a16:creationId xmlns:a16="http://schemas.microsoft.com/office/drawing/2014/main" id="{F59D1154-16B1-CE67-CC3C-522E0F0BEB45}"/>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The </a:t>
            </a:r>
            <a:r>
              <a:rPr lang="en-GB" sz="1200" b="1" noProof="0">
                <a:solidFill>
                  <a:schemeClr val="tx1"/>
                </a:solidFill>
                <a:latin typeface="Avenir Next LT Pro" panose="020B0504020202020204" pitchFamily="34" charset="0"/>
              </a:rPr>
              <a:t>Value Proposition </a:t>
            </a:r>
            <a:r>
              <a:rPr lang="en-GB" sz="1200" noProof="0">
                <a:solidFill>
                  <a:schemeClr val="tx1"/>
                </a:solidFill>
                <a:latin typeface="Avenir Next LT Pro" panose="020B0504020202020204" pitchFamily="34" charset="0"/>
              </a:rPr>
              <a:t>is the explicit promise an organisation makes to its customers about the specific and unique combination of benefits it will deliver and the relative price at which those benefits will be available.</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It </a:t>
            </a:r>
            <a:r>
              <a:rPr lang="en-GB" sz="1200" b="1" noProof="0">
                <a:solidFill>
                  <a:schemeClr val="tx1"/>
                </a:solidFill>
                <a:latin typeface="Avenir Next LT Pro" panose="020B0504020202020204" pitchFamily="34" charset="0"/>
              </a:rPr>
              <a:t>bridges the gap between</a:t>
            </a:r>
            <a:r>
              <a:rPr lang="en-GB" sz="1200" noProof="0">
                <a:solidFill>
                  <a:schemeClr val="tx1"/>
                </a:solidFill>
                <a:latin typeface="Avenir Next LT Pro" panose="020B0504020202020204" pitchFamily="34" charset="0"/>
              </a:rPr>
              <a:t> where you have chosen to compete – your </a:t>
            </a:r>
            <a:r>
              <a:rPr lang="en-GB" sz="1200" b="1" noProof="0">
                <a:solidFill>
                  <a:schemeClr val="tx1"/>
                </a:solidFill>
                <a:latin typeface="Avenir Next LT Pro" panose="020B0504020202020204" pitchFamily="34" charset="0"/>
              </a:rPr>
              <a:t>playing field </a:t>
            </a:r>
            <a:r>
              <a:rPr lang="en-GB" sz="1200" noProof="0">
                <a:solidFill>
                  <a:schemeClr val="tx1"/>
                </a:solidFill>
                <a:latin typeface="Avenir Next LT Pro" panose="020B0504020202020204" pitchFamily="34" charset="0"/>
              </a:rPr>
              <a:t>– and your internal capabilities, how you will organise to deliver results – your </a:t>
            </a:r>
            <a:r>
              <a:rPr lang="en-GB" sz="1200" b="1" noProof="0">
                <a:solidFill>
                  <a:schemeClr val="tx1"/>
                </a:solidFill>
                <a:latin typeface="Avenir Next LT Pro" panose="020B0504020202020204" pitchFamily="34" charset="0"/>
              </a:rPr>
              <a:t>operating model</a:t>
            </a:r>
            <a:r>
              <a:rPr lang="en-GB" sz="1200" noProof="0">
                <a:solidFill>
                  <a:schemeClr val="tx1"/>
                </a:solidFill>
                <a:latin typeface="Avenir Next LT Pro" panose="020B0504020202020204" pitchFamily="34" charset="0"/>
              </a:rPr>
              <a:t>.</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To thrive, organisations can either orchestrate multiple dimensions of value in ways that competitors find difficult to match or develop the dynamic ability to change and adapt their value proposition rapidly.</a:t>
            </a:r>
          </a:p>
        </p:txBody>
      </p:sp>
      <p:grpSp>
        <p:nvGrpSpPr>
          <p:cNvPr id="10" name="Group 9">
            <a:extLst>
              <a:ext uri="{FF2B5EF4-FFF2-40B4-BE49-F238E27FC236}">
                <a16:creationId xmlns:a16="http://schemas.microsoft.com/office/drawing/2014/main" id="{785DC92D-906C-EE48-EE27-BC6C97ACEB68}"/>
              </a:ext>
            </a:extLst>
          </p:cNvPr>
          <p:cNvGrpSpPr/>
          <p:nvPr/>
        </p:nvGrpSpPr>
        <p:grpSpPr>
          <a:xfrm>
            <a:off x="2622502" y="4329927"/>
            <a:ext cx="4148026" cy="1795218"/>
            <a:chOff x="2053347" y="3419917"/>
            <a:chExt cx="4148026" cy="1795218"/>
          </a:xfrm>
        </p:grpSpPr>
        <p:sp>
          <p:nvSpPr>
            <p:cNvPr id="36" name="Rounded Rectangle 1">
              <a:extLst>
                <a:ext uri="{FF2B5EF4-FFF2-40B4-BE49-F238E27FC236}">
                  <a16:creationId xmlns:a16="http://schemas.microsoft.com/office/drawing/2014/main" id="{265A93A2-0DA6-3E2B-D9EB-0D0249128C70}"/>
                </a:ext>
              </a:extLst>
            </p:cNvPr>
            <p:cNvSpPr/>
            <p:nvPr/>
          </p:nvSpPr>
          <p:spPr>
            <a:xfrm>
              <a:off x="2053347" y="3419917"/>
              <a:ext cx="4148026" cy="1795218"/>
            </a:xfrm>
            <a:custGeom>
              <a:avLst/>
              <a:gdLst/>
              <a:ahLst/>
              <a:cxnLst/>
              <a:rect l="0" t="0" r="0" b="0"/>
              <a:pathLst>
                <a:path w="4148026" h="1795218">
                  <a:moveTo>
                    <a:pt x="101597" y="220290"/>
                  </a:moveTo>
                  <a:cubicBezTo>
                    <a:pt x="84269" y="177631"/>
                    <a:pt x="67275" y="134249"/>
                    <a:pt x="50947" y="89964"/>
                  </a:cubicBezTo>
                  <a:cubicBezTo>
                    <a:pt x="43964" y="71099"/>
                    <a:pt x="25956" y="48442"/>
                    <a:pt x="0" y="23121"/>
                  </a:cubicBezTo>
                  <a:lnTo>
                    <a:pt x="4328" y="23114"/>
                  </a:lnTo>
                  <a:cubicBezTo>
                    <a:pt x="23121" y="23114"/>
                    <a:pt x="42043" y="17150"/>
                    <a:pt x="54984" y="5125"/>
                  </a:cubicBezTo>
                  <a:cubicBezTo>
                    <a:pt x="56736" y="3499"/>
                    <a:pt x="58358" y="1823"/>
                    <a:pt x="59853" y="0"/>
                  </a:cubicBezTo>
                  <a:cubicBezTo>
                    <a:pt x="61391" y="1823"/>
                    <a:pt x="63013" y="3499"/>
                    <a:pt x="64722" y="5125"/>
                  </a:cubicBezTo>
                  <a:cubicBezTo>
                    <a:pt x="77664" y="17101"/>
                    <a:pt x="96584" y="23114"/>
                    <a:pt x="115377" y="23114"/>
                  </a:cubicBezTo>
                  <a:cubicBezTo>
                    <a:pt x="134170" y="23114"/>
                    <a:pt x="153091" y="17150"/>
                    <a:pt x="166033" y="5125"/>
                  </a:cubicBezTo>
                  <a:cubicBezTo>
                    <a:pt x="167741" y="3499"/>
                    <a:pt x="169364" y="1823"/>
                    <a:pt x="170859" y="0"/>
                  </a:cubicBezTo>
                  <a:cubicBezTo>
                    <a:pt x="172397" y="1823"/>
                    <a:pt x="174019" y="3499"/>
                    <a:pt x="175727" y="5125"/>
                  </a:cubicBezTo>
                  <a:cubicBezTo>
                    <a:pt x="188670" y="17101"/>
                    <a:pt x="207590" y="23114"/>
                    <a:pt x="226383" y="23114"/>
                  </a:cubicBezTo>
                  <a:cubicBezTo>
                    <a:pt x="245176" y="23114"/>
                    <a:pt x="264097" y="17150"/>
                    <a:pt x="277039" y="5125"/>
                  </a:cubicBezTo>
                  <a:cubicBezTo>
                    <a:pt x="278747" y="3499"/>
                    <a:pt x="280369" y="1823"/>
                    <a:pt x="281864" y="0"/>
                  </a:cubicBezTo>
                  <a:cubicBezTo>
                    <a:pt x="283403" y="1823"/>
                    <a:pt x="285025" y="3499"/>
                    <a:pt x="286733" y="5125"/>
                  </a:cubicBezTo>
                  <a:cubicBezTo>
                    <a:pt x="299676" y="17101"/>
                    <a:pt x="318596" y="23114"/>
                    <a:pt x="337389" y="23114"/>
                  </a:cubicBezTo>
                  <a:cubicBezTo>
                    <a:pt x="356182" y="23114"/>
                    <a:pt x="375102" y="17150"/>
                    <a:pt x="388044" y="5125"/>
                  </a:cubicBezTo>
                  <a:cubicBezTo>
                    <a:pt x="389753" y="3499"/>
                    <a:pt x="391375" y="1823"/>
                    <a:pt x="392870" y="0"/>
                  </a:cubicBezTo>
                  <a:cubicBezTo>
                    <a:pt x="394408" y="1823"/>
                    <a:pt x="396031" y="3499"/>
                    <a:pt x="397739" y="5125"/>
                  </a:cubicBezTo>
                  <a:cubicBezTo>
                    <a:pt x="410681" y="17101"/>
                    <a:pt x="429602" y="23114"/>
                    <a:pt x="448395" y="23114"/>
                  </a:cubicBezTo>
                  <a:cubicBezTo>
                    <a:pt x="467188" y="23114"/>
                    <a:pt x="486108" y="17150"/>
                    <a:pt x="499050" y="5125"/>
                  </a:cubicBezTo>
                  <a:cubicBezTo>
                    <a:pt x="500759" y="3499"/>
                    <a:pt x="502381" y="1823"/>
                    <a:pt x="503876" y="0"/>
                  </a:cubicBezTo>
                  <a:cubicBezTo>
                    <a:pt x="505414" y="1823"/>
                    <a:pt x="507037" y="3499"/>
                    <a:pt x="508745" y="5125"/>
                  </a:cubicBezTo>
                  <a:cubicBezTo>
                    <a:pt x="521687" y="17101"/>
                    <a:pt x="540607" y="23114"/>
                    <a:pt x="559400" y="23114"/>
                  </a:cubicBezTo>
                  <a:cubicBezTo>
                    <a:pt x="578194" y="23114"/>
                    <a:pt x="597114" y="17150"/>
                    <a:pt x="610056" y="5125"/>
                  </a:cubicBezTo>
                  <a:cubicBezTo>
                    <a:pt x="611807" y="3499"/>
                    <a:pt x="613430" y="1823"/>
                    <a:pt x="614925" y="0"/>
                  </a:cubicBezTo>
                  <a:cubicBezTo>
                    <a:pt x="616420" y="1823"/>
                    <a:pt x="618042" y="3499"/>
                    <a:pt x="619751" y="5125"/>
                  </a:cubicBezTo>
                  <a:cubicBezTo>
                    <a:pt x="632693" y="17101"/>
                    <a:pt x="651571" y="23114"/>
                    <a:pt x="670406" y="23114"/>
                  </a:cubicBezTo>
                  <a:cubicBezTo>
                    <a:pt x="689241" y="23114"/>
                    <a:pt x="708120" y="17150"/>
                    <a:pt x="721062" y="5125"/>
                  </a:cubicBezTo>
                  <a:cubicBezTo>
                    <a:pt x="722813" y="3499"/>
                    <a:pt x="724436" y="1823"/>
                    <a:pt x="725931" y="0"/>
                  </a:cubicBezTo>
                  <a:cubicBezTo>
                    <a:pt x="727426" y="1823"/>
                    <a:pt x="729048" y="3499"/>
                    <a:pt x="730756" y="5125"/>
                  </a:cubicBezTo>
                  <a:cubicBezTo>
                    <a:pt x="743699" y="17101"/>
                    <a:pt x="762619" y="23114"/>
                    <a:pt x="781412" y="23114"/>
                  </a:cubicBezTo>
                  <a:cubicBezTo>
                    <a:pt x="800205" y="23114"/>
                    <a:pt x="819126" y="17150"/>
                    <a:pt x="832067" y="5125"/>
                  </a:cubicBezTo>
                  <a:cubicBezTo>
                    <a:pt x="833818" y="3499"/>
                    <a:pt x="835441" y="1823"/>
                    <a:pt x="836936" y="0"/>
                  </a:cubicBezTo>
                  <a:cubicBezTo>
                    <a:pt x="838473" y="1823"/>
                    <a:pt x="840097" y="3499"/>
                    <a:pt x="841805" y="5125"/>
                  </a:cubicBezTo>
                  <a:cubicBezTo>
                    <a:pt x="854746" y="17101"/>
                    <a:pt x="874189" y="23150"/>
                    <a:pt x="893024" y="23150"/>
                  </a:cubicBezTo>
                  <a:cubicBezTo>
                    <a:pt x="911817" y="23150"/>
                    <a:pt x="932389" y="17150"/>
                    <a:pt x="945330" y="5125"/>
                  </a:cubicBezTo>
                  <a:cubicBezTo>
                    <a:pt x="947081" y="3499"/>
                    <a:pt x="948704" y="1823"/>
                    <a:pt x="950199" y="0"/>
                  </a:cubicBezTo>
                  <a:cubicBezTo>
                    <a:pt x="951736" y="1823"/>
                    <a:pt x="953360" y="3499"/>
                    <a:pt x="955068" y="5125"/>
                  </a:cubicBezTo>
                  <a:cubicBezTo>
                    <a:pt x="968010" y="17101"/>
                    <a:pt x="986931" y="23114"/>
                    <a:pt x="1005723" y="23114"/>
                  </a:cubicBezTo>
                  <a:cubicBezTo>
                    <a:pt x="1024516" y="23114"/>
                    <a:pt x="1043437" y="17150"/>
                    <a:pt x="1056379" y="5125"/>
                  </a:cubicBezTo>
                  <a:cubicBezTo>
                    <a:pt x="1058130" y="3499"/>
                    <a:pt x="1059753" y="1823"/>
                    <a:pt x="1061248" y="0"/>
                  </a:cubicBezTo>
                  <a:cubicBezTo>
                    <a:pt x="1062786" y="1823"/>
                    <a:pt x="1064408" y="3499"/>
                    <a:pt x="1066116" y="5125"/>
                  </a:cubicBezTo>
                  <a:cubicBezTo>
                    <a:pt x="1079058" y="17101"/>
                    <a:pt x="1097979" y="23114"/>
                    <a:pt x="1116772" y="23114"/>
                  </a:cubicBezTo>
                  <a:cubicBezTo>
                    <a:pt x="1135565" y="23114"/>
                    <a:pt x="1154485" y="17150"/>
                    <a:pt x="1167427" y="5125"/>
                  </a:cubicBezTo>
                  <a:cubicBezTo>
                    <a:pt x="1169136" y="3499"/>
                    <a:pt x="1170758" y="1823"/>
                    <a:pt x="1172253" y="0"/>
                  </a:cubicBezTo>
                  <a:cubicBezTo>
                    <a:pt x="1173791" y="1823"/>
                    <a:pt x="1175413" y="3499"/>
                    <a:pt x="1177122" y="5125"/>
                  </a:cubicBezTo>
                  <a:cubicBezTo>
                    <a:pt x="1190064" y="17101"/>
                    <a:pt x="1208985" y="23114"/>
                    <a:pt x="1227778" y="23114"/>
                  </a:cubicBezTo>
                  <a:cubicBezTo>
                    <a:pt x="1246571" y="23114"/>
                    <a:pt x="1265491" y="17150"/>
                    <a:pt x="1278433" y="5125"/>
                  </a:cubicBezTo>
                  <a:cubicBezTo>
                    <a:pt x="1280142" y="3499"/>
                    <a:pt x="1281764" y="1823"/>
                    <a:pt x="1283259" y="0"/>
                  </a:cubicBezTo>
                  <a:cubicBezTo>
                    <a:pt x="1284797" y="1823"/>
                    <a:pt x="1286420" y="3499"/>
                    <a:pt x="1288128" y="5125"/>
                  </a:cubicBezTo>
                  <a:cubicBezTo>
                    <a:pt x="1301070" y="17101"/>
                    <a:pt x="1319990" y="23114"/>
                    <a:pt x="1338783" y="23114"/>
                  </a:cubicBezTo>
                  <a:cubicBezTo>
                    <a:pt x="1357576" y="23114"/>
                    <a:pt x="1376497" y="17150"/>
                    <a:pt x="1389439" y="5125"/>
                  </a:cubicBezTo>
                  <a:cubicBezTo>
                    <a:pt x="1391147" y="3499"/>
                    <a:pt x="1392770" y="1823"/>
                    <a:pt x="1394265" y="0"/>
                  </a:cubicBezTo>
                  <a:cubicBezTo>
                    <a:pt x="1395803" y="1823"/>
                    <a:pt x="1397425" y="3499"/>
                    <a:pt x="1399133" y="5125"/>
                  </a:cubicBezTo>
                  <a:cubicBezTo>
                    <a:pt x="1412076" y="17101"/>
                    <a:pt x="1430996" y="23114"/>
                    <a:pt x="1449789" y="23114"/>
                  </a:cubicBezTo>
                  <a:cubicBezTo>
                    <a:pt x="1468582" y="23114"/>
                    <a:pt x="1487502" y="17150"/>
                    <a:pt x="1500445" y="5125"/>
                  </a:cubicBezTo>
                  <a:cubicBezTo>
                    <a:pt x="1502153" y="3499"/>
                    <a:pt x="1503776" y="1823"/>
                    <a:pt x="1505271" y="0"/>
                  </a:cubicBezTo>
                  <a:cubicBezTo>
                    <a:pt x="1506809" y="1823"/>
                    <a:pt x="1508431" y="3499"/>
                    <a:pt x="1510139" y="5125"/>
                  </a:cubicBezTo>
                  <a:cubicBezTo>
                    <a:pt x="1523082" y="17101"/>
                    <a:pt x="1542002" y="23114"/>
                    <a:pt x="1560795" y="23114"/>
                  </a:cubicBezTo>
                  <a:cubicBezTo>
                    <a:pt x="1579588" y="23114"/>
                    <a:pt x="1598508" y="17150"/>
                    <a:pt x="1611450" y="5125"/>
                  </a:cubicBezTo>
                  <a:cubicBezTo>
                    <a:pt x="1613201" y="3499"/>
                    <a:pt x="1614825" y="1823"/>
                    <a:pt x="1616319" y="0"/>
                  </a:cubicBezTo>
                  <a:cubicBezTo>
                    <a:pt x="1617815" y="1823"/>
                    <a:pt x="1619437" y="3499"/>
                    <a:pt x="1621145" y="5125"/>
                  </a:cubicBezTo>
                  <a:cubicBezTo>
                    <a:pt x="1634087" y="17101"/>
                    <a:pt x="1652966" y="23114"/>
                    <a:pt x="1671801" y="23114"/>
                  </a:cubicBezTo>
                  <a:cubicBezTo>
                    <a:pt x="1690636" y="23114"/>
                    <a:pt x="1709514" y="17150"/>
                    <a:pt x="1722457" y="5125"/>
                  </a:cubicBezTo>
                  <a:cubicBezTo>
                    <a:pt x="1724207" y="3499"/>
                    <a:pt x="1725830" y="1823"/>
                    <a:pt x="1727325" y="0"/>
                  </a:cubicBezTo>
                  <a:cubicBezTo>
                    <a:pt x="1728820" y="1823"/>
                    <a:pt x="1730442" y="3499"/>
                    <a:pt x="1732151" y="5125"/>
                  </a:cubicBezTo>
                  <a:cubicBezTo>
                    <a:pt x="1745093" y="17101"/>
                    <a:pt x="1764014" y="23114"/>
                    <a:pt x="1782807" y="23114"/>
                  </a:cubicBezTo>
                  <a:cubicBezTo>
                    <a:pt x="1801600" y="23114"/>
                    <a:pt x="1820520" y="17150"/>
                    <a:pt x="1833462" y="5125"/>
                  </a:cubicBezTo>
                  <a:cubicBezTo>
                    <a:pt x="1835213" y="3499"/>
                    <a:pt x="1836836" y="1823"/>
                    <a:pt x="1838331" y="0"/>
                  </a:cubicBezTo>
                  <a:cubicBezTo>
                    <a:pt x="1839868" y="1823"/>
                    <a:pt x="1841491" y="3499"/>
                    <a:pt x="1843200" y="5125"/>
                  </a:cubicBezTo>
                  <a:cubicBezTo>
                    <a:pt x="1856141" y="17101"/>
                    <a:pt x="1875582" y="23150"/>
                    <a:pt x="1894417" y="23150"/>
                  </a:cubicBezTo>
                  <a:cubicBezTo>
                    <a:pt x="1913210" y="23150"/>
                    <a:pt x="1933781" y="17150"/>
                    <a:pt x="1946723" y="5125"/>
                  </a:cubicBezTo>
                  <a:cubicBezTo>
                    <a:pt x="1948473" y="3499"/>
                    <a:pt x="1950096" y="1823"/>
                    <a:pt x="1951591" y="0"/>
                  </a:cubicBezTo>
                  <a:cubicBezTo>
                    <a:pt x="1953129" y="1823"/>
                    <a:pt x="1954752" y="3499"/>
                    <a:pt x="1956460" y="5125"/>
                  </a:cubicBezTo>
                  <a:cubicBezTo>
                    <a:pt x="1969402" y="17101"/>
                    <a:pt x="1988323" y="23114"/>
                    <a:pt x="2007116" y="23114"/>
                  </a:cubicBezTo>
                  <a:cubicBezTo>
                    <a:pt x="2025908" y="23114"/>
                    <a:pt x="2044829" y="17150"/>
                    <a:pt x="2057770" y="5125"/>
                  </a:cubicBezTo>
                  <a:cubicBezTo>
                    <a:pt x="2059522" y="3499"/>
                    <a:pt x="2061145" y="1823"/>
                    <a:pt x="2062640" y="0"/>
                  </a:cubicBezTo>
                  <a:cubicBezTo>
                    <a:pt x="2064178" y="1823"/>
                    <a:pt x="2065801" y="3499"/>
                    <a:pt x="2067509" y="5125"/>
                  </a:cubicBezTo>
                  <a:cubicBezTo>
                    <a:pt x="2080451" y="17101"/>
                    <a:pt x="2099371" y="23114"/>
                    <a:pt x="2118164" y="23114"/>
                  </a:cubicBezTo>
                  <a:cubicBezTo>
                    <a:pt x="2136957" y="23114"/>
                    <a:pt x="2155878" y="17150"/>
                    <a:pt x="2168820" y="5125"/>
                  </a:cubicBezTo>
                  <a:cubicBezTo>
                    <a:pt x="2170528" y="3499"/>
                    <a:pt x="2172151" y="1823"/>
                    <a:pt x="2173645" y="0"/>
                  </a:cubicBezTo>
                  <a:cubicBezTo>
                    <a:pt x="2175183" y="1823"/>
                    <a:pt x="2176807" y="3499"/>
                    <a:pt x="2178515" y="5125"/>
                  </a:cubicBezTo>
                  <a:cubicBezTo>
                    <a:pt x="2191456" y="17101"/>
                    <a:pt x="2210377" y="23114"/>
                    <a:pt x="2229170" y="23114"/>
                  </a:cubicBezTo>
                  <a:cubicBezTo>
                    <a:pt x="2247963" y="23114"/>
                    <a:pt x="2266884" y="17150"/>
                    <a:pt x="2279825" y="5125"/>
                  </a:cubicBezTo>
                  <a:cubicBezTo>
                    <a:pt x="2281534" y="3499"/>
                    <a:pt x="2283157" y="1823"/>
                    <a:pt x="2284651" y="0"/>
                  </a:cubicBezTo>
                  <a:cubicBezTo>
                    <a:pt x="2286189" y="1823"/>
                    <a:pt x="2287812" y="3499"/>
                    <a:pt x="2289521" y="5125"/>
                  </a:cubicBezTo>
                  <a:cubicBezTo>
                    <a:pt x="2302462" y="17101"/>
                    <a:pt x="2321382" y="23114"/>
                    <a:pt x="2340175" y="23114"/>
                  </a:cubicBezTo>
                  <a:cubicBezTo>
                    <a:pt x="2358968" y="23114"/>
                    <a:pt x="2377890" y="17150"/>
                    <a:pt x="2390831" y="5125"/>
                  </a:cubicBezTo>
                  <a:cubicBezTo>
                    <a:pt x="2392540" y="3499"/>
                    <a:pt x="2394163" y="1823"/>
                    <a:pt x="2395657" y="0"/>
                  </a:cubicBezTo>
                  <a:cubicBezTo>
                    <a:pt x="2397195" y="1823"/>
                    <a:pt x="2398818" y="3499"/>
                    <a:pt x="2400526" y="5125"/>
                  </a:cubicBezTo>
                  <a:cubicBezTo>
                    <a:pt x="2413468" y="17101"/>
                    <a:pt x="2432388" y="23114"/>
                    <a:pt x="2451181" y="23114"/>
                  </a:cubicBezTo>
                  <a:cubicBezTo>
                    <a:pt x="2469974" y="23114"/>
                    <a:pt x="2488896" y="17150"/>
                    <a:pt x="2501837" y="5125"/>
                  </a:cubicBezTo>
                  <a:cubicBezTo>
                    <a:pt x="2503545" y="3499"/>
                    <a:pt x="2505169" y="1823"/>
                    <a:pt x="2506663" y="0"/>
                  </a:cubicBezTo>
                  <a:cubicBezTo>
                    <a:pt x="2508201" y="1823"/>
                    <a:pt x="2509824" y="3499"/>
                    <a:pt x="2511532" y="5125"/>
                  </a:cubicBezTo>
                  <a:cubicBezTo>
                    <a:pt x="2524473" y="17101"/>
                    <a:pt x="2543394" y="23114"/>
                    <a:pt x="2562187" y="23114"/>
                  </a:cubicBezTo>
                  <a:cubicBezTo>
                    <a:pt x="2580980" y="23114"/>
                    <a:pt x="2599901" y="17150"/>
                    <a:pt x="2612843" y="5125"/>
                  </a:cubicBezTo>
                  <a:cubicBezTo>
                    <a:pt x="2614593" y="3499"/>
                    <a:pt x="2616217" y="1823"/>
                    <a:pt x="2617711" y="0"/>
                  </a:cubicBezTo>
                  <a:cubicBezTo>
                    <a:pt x="2619207" y="1823"/>
                    <a:pt x="2620830" y="3499"/>
                    <a:pt x="2622538" y="5125"/>
                  </a:cubicBezTo>
                  <a:cubicBezTo>
                    <a:pt x="2635479" y="17101"/>
                    <a:pt x="2654358" y="23114"/>
                    <a:pt x="2673193" y="23114"/>
                  </a:cubicBezTo>
                  <a:cubicBezTo>
                    <a:pt x="2692029" y="23114"/>
                    <a:pt x="2710907" y="17150"/>
                    <a:pt x="2723849" y="5125"/>
                  </a:cubicBezTo>
                  <a:cubicBezTo>
                    <a:pt x="2725599" y="3499"/>
                    <a:pt x="2727222" y="1823"/>
                    <a:pt x="2728717" y="0"/>
                  </a:cubicBezTo>
                  <a:cubicBezTo>
                    <a:pt x="2730213" y="1823"/>
                    <a:pt x="2731836" y="3499"/>
                    <a:pt x="2733544" y="5125"/>
                  </a:cubicBezTo>
                  <a:cubicBezTo>
                    <a:pt x="2746486" y="17101"/>
                    <a:pt x="2765406" y="23114"/>
                    <a:pt x="2784199" y="23114"/>
                  </a:cubicBezTo>
                  <a:cubicBezTo>
                    <a:pt x="2802992" y="23114"/>
                    <a:pt x="2821913" y="17150"/>
                    <a:pt x="2834855" y="5125"/>
                  </a:cubicBezTo>
                  <a:cubicBezTo>
                    <a:pt x="2836605" y="3499"/>
                    <a:pt x="2838228" y="1823"/>
                    <a:pt x="2839724" y="0"/>
                  </a:cubicBezTo>
                  <a:cubicBezTo>
                    <a:pt x="2841261" y="1823"/>
                    <a:pt x="2842884" y="3499"/>
                    <a:pt x="2844592" y="5125"/>
                  </a:cubicBezTo>
                  <a:cubicBezTo>
                    <a:pt x="2857533" y="17101"/>
                    <a:pt x="2876974" y="23114"/>
                    <a:pt x="2895809" y="23114"/>
                  </a:cubicBezTo>
                  <a:cubicBezTo>
                    <a:pt x="2914602" y="23114"/>
                    <a:pt x="2933523" y="17150"/>
                    <a:pt x="2946465" y="5125"/>
                  </a:cubicBezTo>
                  <a:cubicBezTo>
                    <a:pt x="2948216" y="3499"/>
                    <a:pt x="2949838" y="1823"/>
                    <a:pt x="2951333" y="0"/>
                  </a:cubicBezTo>
                  <a:cubicBezTo>
                    <a:pt x="2952872" y="1823"/>
                    <a:pt x="2954494" y="3499"/>
                    <a:pt x="2956202" y="5125"/>
                  </a:cubicBezTo>
                  <a:cubicBezTo>
                    <a:pt x="2969145" y="17101"/>
                    <a:pt x="2988065" y="23114"/>
                    <a:pt x="3006858" y="23114"/>
                  </a:cubicBezTo>
                  <a:cubicBezTo>
                    <a:pt x="3025651" y="23114"/>
                    <a:pt x="3044572" y="17150"/>
                    <a:pt x="3057514" y="5125"/>
                  </a:cubicBezTo>
                  <a:cubicBezTo>
                    <a:pt x="3059223" y="3499"/>
                    <a:pt x="3060844" y="1823"/>
                    <a:pt x="3062339" y="0"/>
                  </a:cubicBezTo>
                  <a:cubicBezTo>
                    <a:pt x="3063878" y="1823"/>
                    <a:pt x="3065500" y="3499"/>
                    <a:pt x="3067208" y="5125"/>
                  </a:cubicBezTo>
                  <a:cubicBezTo>
                    <a:pt x="3080151" y="17101"/>
                    <a:pt x="3099071" y="23114"/>
                    <a:pt x="3117864" y="23114"/>
                  </a:cubicBezTo>
                  <a:cubicBezTo>
                    <a:pt x="3136657" y="23114"/>
                    <a:pt x="3155578" y="17150"/>
                    <a:pt x="3168520" y="5125"/>
                  </a:cubicBezTo>
                  <a:cubicBezTo>
                    <a:pt x="3170229" y="3499"/>
                    <a:pt x="3171850" y="1823"/>
                    <a:pt x="3173346" y="0"/>
                  </a:cubicBezTo>
                  <a:cubicBezTo>
                    <a:pt x="3174884" y="1823"/>
                    <a:pt x="3176506" y="3499"/>
                    <a:pt x="3178214" y="5125"/>
                  </a:cubicBezTo>
                  <a:cubicBezTo>
                    <a:pt x="3191157" y="17101"/>
                    <a:pt x="3210077" y="23114"/>
                    <a:pt x="3228870" y="23114"/>
                  </a:cubicBezTo>
                  <a:cubicBezTo>
                    <a:pt x="3247663" y="23114"/>
                    <a:pt x="3266584" y="17150"/>
                    <a:pt x="3279525" y="5125"/>
                  </a:cubicBezTo>
                  <a:cubicBezTo>
                    <a:pt x="3281234" y="3499"/>
                    <a:pt x="3282856" y="1823"/>
                    <a:pt x="3284352" y="0"/>
                  </a:cubicBezTo>
                  <a:cubicBezTo>
                    <a:pt x="3285890" y="1823"/>
                    <a:pt x="3287512" y="3499"/>
                    <a:pt x="3289220" y="5125"/>
                  </a:cubicBezTo>
                  <a:cubicBezTo>
                    <a:pt x="3302162" y="17101"/>
                    <a:pt x="3321083" y="23114"/>
                    <a:pt x="3339876" y="23114"/>
                  </a:cubicBezTo>
                  <a:cubicBezTo>
                    <a:pt x="3358669" y="23114"/>
                    <a:pt x="3377590" y="17150"/>
                    <a:pt x="3390531" y="5125"/>
                  </a:cubicBezTo>
                  <a:cubicBezTo>
                    <a:pt x="3392239" y="3499"/>
                    <a:pt x="3393862" y="1823"/>
                    <a:pt x="3395357" y="0"/>
                  </a:cubicBezTo>
                  <a:cubicBezTo>
                    <a:pt x="3396895" y="1823"/>
                    <a:pt x="3398518" y="3499"/>
                    <a:pt x="3400226" y="5125"/>
                  </a:cubicBezTo>
                  <a:cubicBezTo>
                    <a:pt x="3413168" y="17101"/>
                    <a:pt x="3432089" y="23114"/>
                    <a:pt x="3450882" y="23114"/>
                  </a:cubicBezTo>
                  <a:cubicBezTo>
                    <a:pt x="3469675" y="23114"/>
                    <a:pt x="3488596" y="17150"/>
                    <a:pt x="3501537" y="5125"/>
                  </a:cubicBezTo>
                  <a:cubicBezTo>
                    <a:pt x="3503288" y="3499"/>
                    <a:pt x="3504911" y="1823"/>
                    <a:pt x="3506406" y="0"/>
                  </a:cubicBezTo>
                  <a:cubicBezTo>
                    <a:pt x="3507901" y="1823"/>
                    <a:pt x="3509524" y="3499"/>
                    <a:pt x="3511232" y="5125"/>
                  </a:cubicBezTo>
                  <a:cubicBezTo>
                    <a:pt x="3524174" y="17101"/>
                    <a:pt x="3543052" y="23114"/>
                    <a:pt x="3561887" y="23114"/>
                  </a:cubicBezTo>
                  <a:cubicBezTo>
                    <a:pt x="3580723" y="23114"/>
                    <a:pt x="3599602" y="17150"/>
                    <a:pt x="3612543" y="5125"/>
                  </a:cubicBezTo>
                  <a:cubicBezTo>
                    <a:pt x="3614294" y="3499"/>
                    <a:pt x="3615917" y="1823"/>
                    <a:pt x="3617412" y="0"/>
                  </a:cubicBezTo>
                  <a:cubicBezTo>
                    <a:pt x="3618907" y="1823"/>
                    <a:pt x="3620530" y="3499"/>
                    <a:pt x="3622238" y="5125"/>
                  </a:cubicBezTo>
                  <a:cubicBezTo>
                    <a:pt x="3635180" y="17101"/>
                    <a:pt x="3654100" y="23114"/>
                    <a:pt x="3672893" y="23114"/>
                  </a:cubicBezTo>
                  <a:cubicBezTo>
                    <a:pt x="3691686" y="23114"/>
                    <a:pt x="3710607" y="17150"/>
                    <a:pt x="3723548" y="5125"/>
                  </a:cubicBezTo>
                  <a:cubicBezTo>
                    <a:pt x="3725299" y="3499"/>
                    <a:pt x="3726922" y="1823"/>
                    <a:pt x="3728417" y="0"/>
                  </a:cubicBezTo>
                  <a:cubicBezTo>
                    <a:pt x="3729954" y="1823"/>
                    <a:pt x="3731578" y="3499"/>
                    <a:pt x="3733286" y="5125"/>
                  </a:cubicBezTo>
                  <a:cubicBezTo>
                    <a:pt x="3746227" y="17101"/>
                    <a:pt x="3765670" y="23150"/>
                    <a:pt x="3784505" y="23150"/>
                  </a:cubicBezTo>
                  <a:cubicBezTo>
                    <a:pt x="3803298" y="23150"/>
                    <a:pt x="3823870" y="17150"/>
                    <a:pt x="3836811" y="5125"/>
                  </a:cubicBezTo>
                  <a:cubicBezTo>
                    <a:pt x="3838562" y="3499"/>
                    <a:pt x="3840185" y="1823"/>
                    <a:pt x="3841680" y="0"/>
                  </a:cubicBezTo>
                  <a:cubicBezTo>
                    <a:pt x="3843217" y="1823"/>
                    <a:pt x="3844840" y="3499"/>
                    <a:pt x="3846549" y="5125"/>
                  </a:cubicBezTo>
                  <a:cubicBezTo>
                    <a:pt x="3859490" y="17101"/>
                    <a:pt x="3878412" y="23114"/>
                    <a:pt x="3897204" y="23114"/>
                  </a:cubicBezTo>
                  <a:cubicBezTo>
                    <a:pt x="3915997" y="23114"/>
                    <a:pt x="3934918" y="17150"/>
                    <a:pt x="3947860" y="5125"/>
                  </a:cubicBezTo>
                  <a:cubicBezTo>
                    <a:pt x="3949611" y="3499"/>
                    <a:pt x="3951233" y="1823"/>
                    <a:pt x="3952729" y="0"/>
                  </a:cubicBezTo>
                  <a:cubicBezTo>
                    <a:pt x="3954266" y="1823"/>
                    <a:pt x="3955889" y="3499"/>
                    <a:pt x="3957597" y="5125"/>
                  </a:cubicBezTo>
                  <a:cubicBezTo>
                    <a:pt x="3970540" y="17101"/>
                    <a:pt x="3989460" y="23114"/>
                    <a:pt x="4008253" y="23114"/>
                  </a:cubicBezTo>
                  <a:cubicBezTo>
                    <a:pt x="4027046" y="23114"/>
                    <a:pt x="4045966" y="17150"/>
                    <a:pt x="4058908" y="5125"/>
                  </a:cubicBezTo>
                  <a:cubicBezTo>
                    <a:pt x="4060617" y="3499"/>
                    <a:pt x="4062239" y="1823"/>
                    <a:pt x="4063734" y="0"/>
                  </a:cubicBezTo>
                  <a:cubicBezTo>
                    <a:pt x="4065272" y="1823"/>
                    <a:pt x="4066895" y="3499"/>
                    <a:pt x="4068603" y="5125"/>
                  </a:cubicBezTo>
                  <a:cubicBezTo>
                    <a:pt x="4081545" y="17101"/>
                    <a:pt x="4100466" y="23114"/>
                    <a:pt x="4119259" y="23114"/>
                  </a:cubicBezTo>
                  <a:cubicBezTo>
                    <a:pt x="4128870" y="23114"/>
                    <a:pt x="4138489" y="21310"/>
                    <a:pt x="4148026" y="18911"/>
                  </a:cubicBezTo>
                  <a:cubicBezTo>
                    <a:pt x="4123859" y="89508"/>
                    <a:pt x="4107638" y="124537"/>
                    <a:pt x="4076114" y="202576"/>
                  </a:cubicBezTo>
                  <a:cubicBezTo>
                    <a:pt x="4062452" y="236558"/>
                    <a:pt x="4004303" y="273613"/>
                    <a:pt x="3989975" y="306510"/>
                  </a:cubicBezTo>
                  <a:cubicBezTo>
                    <a:pt x="3961484" y="371944"/>
                    <a:pt x="3950822" y="474794"/>
                    <a:pt x="3919166" y="537155"/>
                  </a:cubicBezTo>
                  <a:cubicBezTo>
                    <a:pt x="3887509" y="599516"/>
                    <a:pt x="3836193" y="619219"/>
                    <a:pt x="3802038" y="677241"/>
                  </a:cubicBezTo>
                  <a:cubicBezTo>
                    <a:pt x="3753388" y="760027"/>
                    <a:pt x="3677913" y="750809"/>
                    <a:pt x="3624764" y="824738"/>
                  </a:cubicBezTo>
                  <a:cubicBezTo>
                    <a:pt x="3590942" y="871554"/>
                    <a:pt x="3580946" y="1004229"/>
                    <a:pt x="3545458" y="1047430"/>
                  </a:cubicBezTo>
                  <a:cubicBezTo>
                    <a:pt x="3489310" y="1115755"/>
                    <a:pt x="3446991" y="1202880"/>
                    <a:pt x="3385844" y="1263072"/>
                  </a:cubicBezTo>
                  <a:cubicBezTo>
                    <a:pt x="3324698" y="1323264"/>
                    <a:pt x="3246724" y="1354534"/>
                    <a:pt x="3181745" y="1405327"/>
                  </a:cubicBezTo>
                  <a:cubicBezTo>
                    <a:pt x="3150922" y="1429368"/>
                    <a:pt x="3129095" y="1482149"/>
                    <a:pt x="3097438" y="1504020"/>
                  </a:cubicBezTo>
                  <a:cubicBezTo>
                    <a:pt x="3022797" y="1555897"/>
                    <a:pt x="2909335" y="1552824"/>
                    <a:pt x="2830361" y="1592409"/>
                  </a:cubicBezTo>
                  <a:cubicBezTo>
                    <a:pt x="2786209" y="1614642"/>
                    <a:pt x="2768714" y="1653866"/>
                    <a:pt x="2723397" y="1672123"/>
                  </a:cubicBezTo>
                  <a:cubicBezTo>
                    <a:pt x="2689575" y="1685860"/>
                    <a:pt x="2655419" y="1698332"/>
                    <a:pt x="2620931" y="1709901"/>
                  </a:cubicBezTo>
                  <a:cubicBezTo>
                    <a:pt x="2564283" y="1728699"/>
                    <a:pt x="2504968" y="1745148"/>
                    <a:pt x="2448987" y="1757621"/>
                  </a:cubicBezTo>
                  <a:cubicBezTo>
                    <a:pt x="2393006" y="1770093"/>
                    <a:pt x="2336357" y="1779853"/>
                    <a:pt x="2279043" y="1786722"/>
                  </a:cubicBezTo>
                  <a:cubicBezTo>
                    <a:pt x="2233891" y="1792145"/>
                    <a:pt x="2188407" y="1781119"/>
                    <a:pt x="2142589" y="1783107"/>
                  </a:cubicBezTo>
                  <a:cubicBezTo>
                    <a:pt x="2116431" y="1784373"/>
                    <a:pt x="2090272" y="1771539"/>
                    <a:pt x="2063948" y="1771539"/>
                  </a:cubicBezTo>
                  <a:cubicBezTo>
                    <a:pt x="1990972" y="1771539"/>
                    <a:pt x="1918829" y="1795218"/>
                    <a:pt x="1847520" y="1786542"/>
                  </a:cubicBezTo>
                  <a:cubicBezTo>
                    <a:pt x="1762714" y="1776238"/>
                    <a:pt x="1679075" y="1759789"/>
                    <a:pt x="1597103" y="1737195"/>
                  </a:cubicBezTo>
                  <a:cubicBezTo>
                    <a:pt x="1566946" y="1728880"/>
                    <a:pt x="1527459" y="1682064"/>
                    <a:pt x="1497636" y="1672123"/>
                  </a:cubicBezTo>
                  <a:cubicBezTo>
                    <a:pt x="1447985" y="1655493"/>
                    <a:pt x="1408664" y="1674473"/>
                    <a:pt x="1360347" y="1653505"/>
                  </a:cubicBezTo>
                  <a:cubicBezTo>
                    <a:pt x="1299034" y="1626934"/>
                    <a:pt x="1264046" y="1634345"/>
                    <a:pt x="1205065" y="1600544"/>
                  </a:cubicBezTo>
                  <a:cubicBezTo>
                    <a:pt x="1177241" y="1584637"/>
                    <a:pt x="1124592" y="1530230"/>
                    <a:pt x="1097267" y="1512696"/>
                  </a:cubicBezTo>
                  <a:cubicBezTo>
                    <a:pt x="1055115" y="1485763"/>
                    <a:pt x="1019793" y="1427018"/>
                    <a:pt x="979140" y="1396289"/>
                  </a:cubicBezTo>
                  <a:cubicBezTo>
                    <a:pt x="936154" y="1363754"/>
                    <a:pt x="887670" y="1358872"/>
                    <a:pt x="846184" y="1322179"/>
                  </a:cubicBezTo>
                  <a:cubicBezTo>
                    <a:pt x="811195" y="1291451"/>
                    <a:pt x="746217" y="1265422"/>
                    <a:pt x="712561" y="1231801"/>
                  </a:cubicBezTo>
                  <a:cubicBezTo>
                    <a:pt x="658746" y="1177936"/>
                    <a:pt x="681405" y="1094245"/>
                    <a:pt x="631088" y="1033150"/>
                  </a:cubicBezTo>
                  <a:cubicBezTo>
                    <a:pt x="606263" y="1002963"/>
                    <a:pt x="537786" y="991757"/>
                    <a:pt x="513794" y="959944"/>
                  </a:cubicBezTo>
                  <a:cubicBezTo>
                    <a:pt x="465310" y="895595"/>
                    <a:pt x="418492" y="827450"/>
                    <a:pt x="373673" y="755871"/>
                  </a:cubicBezTo>
                  <a:cubicBezTo>
                    <a:pt x="357679" y="730203"/>
                    <a:pt x="365176" y="639464"/>
                    <a:pt x="349682" y="613073"/>
                  </a:cubicBezTo>
                  <a:cubicBezTo>
                    <a:pt x="307529" y="540951"/>
                    <a:pt x="243716" y="530287"/>
                    <a:pt x="205229" y="451658"/>
                  </a:cubicBezTo>
                  <a:cubicBezTo>
                    <a:pt x="192567" y="425991"/>
                    <a:pt x="180238" y="399962"/>
                    <a:pt x="168075" y="373571"/>
                  </a:cubicBezTo>
                  <a:cubicBezTo>
                    <a:pt x="145249" y="323682"/>
                    <a:pt x="122924" y="272709"/>
                    <a:pt x="101597" y="220290"/>
                  </a:cubicBezTo>
                  <a:close/>
                  <a:moveTo>
                    <a:pt x="2895809" y="23150"/>
                  </a:moveTo>
                  <a:lnTo>
                    <a:pt x="2895809" y="23114"/>
                  </a:ln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37" name="Rounded Rectangle 2">
              <a:extLst>
                <a:ext uri="{FF2B5EF4-FFF2-40B4-BE49-F238E27FC236}">
                  <a16:creationId xmlns:a16="http://schemas.microsoft.com/office/drawing/2014/main" id="{62A378D9-8013-0E4E-62A1-B9A7A878DAD7}"/>
                </a:ext>
              </a:extLst>
            </p:cNvPr>
            <p:cNvSpPr/>
            <p:nvPr/>
          </p:nvSpPr>
          <p:spPr>
            <a:xfrm>
              <a:off x="2053347" y="3419917"/>
              <a:ext cx="4148026" cy="1795218"/>
            </a:xfrm>
            <a:custGeom>
              <a:avLst/>
              <a:gdLst/>
              <a:ahLst/>
              <a:cxnLst/>
              <a:rect l="0" t="0" r="0" b="0"/>
              <a:pathLst>
                <a:path w="4148026" h="1795218">
                  <a:moveTo>
                    <a:pt x="101597" y="220290"/>
                  </a:moveTo>
                  <a:cubicBezTo>
                    <a:pt x="84269" y="177631"/>
                    <a:pt x="67275" y="134249"/>
                    <a:pt x="50947" y="89964"/>
                  </a:cubicBezTo>
                  <a:cubicBezTo>
                    <a:pt x="43964" y="71099"/>
                    <a:pt x="25956" y="48442"/>
                    <a:pt x="0" y="23121"/>
                  </a:cubicBezTo>
                  <a:lnTo>
                    <a:pt x="4328" y="23114"/>
                  </a:lnTo>
                  <a:cubicBezTo>
                    <a:pt x="23121" y="23114"/>
                    <a:pt x="42043" y="17150"/>
                    <a:pt x="54984" y="5125"/>
                  </a:cubicBezTo>
                  <a:cubicBezTo>
                    <a:pt x="56736" y="3499"/>
                    <a:pt x="58358" y="1823"/>
                    <a:pt x="59853" y="0"/>
                  </a:cubicBezTo>
                  <a:cubicBezTo>
                    <a:pt x="61391" y="1823"/>
                    <a:pt x="63013" y="3499"/>
                    <a:pt x="64722" y="5125"/>
                  </a:cubicBezTo>
                  <a:cubicBezTo>
                    <a:pt x="77664" y="17101"/>
                    <a:pt x="96584" y="23114"/>
                    <a:pt x="115377" y="23114"/>
                  </a:cubicBezTo>
                  <a:cubicBezTo>
                    <a:pt x="134170" y="23114"/>
                    <a:pt x="153091" y="17150"/>
                    <a:pt x="166033" y="5125"/>
                  </a:cubicBezTo>
                  <a:cubicBezTo>
                    <a:pt x="167741" y="3499"/>
                    <a:pt x="169364" y="1823"/>
                    <a:pt x="170859" y="0"/>
                  </a:cubicBezTo>
                  <a:cubicBezTo>
                    <a:pt x="172397" y="1823"/>
                    <a:pt x="174019" y="3499"/>
                    <a:pt x="175727" y="5125"/>
                  </a:cubicBezTo>
                  <a:cubicBezTo>
                    <a:pt x="188670" y="17101"/>
                    <a:pt x="207590" y="23114"/>
                    <a:pt x="226383" y="23114"/>
                  </a:cubicBezTo>
                  <a:cubicBezTo>
                    <a:pt x="245176" y="23114"/>
                    <a:pt x="264097" y="17150"/>
                    <a:pt x="277039" y="5125"/>
                  </a:cubicBezTo>
                  <a:cubicBezTo>
                    <a:pt x="278747" y="3499"/>
                    <a:pt x="280369" y="1823"/>
                    <a:pt x="281864" y="0"/>
                  </a:cubicBezTo>
                  <a:cubicBezTo>
                    <a:pt x="283403" y="1823"/>
                    <a:pt x="285025" y="3499"/>
                    <a:pt x="286733" y="5125"/>
                  </a:cubicBezTo>
                  <a:cubicBezTo>
                    <a:pt x="299676" y="17101"/>
                    <a:pt x="318596" y="23114"/>
                    <a:pt x="337389" y="23114"/>
                  </a:cubicBezTo>
                  <a:cubicBezTo>
                    <a:pt x="356182" y="23114"/>
                    <a:pt x="375102" y="17150"/>
                    <a:pt x="388044" y="5125"/>
                  </a:cubicBezTo>
                  <a:cubicBezTo>
                    <a:pt x="389753" y="3499"/>
                    <a:pt x="391375" y="1823"/>
                    <a:pt x="392870" y="0"/>
                  </a:cubicBezTo>
                  <a:cubicBezTo>
                    <a:pt x="394408" y="1823"/>
                    <a:pt x="396031" y="3499"/>
                    <a:pt x="397739" y="5125"/>
                  </a:cubicBezTo>
                  <a:cubicBezTo>
                    <a:pt x="410681" y="17101"/>
                    <a:pt x="429602" y="23114"/>
                    <a:pt x="448395" y="23114"/>
                  </a:cubicBezTo>
                  <a:cubicBezTo>
                    <a:pt x="467188" y="23114"/>
                    <a:pt x="486108" y="17150"/>
                    <a:pt x="499050" y="5125"/>
                  </a:cubicBezTo>
                  <a:cubicBezTo>
                    <a:pt x="500759" y="3499"/>
                    <a:pt x="502381" y="1823"/>
                    <a:pt x="503876" y="0"/>
                  </a:cubicBezTo>
                  <a:cubicBezTo>
                    <a:pt x="505414" y="1823"/>
                    <a:pt x="507037" y="3499"/>
                    <a:pt x="508745" y="5125"/>
                  </a:cubicBezTo>
                  <a:cubicBezTo>
                    <a:pt x="521687" y="17101"/>
                    <a:pt x="540607" y="23114"/>
                    <a:pt x="559400" y="23114"/>
                  </a:cubicBezTo>
                  <a:cubicBezTo>
                    <a:pt x="578194" y="23114"/>
                    <a:pt x="597114" y="17150"/>
                    <a:pt x="610056" y="5125"/>
                  </a:cubicBezTo>
                  <a:cubicBezTo>
                    <a:pt x="611807" y="3499"/>
                    <a:pt x="613430" y="1823"/>
                    <a:pt x="614925" y="0"/>
                  </a:cubicBezTo>
                  <a:cubicBezTo>
                    <a:pt x="616420" y="1823"/>
                    <a:pt x="618042" y="3499"/>
                    <a:pt x="619751" y="5125"/>
                  </a:cubicBezTo>
                  <a:cubicBezTo>
                    <a:pt x="632693" y="17101"/>
                    <a:pt x="651571" y="23114"/>
                    <a:pt x="670406" y="23114"/>
                  </a:cubicBezTo>
                  <a:cubicBezTo>
                    <a:pt x="689241" y="23114"/>
                    <a:pt x="708120" y="17150"/>
                    <a:pt x="721062" y="5125"/>
                  </a:cubicBezTo>
                  <a:cubicBezTo>
                    <a:pt x="722813" y="3499"/>
                    <a:pt x="724436" y="1823"/>
                    <a:pt x="725931" y="0"/>
                  </a:cubicBezTo>
                  <a:cubicBezTo>
                    <a:pt x="727426" y="1823"/>
                    <a:pt x="729048" y="3499"/>
                    <a:pt x="730756" y="5125"/>
                  </a:cubicBezTo>
                  <a:cubicBezTo>
                    <a:pt x="743699" y="17101"/>
                    <a:pt x="762619" y="23114"/>
                    <a:pt x="781412" y="23114"/>
                  </a:cubicBezTo>
                  <a:cubicBezTo>
                    <a:pt x="800205" y="23114"/>
                    <a:pt x="819126" y="17150"/>
                    <a:pt x="832067" y="5125"/>
                  </a:cubicBezTo>
                  <a:cubicBezTo>
                    <a:pt x="833818" y="3499"/>
                    <a:pt x="835441" y="1823"/>
                    <a:pt x="836936" y="0"/>
                  </a:cubicBezTo>
                  <a:cubicBezTo>
                    <a:pt x="838473" y="1823"/>
                    <a:pt x="840097" y="3499"/>
                    <a:pt x="841805" y="5125"/>
                  </a:cubicBezTo>
                  <a:cubicBezTo>
                    <a:pt x="854746" y="17101"/>
                    <a:pt x="874189" y="23150"/>
                    <a:pt x="893024" y="23150"/>
                  </a:cubicBezTo>
                  <a:cubicBezTo>
                    <a:pt x="911817" y="23150"/>
                    <a:pt x="932389" y="17150"/>
                    <a:pt x="945330" y="5125"/>
                  </a:cubicBezTo>
                  <a:cubicBezTo>
                    <a:pt x="947081" y="3499"/>
                    <a:pt x="948704" y="1823"/>
                    <a:pt x="950199" y="0"/>
                  </a:cubicBezTo>
                  <a:cubicBezTo>
                    <a:pt x="951736" y="1823"/>
                    <a:pt x="953360" y="3499"/>
                    <a:pt x="955068" y="5125"/>
                  </a:cubicBezTo>
                  <a:cubicBezTo>
                    <a:pt x="968010" y="17101"/>
                    <a:pt x="986931" y="23114"/>
                    <a:pt x="1005723" y="23114"/>
                  </a:cubicBezTo>
                  <a:cubicBezTo>
                    <a:pt x="1024516" y="23114"/>
                    <a:pt x="1043437" y="17150"/>
                    <a:pt x="1056379" y="5125"/>
                  </a:cubicBezTo>
                  <a:cubicBezTo>
                    <a:pt x="1058130" y="3499"/>
                    <a:pt x="1059753" y="1823"/>
                    <a:pt x="1061248" y="0"/>
                  </a:cubicBezTo>
                  <a:cubicBezTo>
                    <a:pt x="1062786" y="1823"/>
                    <a:pt x="1064408" y="3499"/>
                    <a:pt x="1066116" y="5125"/>
                  </a:cubicBezTo>
                  <a:cubicBezTo>
                    <a:pt x="1079058" y="17101"/>
                    <a:pt x="1097979" y="23114"/>
                    <a:pt x="1116772" y="23114"/>
                  </a:cubicBezTo>
                  <a:cubicBezTo>
                    <a:pt x="1135565" y="23114"/>
                    <a:pt x="1154485" y="17150"/>
                    <a:pt x="1167427" y="5125"/>
                  </a:cubicBezTo>
                  <a:cubicBezTo>
                    <a:pt x="1169136" y="3499"/>
                    <a:pt x="1170758" y="1823"/>
                    <a:pt x="1172253" y="0"/>
                  </a:cubicBezTo>
                  <a:cubicBezTo>
                    <a:pt x="1173791" y="1823"/>
                    <a:pt x="1175413" y="3499"/>
                    <a:pt x="1177122" y="5125"/>
                  </a:cubicBezTo>
                  <a:cubicBezTo>
                    <a:pt x="1190064" y="17101"/>
                    <a:pt x="1208985" y="23114"/>
                    <a:pt x="1227778" y="23114"/>
                  </a:cubicBezTo>
                  <a:cubicBezTo>
                    <a:pt x="1246571" y="23114"/>
                    <a:pt x="1265491" y="17150"/>
                    <a:pt x="1278433" y="5125"/>
                  </a:cubicBezTo>
                  <a:cubicBezTo>
                    <a:pt x="1280142" y="3499"/>
                    <a:pt x="1281764" y="1823"/>
                    <a:pt x="1283259" y="0"/>
                  </a:cubicBezTo>
                  <a:cubicBezTo>
                    <a:pt x="1284797" y="1823"/>
                    <a:pt x="1286420" y="3499"/>
                    <a:pt x="1288128" y="5125"/>
                  </a:cubicBezTo>
                  <a:cubicBezTo>
                    <a:pt x="1301070" y="17101"/>
                    <a:pt x="1319990" y="23114"/>
                    <a:pt x="1338783" y="23114"/>
                  </a:cubicBezTo>
                  <a:cubicBezTo>
                    <a:pt x="1357576" y="23114"/>
                    <a:pt x="1376497" y="17150"/>
                    <a:pt x="1389439" y="5125"/>
                  </a:cubicBezTo>
                  <a:cubicBezTo>
                    <a:pt x="1391147" y="3499"/>
                    <a:pt x="1392770" y="1823"/>
                    <a:pt x="1394265" y="0"/>
                  </a:cubicBezTo>
                  <a:cubicBezTo>
                    <a:pt x="1395803" y="1823"/>
                    <a:pt x="1397425" y="3499"/>
                    <a:pt x="1399133" y="5125"/>
                  </a:cubicBezTo>
                  <a:cubicBezTo>
                    <a:pt x="1412076" y="17101"/>
                    <a:pt x="1430996" y="23114"/>
                    <a:pt x="1449789" y="23114"/>
                  </a:cubicBezTo>
                  <a:cubicBezTo>
                    <a:pt x="1468582" y="23114"/>
                    <a:pt x="1487502" y="17150"/>
                    <a:pt x="1500445" y="5125"/>
                  </a:cubicBezTo>
                  <a:cubicBezTo>
                    <a:pt x="1502153" y="3499"/>
                    <a:pt x="1503776" y="1823"/>
                    <a:pt x="1505271" y="0"/>
                  </a:cubicBezTo>
                  <a:cubicBezTo>
                    <a:pt x="1506809" y="1823"/>
                    <a:pt x="1508431" y="3499"/>
                    <a:pt x="1510139" y="5125"/>
                  </a:cubicBezTo>
                  <a:cubicBezTo>
                    <a:pt x="1523082" y="17101"/>
                    <a:pt x="1542002" y="23114"/>
                    <a:pt x="1560795" y="23114"/>
                  </a:cubicBezTo>
                  <a:cubicBezTo>
                    <a:pt x="1579588" y="23114"/>
                    <a:pt x="1598508" y="17150"/>
                    <a:pt x="1611450" y="5125"/>
                  </a:cubicBezTo>
                  <a:cubicBezTo>
                    <a:pt x="1613201" y="3499"/>
                    <a:pt x="1614825" y="1823"/>
                    <a:pt x="1616319" y="0"/>
                  </a:cubicBezTo>
                  <a:cubicBezTo>
                    <a:pt x="1617815" y="1823"/>
                    <a:pt x="1619437" y="3499"/>
                    <a:pt x="1621145" y="5125"/>
                  </a:cubicBezTo>
                  <a:cubicBezTo>
                    <a:pt x="1634087" y="17101"/>
                    <a:pt x="1652966" y="23114"/>
                    <a:pt x="1671801" y="23114"/>
                  </a:cubicBezTo>
                  <a:cubicBezTo>
                    <a:pt x="1690636" y="23114"/>
                    <a:pt x="1709514" y="17150"/>
                    <a:pt x="1722457" y="5125"/>
                  </a:cubicBezTo>
                  <a:cubicBezTo>
                    <a:pt x="1724207" y="3499"/>
                    <a:pt x="1725830" y="1823"/>
                    <a:pt x="1727325" y="0"/>
                  </a:cubicBezTo>
                  <a:cubicBezTo>
                    <a:pt x="1728820" y="1823"/>
                    <a:pt x="1730442" y="3499"/>
                    <a:pt x="1732151" y="5125"/>
                  </a:cubicBezTo>
                  <a:cubicBezTo>
                    <a:pt x="1745093" y="17101"/>
                    <a:pt x="1764014" y="23114"/>
                    <a:pt x="1782807" y="23114"/>
                  </a:cubicBezTo>
                  <a:cubicBezTo>
                    <a:pt x="1801600" y="23114"/>
                    <a:pt x="1820520" y="17150"/>
                    <a:pt x="1833462" y="5125"/>
                  </a:cubicBezTo>
                  <a:cubicBezTo>
                    <a:pt x="1835213" y="3499"/>
                    <a:pt x="1836836" y="1823"/>
                    <a:pt x="1838331" y="0"/>
                  </a:cubicBezTo>
                  <a:cubicBezTo>
                    <a:pt x="1839868" y="1823"/>
                    <a:pt x="1841491" y="3499"/>
                    <a:pt x="1843200" y="5125"/>
                  </a:cubicBezTo>
                  <a:cubicBezTo>
                    <a:pt x="1856141" y="17101"/>
                    <a:pt x="1875582" y="23150"/>
                    <a:pt x="1894417" y="23150"/>
                  </a:cubicBezTo>
                  <a:cubicBezTo>
                    <a:pt x="1913210" y="23150"/>
                    <a:pt x="1933781" y="17150"/>
                    <a:pt x="1946723" y="5125"/>
                  </a:cubicBezTo>
                  <a:cubicBezTo>
                    <a:pt x="1948473" y="3499"/>
                    <a:pt x="1950096" y="1823"/>
                    <a:pt x="1951591" y="0"/>
                  </a:cubicBezTo>
                  <a:cubicBezTo>
                    <a:pt x="1953129" y="1823"/>
                    <a:pt x="1954752" y="3499"/>
                    <a:pt x="1956460" y="5125"/>
                  </a:cubicBezTo>
                  <a:cubicBezTo>
                    <a:pt x="1969402" y="17101"/>
                    <a:pt x="1988323" y="23114"/>
                    <a:pt x="2007116" y="23114"/>
                  </a:cubicBezTo>
                  <a:cubicBezTo>
                    <a:pt x="2025908" y="23114"/>
                    <a:pt x="2044829" y="17150"/>
                    <a:pt x="2057770" y="5125"/>
                  </a:cubicBezTo>
                  <a:cubicBezTo>
                    <a:pt x="2059522" y="3499"/>
                    <a:pt x="2061145" y="1823"/>
                    <a:pt x="2062640" y="0"/>
                  </a:cubicBezTo>
                  <a:cubicBezTo>
                    <a:pt x="2064178" y="1823"/>
                    <a:pt x="2065801" y="3499"/>
                    <a:pt x="2067509" y="5125"/>
                  </a:cubicBezTo>
                  <a:cubicBezTo>
                    <a:pt x="2080451" y="17101"/>
                    <a:pt x="2099371" y="23114"/>
                    <a:pt x="2118164" y="23114"/>
                  </a:cubicBezTo>
                  <a:cubicBezTo>
                    <a:pt x="2136957" y="23114"/>
                    <a:pt x="2155878" y="17150"/>
                    <a:pt x="2168820" y="5125"/>
                  </a:cubicBezTo>
                  <a:cubicBezTo>
                    <a:pt x="2170528" y="3499"/>
                    <a:pt x="2172151" y="1823"/>
                    <a:pt x="2173645" y="0"/>
                  </a:cubicBezTo>
                  <a:cubicBezTo>
                    <a:pt x="2175183" y="1823"/>
                    <a:pt x="2176807" y="3499"/>
                    <a:pt x="2178515" y="5125"/>
                  </a:cubicBezTo>
                  <a:cubicBezTo>
                    <a:pt x="2191456" y="17101"/>
                    <a:pt x="2210377" y="23114"/>
                    <a:pt x="2229170" y="23114"/>
                  </a:cubicBezTo>
                  <a:cubicBezTo>
                    <a:pt x="2247963" y="23114"/>
                    <a:pt x="2266884" y="17150"/>
                    <a:pt x="2279825" y="5125"/>
                  </a:cubicBezTo>
                  <a:cubicBezTo>
                    <a:pt x="2281534" y="3499"/>
                    <a:pt x="2283157" y="1823"/>
                    <a:pt x="2284651" y="0"/>
                  </a:cubicBezTo>
                  <a:cubicBezTo>
                    <a:pt x="2286189" y="1823"/>
                    <a:pt x="2287812" y="3499"/>
                    <a:pt x="2289521" y="5125"/>
                  </a:cubicBezTo>
                  <a:cubicBezTo>
                    <a:pt x="2302462" y="17101"/>
                    <a:pt x="2321382" y="23114"/>
                    <a:pt x="2340175" y="23114"/>
                  </a:cubicBezTo>
                  <a:cubicBezTo>
                    <a:pt x="2358968" y="23114"/>
                    <a:pt x="2377890" y="17150"/>
                    <a:pt x="2390831" y="5125"/>
                  </a:cubicBezTo>
                  <a:cubicBezTo>
                    <a:pt x="2392540" y="3499"/>
                    <a:pt x="2394163" y="1823"/>
                    <a:pt x="2395657" y="0"/>
                  </a:cubicBezTo>
                  <a:cubicBezTo>
                    <a:pt x="2397195" y="1823"/>
                    <a:pt x="2398818" y="3499"/>
                    <a:pt x="2400526" y="5125"/>
                  </a:cubicBezTo>
                  <a:cubicBezTo>
                    <a:pt x="2413468" y="17101"/>
                    <a:pt x="2432388" y="23114"/>
                    <a:pt x="2451181" y="23114"/>
                  </a:cubicBezTo>
                  <a:cubicBezTo>
                    <a:pt x="2469974" y="23114"/>
                    <a:pt x="2488896" y="17150"/>
                    <a:pt x="2501837" y="5125"/>
                  </a:cubicBezTo>
                  <a:cubicBezTo>
                    <a:pt x="2503545" y="3499"/>
                    <a:pt x="2505169" y="1823"/>
                    <a:pt x="2506663" y="0"/>
                  </a:cubicBezTo>
                  <a:cubicBezTo>
                    <a:pt x="2508201" y="1823"/>
                    <a:pt x="2509824" y="3499"/>
                    <a:pt x="2511532" y="5125"/>
                  </a:cubicBezTo>
                  <a:cubicBezTo>
                    <a:pt x="2524473" y="17101"/>
                    <a:pt x="2543394" y="23114"/>
                    <a:pt x="2562187" y="23114"/>
                  </a:cubicBezTo>
                  <a:cubicBezTo>
                    <a:pt x="2580980" y="23114"/>
                    <a:pt x="2599901" y="17150"/>
                    <a:pt x="2612843" y="5125"/>
                  </a:cubicBezTo>
                  <a:cubicBezTo>
                    <a:pt x="2614593" y="3499"/>
                    <a:pt x="2616217" y="1823"/>
                    <a:pt x="2617711" y="0"/>
                  </a:cubicBezTo>
                  <a:cubicBezTo>
                    <a:pt x="2619207" y="1823"/>
                    <a:pt x="2620830" y="3499"/>
                    <a:pt x="2622538" y="5125"/>
                  </a:cubicBezTo>
                  <a:cubicBezTo>
                    <a:pt x="2635479" y="17101"/>
                    <a:pt x="2654358" y="23114"/>
                    <a:pt x="2673193" y="23114"/>
                  </a:cubicBezTo>
                  <a:cubicBezTo>
                    <a:pt x="2692029" y="23114"/>
                    <a:pt x="2710907" y="17150"/>
                    <a:pt x="2723849" y="5125"/>
                  </a:cubicBezTo>
                  <a:cubicBezTo>
                    <a:pt x="2725599" y="3499"/>
                    <a:pt x="2727222" y="1823"/>
                    <a:pt x="2728717" y="0"/>
                  </a:cubicBezTo>
                  <a:cubicBezTo>
                    <a:pt x="2730213" y="1823"/>
                    <a:pt x="2731836" y="3499"/>
                    <a:pt x="2733544" y="5125"/>
                  </a:cubicBezTo>
                  <a:cubicBezTo>
                    <a:pt x="2746486" y="17101"/>
                    <a:pt x="2765406" y="23114"/>
                    <a:pt x="2784199" y="23114"/>
                  </a:cubicBezTo>
                  <a:cubicBezTo>
                    <a:pt x="2802992" y="23114"/>
                    <a:pt x="2821913" y="17150"/>
                    <a:pt x="2834855" y="5125"/>
                  </a:cubicBezTo>
                  <a:cubicBezTo>
                    <a:pt x="2836605" y="3499"/>
                    <a:pt x="2838228" y="1823"/>
                    <a:pt x="2839724" y="0"/>
                  </a:cubicBezTo>
                  <a:cubicBezTo>
                    <a:pt x="2841261" y="1823"/>
                    <a:pt x="2842884" y="3499"/>
                    <a:pt x="2844592" y="5125"/>
                  </a:cubicBezTo>
                  <a:cubicBezTo>
                    <a:pt x="2857533" y="17101"/>
                    <a:pt x="2876974" y="23114"/>
                    <a:pt x="2895809" y="23114"/>
                  </a:cubicBezTo>
                  <a:cubicBezTo>
                    <a:pt x="2914602" y="23114"/>
                    <a:pt x="2933523" y="17150"/>
                    <a:pt x="2946465" y="5125"/>
                  </a:cubicBezTo>
                  <a:cubicBezTo>
                    <a:pt x="2948216" y="3499"/>
                    <a:pt x="2949838" y="1823"/>
                    <a:pt x="2951333" y="0"/>
                  </a:cubicBezTo>
                  <a:cubicBezTo>
                    <a:pt x="2952872" y="1823"/>
                    <a:pt x="2954494" y="3499"/>
                    <a:pt x="2956202" y="5125"/>
                  </a:cubicBezTo>
                  <a:cubicBezTo>
                    <a:pt x="2969145" y="17101"/>
                    <a:pt x="2988065" y="23114"/>
                    <a:pt x="3006858" y="23114"/>
                  </a:cubicBezTo>
                  <a:cubicBezTo>
                    <a:pt x="3025651" y="23114"/>
                    <a:pt x="3044572" y="17150"/>
                    <a:pt x="3057514" y="5125"/>
                  </a:cubicBezTo>
                  <a:cubicBezTo>
                    <a:pt x="3059223" y="3499"/>
                    <a:pt x="3060844" y="1823"/>
                    <a:pt x="3062339" y="0"/>
                  </a:cubicBezTo>
                  <a:cubicBezTo>
                    <a:pt x="3063878" y="1823"/>
                    <a:pt x="3065500" y="3499"/>
                    <a:pt x="3067208" y="5125"/>
                  </a:cubicBezTo>
                  <a:cubicBezTo>
                    <a:pt x="3080151" y="17101"/>
                    <a:pt x="3099071" y="23114"/>
                    <a:pt x="3117864" y="23114"/>
                  </a:cubicBezTo>
                  <a:cubicBezTo>
                    <a:pt x="3136657" y="23114"/>
                    <a:pt x="3155578" y="17150"/>
                    <a:pt x="3168520" y="5125"/>
                  </a:cubicBezTo>
                  <a:cubicBezTo>
                    <a:pt x="3170229" y="3499"/>
                    <a:pt x="3171850" y="1823"/>
                    <a:pt x="3173346" y="0"/>
                  </a:cubicBezTo>
                  <a:cubicBezTo>
                    <a:pt x="3174884" y="1823"/>
                    <a:pt x="3176506" y="3499"/>
                    <a:pt x="3178214" y="5125"/>
                  </a:cubicBezTo>
                  <a:cubicBezTo>
                    <a:pt x="3191157" y="17101"/>
                    <a:pt x="3210077" y="23114"/>
                    <a:pt x="3228870" y="23114"/>
                  </a:cubicBezTo>
                  <a:cubicBezTo>
                    <a:pt x="3247663" y="23114"/>
                    <a:pt x="3266584" y="17150"/>
                    <a:pt x="3279525" y="5125"/>
                  </a:cubicBezTo>
                  <a:cubicBezTo>
                    <a:pt x="3281234" y="3499"/>
                    <a:pt x="3282856" y="1823"/>
                    <a:pt x="3284352" y="0"/>
                  </a:cubicBezTo>
                  <a:cubicBezTo>
                    <a:pt x="3285890" y="1823"/>
                    <a:pt x="3287512" y="3499"/>
                    <a:pt x="3289220" y="5125"/>
                  </a:cubicBezTo>
                  <a:cubicBezTo>
                    <a:pt x="3302162" y="17101"/>
                    <a:pt x="3321083" y="23114"/>
                    <a:pt x="3339876" y="23114"/>
                  </a:cubicBezTo>
                  <a:cubicBezTo>
                    <a:pt x="3358669" y="23114"/>
                    <a:pt x="3377590" y="17150"/>
                    <a:pt x="3390531" y="5125"/>
                  </a:cubicBezTo>
                  <a:cubicBezTo>
                    <a:pt x="3392239" y="3499"/>
                    <a:pt x="3393862" y="1823"/>
                    <a:pt x="3395357" y="0"/>
                  </a:cubicBezTo>
                  <a:cubicBezTo>
                    <a:pt x="3396895" y="1823"/>
                    <a:pt x="3398518" y="3499"/>
                    <a:pt x="3400226" y="5125"/>
                  </a:cubicBezTo>
                  <a:cubicBezTo>
                    <a:pt x="3413168" y="17101"/>
                    <a:pt x="3432089" y="23114"/>
                    <a:pt x="3450882" y="23114"/>
                  </a:cubicBezTo>
                  <a:cubicBezTo>
                    <a:pt x="3469675" y="23114"/>
                    <a:pt x="3488596" y="17150"/>
                    <a:pt x="3501537" y="5125"/>
                  </a:cubicBezTo>
                  <a:cubicBezTo>
                    <a:pt x="3503288" y="3499"/>
                    <a:pt x="3504911" y="1823"/>
                    <a:pt x="3506406" y="0"/>
                  </a:cubicBezTo>
                  <a:cubicBezTo>
                    <a:pt x="3507901" y="1823"/>
                    <a:pt x="3509524" y="3499"/>
                    <a:pt x="3511232" y="5125"/>
                  </a:cubicBezTo>
                  <a:cubicBezTo>
                    <a:pt x="3524174" y="17101"/>
                    <a:pt x="3543052" y="23114"/>
                    <a:pt x="3561887" y="23114"/>
                  </a:cubicBezTo>
                  <a:cubicBezTo>
                    <a:pt x="3580723" y="23114"/>
                    <a:pt x="3599602" y="17150"/>
                    <a:pt x="3612543" y="5125"/>
                  </a:cubicBezTo>
                  <a:cubicBezTo>
                    <a:pt x="3614294" y="3499"/>
                    <a:pt x="3615917" y="1823"/>
                    <a:pt x="3617412" y="0"/>
                  </a:cubicBezTo>
                  <a:cubicBezTo>
                    <a:pt x="3618907" y="1823"/>
                    <a:pt x="3620530" y="3499"/>
                    <a:pt x="3622238" y="5125"/>
                  </a:cubicBezTo>
                  <a:cubicBezTo>
                    <a:pt x="3635180" y="17101"/>
                    <a:pt x="3654100" y="23114"/>
                    <a:pt x="3672893" y="23114"/>
                  </a:cubicBezTo>
                  <a:cubicBezTo>
                    <a:pt x="3691686" y="23114"/>
                    <a:pt x="3710607" y="17150"/>
                    <a:pt x="3723548" y="5125"/>
                  </a:cubicBezTo>
                  <a:cubicBezTo>
                    <a:pt x="3725299" y="3499"/>
                    <a:pt x="3726922" y="1823"/>
                    <a:pt x="3728417" y="0"/>
                  </a:cubicBezTo>
                  <a:cubicBezTo>
                    <a:pt x="3729954" y="1823"/>
                    <a:pt x="3731578" y="3499"/>
                    <a:pt x="3733286" y="5125"/>
                  </a:cubicBezTo>
                  <a:cubicBezTo>
                    <a:pt x="3746227" y="17101"/>
                    <a:pt x="3765670" y="23150"/>
                    <a:pt x="3784505" y="23150"/>
                  </a:cubicBezTo>
                  <a:cubicBezTo>
                    <a:pt x="3803298" y="23150"/>
                    <a:pt x="3823870" y="17150"/>
                    <a:pt x="3836811" y="5125"/>
                  </a:cubicBezTo>
                  <a:cubicBezTo>
                    <a:pt x="3838562" y="3499"/>
                    <a:pt x="3840185" y="1823"/>
                    <a:pt x="3841680" y="0"/>
                  </a:cubicBezTo>
                  <a:cubicBezTo>
                    <a:pt x="3843217" y="1823"/>
                    <a:pt x="3844840" y="3499"/>
                    <a:pt x="3846549" y="5125"/>
                  </a:cubicBezTo>
                  <a:cubicBezTo>
                    <a:pt x="3859490" y="17101"/>
                    <a:pt x="3878412" y="23114"/>
                    <a:pt x="3897204" y="23114"/>
                  </a:cubicBezTo>
                  <a:cubicBezTo>
                    <a:pt x="3915997" y="23114"/>
                    <a:pt x="3934918" y="17150"/>
                    <a:pt x="3947860" y="5125"/>
                  </a:cubicBezTo>
                  <a:cubicBezTo>
                    <a:pt x="3949611" y="3499"/>
                    <a:pt x="3951233" y="1823"/>
                    <a:pt x="3952729" y="0"/>
                  </a:cubicBezTo>
                  <a:cubicBezTo>
                    <a:pt x="3954266" y="1823"/>
                    <a:pt x="3955889" y="3499"/>
                    <a:pt x="3957597" y="5125"/>
                  </a:cubicBezTo>
                  <a:cubicBezTo>
                    <a:pt x="3970540" y="17101"/>
                    <a:pt x="3989460" y="23114"/>
                    <a:pt x="4008253" y="23114"/>
                  </a:cubicBezTo>
                  <a:cubicBezTo>
                    <a:pt x="4027046" y="23114"/>
                    <a:pt x="4045966" y="17150"/>
                    <a:pt x="4058908" y="5125"/>
                  </a:cubicBezTo>
                  <a:cubicBezTo>
                    <a:pt x="4060617" y="3499"/>
                    <a:pt x="4062239" y="1823"/>
                    <a:pt x="4063734" y="0"/>
                  </a:cubicBezTo>
                  <a:cubicBezTo>
                    <a:pt x="4065272" y="1823"/>
                    <a:pt x="4066895" y="3499"/>
                    <a:pt x="4068603" y="5125"/>
                  </a:cubicBezTo>
                  <a:cubicBezTo>
                    <a:pt x="4081545" y="17101"/>
                    <a:pt x="4100466" y="23114"/>
                    <a:pt x="4119259" y="23114"/>
                  </a:cubicBezTo>
                  <a:cubicBezTo>
                    <a:pt x="4128870" y="23114"/>
                    <a:pt x="4138489" y="21310"/>
                    <a:pt x="4148026" y="18911"/>
                  </a:cubicBezTo>
                  <a:cubicBezTo>
                    <a:pt x="4123859" y="89508"/>
                    <a:pt x="4107638" y="124537"/>
                    <a:pt x="4076114" y="202576"/>
                  </a:cubicBezTo>
                  <a:cubicBezTo>
                    <a:pt x="4062452" y="236558"/>
                    <a:pt x="4004303" y="273613"/>
                    <a:pt x="3989975" y="306510"/>
                  </a:cubicBezTo>
                  <a:cubicBezTo>
                    <a:pt x="3961484" y="371944"/>
                    <a:pt x="3950822" y="474794"/>
                    <a:pt x="3919166" y="537155"/>
                  </a:cubicBezTo>
                  <a:cubicBezTo>
                    <a:pt x="3887509" y="599516"/>
                    <a:pt x="3836193" y="619219"/>
                    <a:pt x="3802038" y="677241"/>
                  </a:cubicBezTo>
                  <a:cubicBezTo>
                    <a:pt x="3753388" y="760027"/>
                    <a:pt x="3677913" y="750809"/>
                    <a:pt x="3624764" y="824738"/>
                  </a:cubicBezTo>
                  <a:cubicBezTo>
                    <a:pt x="3590942" y="871554"/>
                    <a:pt x="3580946" y="1004229"/>
                    <a:pt x="3545458" y="1047430"/>
                  </a:cubicBezTo>
                  <a:cubicBezTo>
                    <a:pt x="3489310" y="1115755"/>
                    <a:pt x="3446991" y="1202880"/>
                    <a:pt x="3385844" y="1263072"/>
                  </a:cubicBezTo>
                  <a:cubicBezTo>
                    <a:pt x="3324698" y="1323264"/>
                    <a:pt x="3246724" y="1354534"/>
                    <a:pt x="3181745" y="1405327"/>
                  </a:cubicBezTo>
                  <a:cubicBezTo>
                    <a:pt x="3150922" y="1429368"/>
                    <a:pt x="3129095" y="1482149"/>
                    <a:pt x="3097438" y="1504020"/>
                  </a:cubicBezTo>
                  <a:cubicBezTo>
                    <a:pt x="3022797" y="1555897"/>
                    <a:pt x="2909335" y="1552824"/>
                    <a:pt x="2830361" y="1592409"/>
                  </a:cubicBezTo>
                  <a:cubicBezTo>
                    <a:pt x="2786209" y="1614642"/>
                    <a:pt x="2768714" y="1653866"/>
                    <a:pt x="2723397" y="1672123"/>
                  </a:cubicBezTo>
                  <a:cubicBezTo>
                    <a:pt x="2689575" y="1685860"/>
                    <a:pt x="2655419" y="1698332"/>
                    <a:pt x="2620931" y="1709901"/>
                  </a:cubicBezTo>
                  <a:cubicBezTo>
                    <a:pt x="2564283" y="1728699"/>
                    <a:pt x="2504968" y="1745148"/>
                    <a:pt x="2448987" y="1757621"/>
                  </a:cubicBezTo>
                  <a:cubicBezTo>
                    <a:pt x="2393006" y="1770093"/>
                    <a:pt x="2336357" y="1779853"/>
                    <a:pt x="2279043" y="1786722"/>
                  </a:cubicBezTo>
                  <a:cubicBezTo>
                    <a:pt x="2233891" y="1792145"/>
                    <a:pt x="2188407" y="1781119"/>
                    <a:pt x="2142589" y="1783107"/>
                  </a:cubicBezTo>
                  <a:cubicBezTo>
                    <a:pt x="2116431" y="1784373"/>
                    <a:pt x="2090272" y="1771539"/>
                    <a:pt x="2063948" y="1771539"/>
                  </a:cubicBezTo>
                  <a:cubicBezTo>
                    <a:pt x="1990972" y="1771539"/>
                    <a:pt x="1918829" y="1795218"/>
                    <a:pt x="1847520" y="1786542"/>
                  </a:cubicBezTo>
                  <a:cubicBezTo>
                    <a:pt x="1762714" y="1776238"/>
                    <a:pt x="1679075" y="1759789"/>
                    <a:pt x="1597103" y="1737195"/>
                  </a:cubicBezTo>
                  <a:cubicBezTo>
                    <a:pt x="1566946" y="1728880"/>
                    <a:pt x="1527459" y="1682064"/>
                    <a:pt x="1497636" y="1672123"/>
                  </a:cubicBezTo>
                  <a:cubicBezTo>
                    <a:pt x="1447985" y="1655493"/>
                    <a:pt x="1408664" y="1674473"/>
                    <a:pt x="1360347" y="1653505"/>
                  </a:cubicBezTo>
                  <a:cubicBezTo>
                    <a:pt x="1299034" y="1626934"/>
                    <a:pt x="1264046" y="1634345"/>
                    <a:pt x="1205065" y="1600544"/>
                  </a:cubicBezTo>
                  <a:cubicBezTo>
                    <a:pt x="1177241" y="1584637"/>
                    <a:pt x="1124592" y="1530230"/>
                    <a:pt x="1097267" y="1512696"/>
                  </a:cubicBezTo>
                  <a:cubicBezTo>
                    <a:pt x="1055115" y="1485763"/>
                    <a:pt x="1019793" y="1427018"/>
                    <a:pt x="979140" y="1396289"/>
                  </a:cubicBezTo>
                  <a:cubicBezTo>
                    <a:pt x="936154" y="1363754"/>
                    <a:pt x="887670" y="1358872"/>
                    <a:pt x="846184" y="1322179"/>
                  </a:cubicBezTo>
                  <a:cubicBezTo>
                    <a:pt x="811195" y="1291451"/>
                    <a:pt x="746217" y="1265422"/>
                    <a:pt x="712561" y="1231801"/>
                  </a:cubicBezTo>
                  <a:cubicBezTo>
                    <a:pt x="658746" y="1177936"/>
                    <a:pt x="681405" y="1094245"/>
                    <a:pt x="631088" y="1033150"/>
                  </a:cubicBezTo>
                  <a:cubicBezTo>
                    <a:pt x="606263" y="1002963"/>
                    <a:pt x="537786" y="991757"/>
                    <a:pt x="513794" y="959944"/>
                  </a:cubicBezTo>
                  <a:cubicBezTo>
                    <a:pt x="465310" y="895595"/>
                    <a:pt x="418492" y="827450"/>
                    <a:pt x="373673" y="755871"/>
                  </a:cubicBezTo>
                  <a:cubicBezTo>
                    <a:pt x="357679" y="730203"/>
                    <a:pt x="365176" y="639464"/>
                    <a:pt x="349682" y="613073"/>
                  </a:cubicBezTo>
                  <a:cubicBezTo>
                    <a:pt x="307529" y="540951"/>
                    <a:pt x="243716" y="530287"/>
                    <a:pt x="205229" y="451658"/>
                  </a:cubicBezTo>
                  <a:cubicBezTo>
                    <a:pt x="192567" y="425991"/>
                    <a:pt x="180238" y="399962"/>
                    <a:pt x="168075" y="373571"/>
                  </a:cubicBezTo>
                  <a:cubicBezTo>
                    <a:pt x="145249" y="323682"/>
                    <a:pt x="122924" y="272709"/>
                    <a:pt x="101597" y="220290"/>
                  </a:cubicBezTo>
                  <a:close/>
                  <a:moveTo>
                    <a:pt x="2895809" y="23150"/>
                  </a:moveTo>
                  <a:lnTo>
                    <a:pt x="2895809" y="23114"/>
                  </a:lnTo>
                  <a:close/>
                </a:path>
              </a:pathLst>
            </a:custGeom>
            <a:noFill/>
            <a:ln w="6950">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11" name="Group 10">
            <a:extLst>
              <a:ext uri="{FF2B5EF4-FFF2-40B4-BE49-F238E27FC236}">
                <a16:creationId xmlns:a16="http://schemas.microsoft.com/office/drawing/2014/main" id="{51997C8A-5CEC-8F83-AC9C-F0D513EF25B9}"/>
              </a:ext>
            </a:extLst>
          </p:cNvPr>
          <p:cNvGrpSpPr/>
          <p:nvPr/>
        </p:nvGrpSpPr>
        <p:grpSpPr>
          <a:xfrm>
            <a:off x="1358835" y="4023912"/>
            <a:ext cx="6661443" cy="111210"/>
            <a:chOff x="789680" y="3113902"/>
            <a:chExt cx="6661443" cy="111210"/>
          </a:xfrm>
        </p:grpSpPr>
        <p:sp>
          <p:nvSpPr>
            <p:cNvPr id="34" name="Rounded Rectangle 4">
              <a:extLst>
                <a:ext uri="{FF2B5EF4-FFF2-40B4-BE49-F238E27FC236}">
                  <a16:creationId xmlns:a16="http://schemas.microsoft.com/office/drawing/2014/main" id="{2E338424-5AB8-A538-33E1-C3BE5C9AEE4D}"/>
                </a:ext>
              </a:extLst>
            </p:cNvPr>
            <p:cNvSpPr/>
            <p:nvPr/>
          </p:nvSpPr>
          <p:spPr>
            <a:xfrm>
              <a:off x="789680" y="3113902"/>
              <a:ext cx="6661443" cy="111210"/>
            </a:xfrm>
            <a:custGeom>
              <a:avLst/>
              <a:gdLst/>
              <a:ahLst/>
              <a:cxnLst/>
              <a:rect l="0" t="0" r="0" b="0"/>
              <a:pathLst>
                <a:path w="6661443" h="111210">
                  <a:moveTo>
                    <a:pt x="0" y="0"/>
                  </a:moveTo>
                  <a:lnTo>
                    <a:pt x="6661442" y="0"/>
                  </a:lnTo>
                  <a:lnTo>
                    <a:pt x="6661443" y="5138"/>
                  </a:lnTo>
                  <a:cubicBezTo>
                    <a:pt x="6638441" y="5138"/>
                    <a:pt x="6616114" y="15272"/>
                    <a:pt x="6594463" y="27802"/>
                  </a:cubicBezTo>
                  <a:cubicBezTo>
                    <a:pt x="6586580" y="32364"/>
                    <a:pt x="6578785" y="37245"/>
                    <a:pt x="6571082" y="42068"/>
                  </a:cubicBezTo>
                  <a:cubicBezTo>
                    <a:pt x="6544532" y="58690"/>
                    <a:pt x="6519047" y="74645"/>
                    <a:pt x="6494627" y="74645"/>
                  </a:cubicBezTo>
                  <a:cubicBezTo>
                    <a:pt x="6481387" y="74645"/>
                    <a:pt x="6458457" y="77470"/>
                    <a:pt x="6430464" y="80918"/>
                  </a:cubicBezTo>
                  <a:cubicBezTo>
                    <a:pt x="6350683" y="90747"/>
                    <a:pt x="6229779" y="105641"/>
                    <a:pt x="6174895" y="74645"/>
                  </a:cubicBezTo>
                  <a:cubicBezTo>
                    <a:pt x="6121895" y="44713"/>
                    <a:pt x="6064161" y="57575"/>
                    <a:pt x="6020310" y="67344"/>
                  </a:cubicBezTo>
                  <a:cubicBezTo>
                    <a:pt x="6002817" y="71240"/>
                    <a:pt x="5987535" y="74645"/>
                    <a:pt x="5975643" y="74645"/>
                  </a:cubicBezTo>
                  <a:cubicBezTo>
                    <a:pt x="5957001" y="74645"/>
                    <a:pt x="5915214" y="91197"/>
                    <a:pt x="5872215" y="111210"/>
                  </a:cubicBezTo>
                  <a:lnTo>
                    <a:pt x="655059" y="111210"/>
                  </a:lnTo>
                  <a:cubicBezTo>
                    <a:pt x="613857" y="96049"/>
                    <a:pt x="496721" y="64398"/>
                    <a:pt x="470708" y="74645"/>
                  </a:cubicBezTo>
                  <a:cubicBezTo>
                    <a:pt x="383693" y="108920"/>
                    <a:pt x="308764" y="81600"/>
                    <a:pt x="259887" y="63779"/>
                  </a:cubicBezTo>
                  <a:cubicBezTo>
                    <a:pt x="241090" y="56925"/>
                    <a:pt x="226146" y="51476"/>
                    <a:pt x="215849" y="51476"/>
                  </a:cubicBezTo>
                  <a:cubicBezTo>
                    <a:pt x="174717" y="51476"/>
                    <a:pt x="170312" y="49316"/>
                    <a:pt x="152479" y="40569"/>
                  </a:cubicBezTo>
                  <a:cubicBezTo>
                    <a:pt x="145827" y="37307"/>
                    <a:pt x="137305" y="33127"/>
                    <a:pt x="124313" y="27802"/>
                  </a:cubicBezTo>
                  <a:cubicBezTo>
                    <a:pt x="121126" y="26496"/>
                    <a:pt x="117670" y="25121"/>
                    <a:pt x="113906" y="23674"/>
                  </a:cubicBezTo>
                  <a:cubicBezTo>
                    <a:pt x="83969" y="12159"/>
                    <a:pt x="42588" y="4078"/>
                    <a:pt x="0" y="0"/>
                  </a:cubicBez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35" name="Rounded Rectangle 5">
              <a:extLst>
                <a:ext uri="{FF2B5EF4-FFF2-40B4-BE49-F238E27FC236}">
                  <a16:creationId xmlns:a16="http://schemas.microsoft.com/office/drawing/2014/main" id="{1A67C7E0-CE62-3D58-6C35-1CEB69D77989}"/>
                </a:ext>
              </a:extLst>
            </p:cNvPr>
            <p:cNvSpPr/>
            <p:nvPr/>
          </p:nvSpPr>
          <p:spPr>
            <a:xfrm>
              <a:off x="789680" y="3113902"/>
              <a:ext cx="6661443" cy="111210"/>
            </a:xfrm>
            <a:custGeom>
              <a:avLst/>
              <a:gdLst/>
              <a:ahLst/>
              <a:cxnLst/>
              <a:rect l="0" t="0" r="0" b="0"/>
              <a:pathLst>
                <a:path w="6661443" h="111210">
                  <a:moveTo>
                    <a:pt x="0" y="0"/>
                  </a:moveTo>
                  <a:lnTo>
                    <a:pt x="6661442" y="0"/>
                  </a:lnTo>
                  <a:lnTo>
                    <a:pt x="6661443" y="5138"/>
                  </a:lnTo>
                  <a:cubicBezTo>
                    <a:pt x="6638441" y="5138"/>
                    <a:pt x="6616114" y="15272"/>
                    <a:pt x="6594463" y="27802"/>
                  </a:cubicBezTo>
                  <a:cubicBezTo>
                    <a:pt x="6586580" y="32364"/>
                    <a:pt x="6578785" y="37245"/>
                    <a:pt x="6571082" y="42068"/>
                  </a:cubicBezTo>
                  <a:cubicBezTo>
                    <a:pt x="6544532" y="58690"/>
                    <a:pt x="6519047" y="74645"/>
                    <a:pt x="6494627" y="74645"/>
                  </a:cubicBezTo>
                  <a:cubicBezTo>
                    <a:pt x="6481387" y="74645"/>
                    <a:pt x="6458457" y="77470"/>
                    <a:pt x="6430464" y="80918"/>
                  </a:cubicBezTo>
                  <a:cubicBezTo>
                    <a:pt x="6350683" y="90747"/>
                    <a:pt x="6229779" y="105641"/>
                    <a:pt x="6174895" y="74645"/>
                  </a:cubicBezTo>
                  <a:cubicBezTo>
                    <a:pt x="6121895" y="44713"/>
                    <a:pt x="6064161" y="57575"/>
                    <a:pt x="6020310" y="67344"/>
                  </a:cubicBezTo>
                  <a:cubicBezTo>
                    <a:pt x="6002817" y="71240"/>
                    <a:pt x="5987535" y="74645"/>
                    <a:pt x="5975643" y="74645"/>
                  </a:cubicBezTo>
                  <a:cubicBezTo>
                    <a:pt x="5957001" y="74645"/>
                    <a:pt x="5915214" y="91197"/>
                    <a:pt x="5872215" y="111210"/>
                  </a:cubicBezTo>
                  <a:lnTo>
                    <a:pt x="655059" y="111210"/>
                  </a:lnTo>
                  <a:cubicBezTo>
                    <a:pt x="613857" y="96049"/>
                    <a:pt x="496721" y="64398"/>
                    <a:pt x="470708" y="74645"/>
                  </a:cubicBezTo>
                  <a:cubicBezTo>
                    <a:pt x="383693" y="108920"/>
                    <a:pt x="308764" y="81600"/>
                    <a:pt x="259887" y="63779"/>
                  </a:cubicBezTo>
                  <a:cubicBezTo>
                    <a:pt x="241090" y="56925"/>
                    <a:pt x="226146" y="51476"/>
                    <a:pt x="215849" y="51476"/>
                  </a:cubicBezTo>
                  <a:cubicBezTo>
                    <a:pt x="174717" y="51476"/>
                    <a:pt x="170312" y="49316"/>
                    <a:pt x="152479" y="40569"/>
                  </a:cubicBezTo>
                  <a:cubicBezTo>
                    <a:pt x="145827" y="37307"/>
                    <a:pt x="137305" y="33127"/>
                    <a:pt x="124313" y="27802"/>
                  </a:cubicBezTo>
                  <a:cubicBezTo>
                    <a:pt x="121126" y="26496"/>
                    <a:pt x="117670" y="25121"/>
                    <a:pt x="113906" y="23674"/>
                  </a:cubicBezTo>
                  <a:cubicBezTo>
                    <a:pt x="83969" y="12159"/>
                    <a:pt x="42588" y="4078"/>
                    <a:pt x="0" y="0"/>
                  </a:cubicBezTo>
                  <a:close/>
                  <a:moveTo>
                    <a:pt x="6594463" y="27802"/>
                  </a:moveTo>
                  <a:lnTo>
                    <a:pt x="124312" y="27802"/>
                  </a:lnTo>
                </a:path>
              </a:pathLst>
            </a:custGeom>
            <a:noFill/>
            <a:ln w="6950">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12" name="Group 11">
            <a:extLst>
              <a:ext uri="{FF2B5EF4-FFF2-40B4-BE49-F238E27FC236}">
                <a16:creationId xmlns:a16="http://schemas.microsoft.com/office/drawing/2014/main" id="{C6B21938-E40D-484D-99CC-CA81926599E0}"/>
              </a:ext>
            </a:extLst>
          </p:cNvPr>
          <p:cNvGrpSpPr/>
          <p:nvPr/>
        </p:nvGrpSpPr>
        <p:grpSpPr>
          <a:xfrm>
            <a:off x="1699797" y="2394508"/>
            <a:ext cx="5968314" cy="1476487"/>
            <a:chOff x="1130642" y="1484498"/>
            <a:chExt cx="5968314" cy="1476487"/>
          </a:xfrm>
        </p:grpSpPr>
        <p:sp>
          <p:nvSpPr>
            <p:cNvPr id="32" name="Rounded Rectangle 7">
              <a:extLst>
                <a:ext uri="{FF2B5EF4-FFF2-40B4-BE49-F238E27FC236}">
                  <a16:creationId xmlns:a16="http://schemas.microsoft.com/office/drawing/2014/main" id="{7780C5E9-6435-6C0C-9A88-C64F74A63695}"/>
                </a:ext>
              </a:extLst>
            </p:cNvPr>
            <p:cNvSpPr/>
            <p:nvPr/>
          </p:nvSpPr>
          <p:spPr>
            <a:xfrm>
              <a:off x="1130642" y="1484498"/>
              <a:ext cx="5968314" cy="1476487"/>
            </a:xfrm>
            <a:custGeom>
              <a:avLst/>
              <a:gdLst/>
              <a:ahLst/>
              <a:cxnLst/>
              <a:rect l="0" t="0" r="0" b="0"/>
              <a:pathLst>
                <a:path w="5968314" h="1476487">
                  <a:moveTo>
                    <a:pt x="5968314" y="1476323"/>
                  </a:moveTo>
                  <a:cubicBezTo>
                    <a:pt x="5464369" y="1467436"/>
                    <a:pt x="5102874" y="1097110"/>
                    <a:pt x="4868511" y="733738"/>
                  </a:cubicBezTo>
                  <a:cubicBezTo>
                    <a:pt x="4749501" y="549216"/>
                    <a:pt x="4662178" y="364868"/>
                    <a:pt x="4604621" y="226747"/>
                  </a:cubicBezTo>
                  <a:cubicBezTo>
                    <a:pt x="4576403" y="159033"/>
                    <a:pt x="4555306" y="102346"/>
                    <a:pt x="4541109" y="62085"/>
                  </a:cubicBezTo>
                  <a:lnTo>
                    <a:pt x="4541109" y="16845"/>
                  </a:lnTo>
                  <a:lnTo>
                    <a:pt x="4568911" y="16845"/>
                  </a:lnTo>
                  <a:lnTo>
                    <a:pt x="4568911" y="1"/>
                  </a:lnTo>
                  <a:cubicBezTo>
                    <a:pt x="4572343" y="10505"/>
                    <a:pt x="4577353" y="25467"/>
                    <a:pt x="4583965" y="44277"/>
                  </a:cubicBezTo>
                  <a:cubicBezTo>
                    <a:pt x="4597913" y="83958"/>
                    <a:pt x="4618982" y="140743"/>
                    <a:pt x="4647394" y="208923"/>
                  </a:cubicBezTo>
                  <a:cubicBezTo>
                    <a:pt x="4704248" y="345355"/>
                    <a:pt x="4790361" y="527076"/>
                    <a:pt x="4907453" y="708622"/>
                  </a:cubicBezTo>
                  <a:cubicBezTo>
                    <a:pt x="5139452" y="1068329"/>
                    <a:pt x="5488826" y="1421090"/>
                    <a:pt x="5968314" y="1429977"/>
                  </a:cubicBezTo>
                  <a:close/>
                  <a:moveTo>
                    <a:pt x="1581274" y="44277"/>
                  </a:moveTo>
                  <a:cubicBezTo>
                    <a:pt x="1595221" y="83959"/>
                    <a:pt x="1616290" y="140742"/>
                    <a:pt x="1644702" y="208924"/>
                  </a:cubicBezTo>
                  <a:cubicBezTo>
                    <a:pt x="1701556" y="345355"/>
                    <a:pt x="1787669" y="527076"/>
                    <a:pt x="1904761" y="708623"/>
                  </a:cubicBezTo>
                  <a:cubicBezTo>
                    <a:pt x="2139739" y="1072948"/>
                    <a:pt x="2495126" y="1430149"/>
                    <a:pt x="2984159" y="1430149"/>
                  </a:cubicBezTo>
                  <a:cubicBezTo>
                    <a:pt x="3473191" y="1430149"/>
                    <a:pt x="3828578" y="1072948"/>
                    <a:pt x="4063557" y="708623"/>
                  </a:cubicBezTo>
                  <a:cubicBezTo>
                    <a:pt x="4180649" y="527076"/>
                    <a:pt x="4266762" y="345355"/>
                    <a:pt x="4323616" y="208924"/>
                  </a:cubicBezTo>
                  <a:cubicBezTo>
                    <a:pt x="4352028" y="140742"/>
                    <a:pt x="4373097" y="83959"/>
                    <a:pt x="4387045" y="44277"/>
                  </a:cubicBezTo>
                  <a:cubicBezTo>
                    <a:pt x="4393654" y="25473"/>
                    <a:pt x="4398663" y="10514"/>
                    <a:pt x="4402095" y="10"/>
                  </a:cubicBezTo>
                  <a:lnTo>
                    <a:pt x="4402095" y="16845"/>
                  </a:lnTo>
                  <a:lnTo>
                    <a:pt x="4429898" y="16845"/>
                  </a:lnTo>
                  <a:lnTo>
                    <a:pt x="4429898" y="62094"/>
                  </a:lnTo>
                  <a:cubicBezTo>
                    <a:pt x="4415701" y="102354"/>
                    <a:pt x="4394604" y="159038"/>
                    <a:pt x="4366388" y="226747"/>
                  </a:cubicBezTo>
                  <a:cubicBezTo>
                    <a:pt x="4308831" y="364868"/>
                    <a:pt x="4221508" y="549216"/>
                    <a:pt x="4102498" y="733738"/>
                  </a:cubicBezTo>
                  <a:cubicBezTo>
                    <a:pt x="3865271" y="1101550"/>
                    <a:pt x="3497788" y="1476487"/>
                    <a:pt x="2984159" y="1476487"/>
                  </a:cubicBezTo>
                  <a:cubicBezTo>
                    <a:pt x="2470530" y="1476487"/>
                    <a:pt x="2103046" y="1101550"/>
                    <a:pt x="1865821" y="733738"/>
                  </a:cubicBezTo>
                  <a:cubicBezTo>
                    <a:pt x="1746809" y="549216"/>
                    <a:pt x="1659486" y="364868"/>
                    <a:pt x="1601929" y="226747"/>
                  </a:cubicBezTo>
                  <a:cubicBezTo>
                    <a:pt x="1573712" y="159033"/>
                    <a:pt x="1552614" y="102346"/>
                    <a:pt x="1538417" y="62085"/>
                  </a:cubicBezTo>
                  <a:lnTo>
                    <a:pt x="1538417" y="16845"/>
                  </a:lnTo>
                  <a:lnTo>
                    <a:pt x="1566220" y="16845"/>
                  </a:lnTo>
                  <a:lnTo>
                    <a:pt x="1566220" y="0"/>
                  </a:lnTo>
                  <a:cubicBezTo>
                    <a:pt x="1569651" y="10504"/>
                    <a:pt x="1574661" y="25467"/>
                    <a:pt x="1581274" y="44277"/>
                  </a:cubicBezTo>
                  <a:close/>
                  <a:moveTo>
                    <a:pt x="1363695" y="226748"/>
                  </a:moveTo>
                  <a:cubicBezTo>
                    <a:pt x="1306138" y="364868"/>
                    <a:pt x="1218815" y="549216"/>
                    <a:pt x="1099805" y="733739"/>
                  </a:cubicBezTo>
                  <a:cubicBezTo>
                    <a:pt x="865442" y="1097111"/>
                    <a:pt x="503947" y="1467438"/>
                    <a:pt x="0" y="1476324"/>
                  </a:cubicBezTo>
                  <a:lnTo>
                    <a:pt x="0" y="1429978"/>
                  </a:lnTo>
                  <a:cubicBezTo>
                    <a:pt x="479490" y="1421092"/>
                    <a:pt x="828865" y="1068330"/>
                    <a:pt x="1060864" y="708623"/>
                  </a:cubicBezTo>
                  <a:cubicBezTo>
                    <a:pt x="1177956" y="527076"/>
                    <a:pt x="1264070" y="345355"/>
                    <a:pt x="1320923" y="208924"/>
                  </a:cubicBezTo>
                  <a:cubicBezTo>
                    <a:pt x="1349335" y="140742"/>
                    <a:pt x="1370404" y="83959"/>
                    <a:pt x="1384352" y="44278"/>
                  </a:cubicBezTo>
                  <a:cubicBezTo>
                    <a:pt x="1390962" y="25471"/>
                    <a:pt x="1395971" y="10512"/>
                    <a:pt x="1399403" y="7"/>
                  </a:cubicBezTo>
                  <a:lnTo>
                    <a:pt x="1399403" y="16845"/>
                  </a:lnTo>
                  <a:lnTo>
                    <a:pt x="1427206" y="16845"/>
                  </a:lnTo>
                  <a:lnTo>
                    <a:pt x="1427206" y="62091"/>
                  </a:lnTo>
                  <a:cubicBezTo>
                    <a:pt x="1413009" y="102352"/>
                    <a:pt x="1391912" y="159036"/>
                    <a:pt x="1363695" y="226748"/>
                  </a:cubicBez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33" name="Rounded Rectangle 8">
              <a:extLst>
                <a:ext uri="{FF2B5EF4-FFF2-40B4-BE49-F238E27FC236}">
                  <a16:creationId xmlns:a16="http://schemas.microsoft.com/office/drawing/2014/main" id="{275EC7D3-C79F-9970-BF5A-926F2A072C6C}"/>
                </a:ext>
              </a:extLst>
            </p:cNvPr>
            <p:cNvSpPr/>
            <p:nvPr/>
          </p:nvSpPr>
          <p:spPr>
            <a:xfrm>
              <a:off x="1130642" y="1484498"/>
              <a:ext cx="5968314" cy="1476487"/>
            </a:xfrm>
            <a:custGeom>
              <a:avLst/>
              <a:gdLst/>
              <a:ahLst/>
              <a:cxnLst/>
              <a:rect l="0" t="0" r="0" b="0"/>
              <a:pathLst>
                <a:path w="5968314" h="1476487">
                  <a:moveTo>
                    <a:pt x="5968314" y="1476323"/>
                  </a:moveTo>
                  <a:cubicBezTo>
                    <a:pt x="5464369" y="1467436"/>
                    <a:pt x="5102874" y="1097110"/>
                    <a:pt x="4868511" y="733738"/>
                  </a:cubicBezTo>
                  <a:cubicBezTo>
                    <a:pt x="4749501" y="549216"/>
                    <a:pt x="4662178" y="364868"/>
                    <a:pt x="4604621" y="226747"/>
                  </a:cubicBezTo>
                  <a:cubicBezTo>
                    <a:pt x="4576403" y="159033"/>
                    <a:pt x="4555306" y="102346"/>
                    <a:pt x="4541109" y="62085"/>
                  </a:cubicBezTo>
                  <a:lnTo>
                    <a:pt x="4541109" y="16845"/>
                  </a:lnTo>
                  <a:lnTo>
                    <a:pt x="4568911" y="16845"/>
                  </a:lnTo>
                  <a:lnTo>
                    <a:pt x="4568911" y="1"/>
                  </a:lnTo>
                  <a:cubicBezTo>
                    <a:pt x="4572343" y="10505"/>
                    <a:pt x="4577353" y="25467"/>
                    <a:pt x="4583965" y="44277"/>
                  </a:cubicBezTo>
                  <a:cubicBezTo>
                    <a:pt x="4597913" y="83958"/>
                    <a:pt x="4618982" y="140743"/>
                    <a:pt x="4647394" y="208923"/>
                  </a:cubicBezTo>
                  <a:cubicBezTo>
                    <a:pt x="4704248" y="345355"/>
                    <a:pt x="4790361" y="527076"/>
                    <a:pt x="4907453" y="708622"/>
                  </a:cubicBezTo>
                  <a:cubicBezTo>
                    <a:pt x="5139452" y="1068329"/>
                    <a:pt x="5488826" y="1421090"/>
                    <a:pt x="5968314" y="1429977"/>
                  </a:cubicBezTo>
                  <a:close/>
                  <a:moveTo>
                    <a:pt x="1581274" y="44277"/>
                  </a:moveTo>
                  <a:cubicBezTo>
                    <a:pt x="1595221" y="83959"/>
                    <a:pt x="1616290" y="140742"/>
                    <a:pt x="1644702" y="208924"/>
                  </a:cubicBezTo>
                  <a:cubicBezTo>
                    <a:pt x="1701556" y="345355"/>
                    <a:pt x="1787669" y="527076"/>
                    <a:pt x="1904761" y="708623"/>
                  </a:cubicBezTo>
                  <a:cubicBezTo>
                    <a:pt x="2139739" y="1072948"/>
                    <a:pt x="2495126" y="1430149"/>
                    <a:pt x="2984159" y="1430149"/>
                  </a:cubicBezTo>
                  <a:cubicBezTo>
                    <a:pt x="3473191" y="1430149"/>
                    <a:pt x="3828578" y="1072948"/>
                    <a:pt x="4063557" y="708623"/>
                  </a:cubicBezTo>
                  <a:cubicBezTo>
                    <a:pt x="4180649" y="527076"/>
                    <a:pt x="4266762" y="345355"/>
                    <a:pt x="4323616" y="208924"/>
                  </a:cubicBezTo>
                  <a:cubicBezTo>
                    <a:pt x="4352028" y="140742"/>
                    <a:pt x="4373097" y="83959"/>
                    <a:pt x="4387045" y="44277"/>
                  </a:cubicBezTo>
                  <a:cubicBezTo>
                    <a:pt x="4393654" y="25473"/>
                    <a:pt x="4398663" y="10514"/>
                    <a:pt x="4402095" y="10"/>
                  </a:cubicBezTo>
                  <a:lnTo>
                    <a:pt x="4402095" y="16845"/>
                  </a:lnTo>
                  <a:lnTo>
                    <a:pt x="4429898" y="16845"/>
                  </a:lnTo>
                  <a:lnTo>
                    <a:pt x="4429898" y="62094"/>
                  </a:lnTo>
                  <a:cubicBezTo>
                    <a:pt x="4415701" y="102354"/>
                    <a:pt x="4394604" y="159038"/>
                    <a:pt x="4366388" y="226747"/>
                  </a:cubicBezTo>
                  <a:cubicBezTo>
                    <a:pt x="4308831" y="364868"/>
                    <a:pt x="4221508" y="549216"/>
                    <a:pt x="4102498" y="733738"/>
                  </a:cubicBezTo>
                  <a:cubicBezTo>
                    <a:pt x="3865271" y="1101550"/>
                    <a:pt x="3497788" y="1476487"/>
                    <a:pt x="2984159" y="1476487"/>
                  </a:cubicBezTo>
                  <a:cubicBezTo>
                    <a:pt x="2470530" y="1476487"/>
                    <a:pt x="2103046" y="1101550"/>
                    <a:pt x="1865821" y="733738"/>
                  </a:cubicBezTo>
                  <a:cubicBezTo>
                    <a:pt x="1746809" y="549216"/>
                    <a:pt x="1659486" y="364868"/>
                    <a:pt x="1601929" y="226747"/>
                  </a:cubicBezTo>
                  <a:cubicBezTo>
                    <a:pt x="1573712" y="159033"/>
                    <a:pt x="1552614" y="102346"/>
                    <a:pt x="1538417" y="62085"/>
                  </a:cubicBezTo>
                  <a:lnTo>
                    <a:pt x="1538417" y="16845"/>
                  </a:lnTo>
                  <a:lnTo>
                    <a:pt x="1566220" y="16845"/>
                  </a:lnTo>
                  <a:lnTo>
                    <a:pt x="1566220" y="0"/>
                  </a:lnTo>
                  <a:cubicBezTo>
                    <a:pt x="1569651" y="10504"/>
                    <a:pt x="1574661" y="25467"/>
                    <a:pt x="1581274" y="44277"/>
                  </a:cubicBezTo>
                  <a:close/>
                  <a:moveTo>
                    <a:pt x="1363695" y="226748"/>
                  </a:moveTo>
                  <a:cubicBezTo>
                    <a:pt x="1306138" y="364868"/>
                    <a:pt x="1218815" y="549216"/>
                    <a:pt x="1099805" y="733739"/>
                  </a:cubicBezTo>
                  <a:cubicBezTo>
                    <a:pt x="865442" y="1097111"/>
                    <a:pt x="503947" y="1467438"/>
                    <a:pt x="0" y="1476324"/>
                  </a:cubicBezTo>
                  <a:lnTo>
                    <a:pt x="0" y="1429978"/>
                  </a:lnTo>
                  <a:cubicBezTo>
                    <a:pt x="479490" y="1421092"/>
                    <a:pt x="828865" y="1068330"/>
                    <a:pt x="1060864" y="708623"/>
                  </a:cubicBezTo>
                  <a:cubicBezTo>
                    <a:pt x="1177956" y="527076"/>
                    <a:pt x="1264070" y="345355"/>
                    <a:pt x="1320923" y="208924"/>
                  </a:cubicBezTo>
                  <a:cubicBezTo>
                    <a:pt x="1349335" y="140742"/>
                    <a:pt x="1370404" y="83959"/>
                    <a:pt x="1384352" y="44278"/>
                  </a:cubicBezTo>
                  <a:cubicBezTo>
                    <a:pt x="1390962" y="25471"/>
                    <a:pt x="1395971" y="10512"/>
                    <a:pt x="1399403" y="7"/>
                  </a:cubicBezTo>
                  <a:lnTo>
                    <a:pt x="1399403" y="16845"/>
                  </a:lnTo>
                  <a:lnTo>
                    <a:pt x="1427206" y="16845"/>
                  </a:lnTo>
                  <a:lnTo>
                    <a:pt x="1427206" y="62091"/>
                  </a:lnTo>
                  <a:cubicBezTo>
                    <a:pt x="1413009" y="102352"/>
                    <a:pt x="1391912" y="159036"/>
                    <a:pt x="1363695" y="226748"/>
                  </a:cubicBezTo>
                  <a:close/>
                </a:path>
              </a:pathLst>
            </a:custGeom>
            <a:noFill/>
            <a:ln w="6950">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sp>
        <p:nvSpPr>
          <p:cNvPr id="13" name="Rounded Rectangle 10">
            <a:extLst>
              <a:ext uri="{FF2B5EF4-FFF2-40B4-BE49-F238E27FC236}">
                <a16:creationId xmlns:a16="http://schemas.microsoft.com/office/drawing/2014/main" id="{238DD08D-EB97-D0A2-41E0-A56AA270E9A4}"/>
              </a:ext>
            </a:extLst>
          </p:cNvPr>
          <p:cNvSpPr/>
          <p:nvPr/>
        </p:nvSpPr>
        <p:spPr>
          <a:xfrm>
            <a:off x="1681263" y="2730439"/>
            <a:ext cx="6005383" cy="1274939"/>
          </a:xfrm>
          <a:custGeom>
            <a:avLst/>
            <a:gdLst/>
            <a:ahLst/>
            <a:cxnLst/>
            <a:rect l="0" t="0" r="0" b="0"/>
            <a:pathLst>
              <a:path w="6005383" h="1274939">
                <a:moveTo>
                  <a:pt x="166816" y="1127033"/>
                </a:moveTo>
                <a:lnTo>
                  <a:pt x="166816" y="1274939"/>
                </a:lnTo>
                <a:moveTo>
                  <a:pt x="333632" y="1084943"/>
                </a:moveTo>
                <a:lnTo>
                  <a:pt x="333632" y="1274939"/>
                </a:lnTo>
                <a:moveTo>
                  <a:pt x="500448" y="1011635"/>
                </a:moveTo>
                <a:lnTo>
                  <a:pt x="500448" y="1274939"/>
                </a:lnTo>
                <a:moveTo>
                  <a:pt x="667264" y="1274939"/>
                </a:moveTo>
                <a:lnTo>
                  <a:pt x="667264" y="903757"/>
                </a:lnTo>
                <a:moveTo>
                  <a:pt x="834081" y="756903"/>
                </a:moveTo>
                <a:lnTo>
                  <a:pt x="834081" y="1274939"/>
                </a:lnTo>
                <a:moveTo>
                  <a:pt x="1000897" y="564922"/>
                </a:moveTo>
                <a:lnTo>
                  <a:pt x="1000897" y="1274939"/>
                </a:lnTo>
                <a:moveTo>
                  <a:pt x="1167713" y="318365"/>
                </a:moveTo>
                <a:lnTo>
                  <a:pt x="1167713" y="1274939"/>
                </a:lnTo>
                <a:moveTo>
                  <a:pt x="1334529" y="0"/>
                </a:moveTo>
                <a:lnTo>
                  <a:pt x="1334529" y="1274939"/>
                </a:lnTo>
                <a:moveTo>
                  <a:pt x="0" y="1140556"/>
                </a:moveTo>
                <a:lnTo>
                  <a:pt x="0" y="1274939"/>
                </a:lnTo>
                <a:moveTo>
                  <a:pt x="2835875" y="1274939"/>
                </a:moveTo>
                <a:lnTo>
                  <a:pt x="2835875" y="1127033"/>
                </a:lnTo>
                <a:moveTo>
                  <a:pt x="2669059" y="1274939"/>
                </a:moveTo>
                <a:lnTo>
                  <a:pt x="2669059" y="1084943"/>
                </a:lnTo>
                <a:moveTo>
                  <a:pt x="2502243" y="1274939"/>
                </a:moveTo>
                <a:lnTo>
                  <a:pt x="2502243" y="1011635"/>
                </a:lnTo>
                <a:moveTo>
                  <a:pt x="2335427" y="1274939"/>
                </a:moveTo>
                <a:lnTo>
                  <a:pt x="2335427" y="903757"/>
                </a:lnTo>
                <a:moveTo>
                  <a:pt x="2168610" y="1274939"/>
                </a:moveTo>
                <a:lnTo>
                  <a:pt x="2168610" y="756903"/>
                </a:lnTo>
                <a:moveTo>
                  <a:pt x="2001794" y="564922"/>
                </a:moveTo>
                <a:lnTo>
                  <a:pt x="2001794" y="1274939"/>
                </a:lnTo>
                <a:moveTo>
                  <a:pt x="1834978" y="318365"/>
                </a:moveTo>
                <a:lnTo>
                  <a:pt x="1834978" y="1274939"/>
                </a:lnTo>
                <a:moveTo>
                  <a:pt x="1668162" y="1274939"/>
                </a:moveTo>
                <a:lnTo>
                  <a:pt x="1668162" y="0"/>
                </a:lnTo>
                <a:moveTo>
                  <a:pt x="3002691" y="1140556"/>
                </a:moveTo>
                <a:lnTo>
                  <a:pt x="3002691" y="1274939"/>
                </a:lnTo>
                <a:moveTo>
                  <a:pt x="3169508" y="1274939"/>
                </a:moveTo>
                <a:lnTo>
                  <a:pt x="3169508" y="1127033"/>
                </a:lnTo>
                <a:moveTo>
                  <a:pt x="3336324" y="1084943"/>
                </a:moveTo>
                <a:lnTo>
                  <a:pt x="3336324" y="1274939"/>
                </a:lnTo>
                <a:moveTo>
                  <a:pt x="3503140" y="1011635"/>
                </a:moveTo>
                <a:lnTo>
                  <a:pt x="3503140" y="1274939"/>
                </a:lnTo>
                <a:moveTo>
                  <a:pt x="3669956" y="903757"/>
                </a:moveTo>
                <a:lnTo>
                  <a:pt x="3669956" y="1274939"/>
                </a:lnTo>
                <a:moveTo>
                  <a:pt x="3836772" y="756903"/>
                </a:moveTo>
                <a:lnTo>
                  <a:pt x="3836772" y="1274939"/>
                </a:lnTo>
                <a:moveTo>
                  <a:pt x="4003589" y="564922"/>
                </a:moveTo>
                <a:lnTo>
                  <a:pt x="4003589" y="1274939"/>
                </a:lnTo>
                <a:moveTo>
                  <a:pt x="4170405" y="318365"/>
                </a:moveTo>
                <a:lnTo>
                  <a:pt x="4170405" y="1274939"/>
                </a:lnTo>
                <a:moveTo>
                  <a:pt x="4337221" y="0"/>
                </a:moveTo>
                <a:lnTo>
                  <a:pt x="4337221" y="1274939"/>
                </a:lnTo>
                <a:moveTo>
                  <a:pt x="5838567" y="1127033"/>
                </a:moveTo>
                <a:lnTo>
                  <a:pt x="5838567" y="1274939"/>
                </a:lnTo>
                <a:moveTo>
                  <a:pt x="5671751" y="1084943"/>
                </a:moveTo>
                <a:lnTo>
                  <a:pt x="5671751" y="1274939"/>
                </a:lnTo>
                <a:moveTo>
                  <a:pt x="5504935" y="1274939"/>
                </a:moveTo>
                <a:lnTo>
                  <a:pt x="5504935" y="1011635"/>
                </a:lnTo>
                <a:moveTo>
                  <a:pt x="5338118" y="903757"/>
                </a:moveTo>
                <a:lnTo>
                  <a:pt x="5338118" y="1274939"/>
                </a:lnTo>
                <a:moveTo>
                  <a:pt x="5171302" y="756903"/>
                </a:moveTo>
                <a:lnTo>
                  <a:pt x="5171302" y="1274939"/>
                </a:lnTo>
                <a:moveTo>
                  <a:pt x="5004486" y="564922"/>
                </a:moveTo>
                <a:lnTo>
                  <a:pt x="5004486" y="1274939"/>
                </a:lnTo>
                <a:moveTo>
                  <a:pt x="4837670" y="318365"/>
                </a:moveTo>
                <a:lnTo>
                  <a:pt x="4837670" y="1274939"/>
                </a:lnTo>
                <a:moveTo>
                  <a:pt x="4670854" y="0"/>
                </a:moveTo>
                <a:lnTo>
                  <a:pt x="4670854" y="1274939"/>
                </a:lnTo>
                <a:moveTo>
                  <a:pt x="6005383" y="1140556"/>
                </a:moveTo>
                <a:lnTo>
                  <a:pt x="6005383" y="1274939"/>
                </a:lnTo>
              </a:path>
            </a:pathLst>
          </a:custGeom>
          <a:noFill/>
          <a:ln w="6950">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nvGrpSpPr>
          <p:cNvPr id="14" name="Group 13">
            <a:extLst>
              <a:ext uri="{FF2B5EF4-FFF2-40B4-BE49-F238E27FC236}">
                <a16:creationId xmlns:a16="http://schemas.microsoft.com/office/drawing/2014/main" id="{A1BCCEB3-3646-3A58-CE87-C658438AE731}"/>
              </a:ext>
            </a:extLst>
          </p:cNvPr>
          <p:cNvGrpSpPr/>
          <p:nvPr/>
        </p:nvGrpSpPr>
        <p:grpSpPr>
          <a:xfrm>
            <a:off x="3015793" y="2309412"/>
            <a:ext cx="333632" cy="3265407"/>
            <a:chOff x="2446638" y="1399402"/>
            <a:chExt cx="333632" cy="3265407"/>
          </a:xfrm>
        </p:grpSpPr>
        <p:sp>
          <p:nvSpPr>
            <p:cNvPr id="30" name="Rounded Rectangle 11">
              <a:extLst>
                <a:ext uri="{FF2B5EF4-FFF2-40B4-BE49-F238E27FC236}">
                  <a16:creationId xmlns:a16="http://schemas.microsoft.com/office/drawing/2014/main" id="{19D9A377-AEAD-2EFA-C882-99EE6094A7B0}"/>
                </a:ext>
              </a:extLst>
            </p:cNvPr>
            <p:cNvSpPr/>
            <p:nvPr/>
          </p:nvSpPr>
          <p:spPr>
            <a:xfrm>
              <a:off x="2446638" y="1399402"/>
              <a:ext cx="333632" cy="3265407"/>
            </a:xfrm>
            <a:custGeom>
              <a:avLst/>
              <a:gdLst/>
              <a:ahLst/>
              <a:cxnLst/>
              <a:rect l="0" t="0" r="0" b="0"/>
              <a:pathLst>
                <a:path w="333632" h="3265407">
                  <a:moveTo>
                    <a:pt x="0" y="1825710"/>
                  </a:moveTo>
                  <a:lnTo>
                    <a:pt x="333632" y="1825710"/>
                  </a:lnTo>
                  <a:lnTo>
                    <a:pt x="333632" y="1881316"/>
                  </a:lnTo>
                  <a:lnTo>
                    <a:pt x="0" y="1881316"/>
                  </a:lnTo>
                  <a:close/>
                  <a:moveTo>
                    <a:pt x="111210" y="713602"/>
                  </a:moveTo>
                  <a:lnTo>
                    <a:pt x="222421" y="713602"/>
                  </a:lnTo>
                  <a:lnTo>
                    <a:pt x="250224" y="741405"/>
                  </a:lnTo>
                  <a:lnTo>
                    <a:pt x="250224" y="1714500"/>
                  </a:lnTo>
                  <a:lnTo>
                    <a:pt x="83408" y="1714500"/>
                  </a:lnTo>
                  <a:lnTo>
                    <a:pt x="83408" y="741405"/>
                  </a:lnTo>
                  <a:close/>
                  <a:moveTo>
                    <a:pt x="111210" y="101943"/>
                  </a:moveTo>
                  <a:lnTo>
                    <a:pt x="222421" y="101943"/>
                  </a:lnTo>
                  <a:lnTo>
                    <a:pt x="222421" y="713602"/>
                  </a:lnTo>
                  <a:lnTo>
                    <a:pt x="111210" y="713602"/>
                  </a:lnTo>
                  <a:close/>
                  <a:moveTo>
                    <a:pt x="55605" y="1881316"/>
                  </a:moveTo>
                  <a:lnTo>
                    <a:pt x="278027" y="1881316"/>
                  </a:lnTo>
                  <a:lnTo>
                    <a:pt x="278027" y="1936921"/>
                  </a:lnTo>
                  <a:lnTo>
                    <a:pt x="55605" y="1936921"/>
                  </a:lnTo>
                  <a:close/>
                  <a:moveTo>
                    <a:pt x="55605" y="2659791"/>
                  </a:moveTo>
                  <a:lnTo>
                    <a:pt x="278027" y="2659791"/>
                  </a:lnTo>
                  <a:lnTo>
                    <a:pt x="278027" y="2715397"/>
                  </a:lnTo>
                  <a:lnTo>
                    <a:pt x="55605" y="2715397"/>
                  </a:lnTo>
                  <a:close/>
                  <a:moveTo>
                    <a:pt x="83408" y="1936921"/>
                  </a:moveTo>
                  <a:lnTo>
                    <a:pt x="250224" y="1936921"/>
                  </a:lnTo>
                  <a:lnTo>
                    <a:pt x="250224" y="2659791"/>
                  </a:lnTo>
                  <a:lnTo>
                    <a:pt x="83408" y="2659791"/>
                  </a:lnTo>
                  <a:close/>
                  <a:moveTo>
                    <a:pt x="83408" y="37070"/>
                  </a:moveTo>
                  <a:lnTo>
                    <a:pt x="250224" y="37070"/>
                  </a:lnTo>
                  <a:lnTo>
                    <a:pt x="250224" y="101943"/>
                  </a:lnTo>
                  <a:lnTo>
                    <a:pt x="83408" y="101943"/>
                  </a:lnTo>
                  <a:close/>
                  <a:moveTo>
                    <a:pt x="120478" y="0"/>
                  </a:moveTo>
                  <a:lnTo>
                    <a:pt x="213154" y="0"/>
                  </a:lnTo>
                  <a:lnTo>
                    <a:pt x="213154" y="37070"/>
                  </a:lnTo>
                  <a:lnTo>
                    <a:pt x="120478" y="37070"/>
                  </a:lnTo>
                  <a:close/>
                  <a:moveTo>
                    <a:pt x="333632" y="3265407"/>
                  </a:moveTo>
                  <a:cubicBezTo>
                    <a:pt x="328416" y="3261320"/>
                    <a:pt x="323586" y="3257134"/>
                    <a:pt x="319271" y="3252823"/>
                  </a:cubicBezTo>
                  <a:cubicBezTo>
                    <a:pt x="291524" y="3225051"/>
                    <a:pt x="284107" y="3189349"/>
                    <a:pt x="276535" y="3152904"/>
                  </a:cubicBezTo>
                  <a:cubicBezTo>
                    <a:pt x="269422" y="3118664"/>
                    <a:pt x="262172" y="3083767"/>
                    <a:pt x="237798" y="3054172"/>
                  </a:cubicBezTo>
                  <a:cubicBezTo>
                    <a:pt x="225698" y="3039459"/>
                    <a:pt x="203228" y="3029255"/>
                    <a:pt x="180593" y="3018976"/>
                  </a:cubicBezTo>
                  <a:cubicBezTo>
                    <a:pt x="156788" y="3008166"/>
                    <a:pt x="132802" y="2997274"/>
                    <a:pt x="120504" y="2980966"/>
                  </a:cubicBezTo>
                  <a:cubicBezTo>
                    <a:pt x="79048" y="2925945"/>
                    <a:pt x="38810" y="2868149"/>
                    <a:pt x="0" y="2807804"/>
                  </a:cubicBezTo>
                  <a:lnTo>
                    <a:pt x="0" y="2715397"/>
                  </a:lnTo>
                  <a:lnTo>
                    <a:pt x="333632" y="2715397"/>
                  </a:ln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31" name="Rounded Rectangle 12">
              <a:extLst>
                <a:ext uri="{FF2B5EF4-FFF2-40B4-BE49-F238E27FC236}">
                  <a16:creationId xmlns:a16="http://schemas.microsoft.com/office/drawing/2014/main" id="{B69F6662-7B60-C943-F73E-D79DB17DB196}"/>
                </a:ext>
              </a:extLst>
            </p:cNvPr>
            <p:cNvSpPr/>
            <p:nvPr/>
          </p:nvSpPr>
          <p:spPr>
            <a:xfrm>
              <a:off x="2446638" y="1399402"/>
              <a:ext cx="333632" cy="3265407"/>
            </a:xfrm>
            <a:custGeom>
              <a:avLst/>
              <a:gdLst/>
              <a:ahLst/>
              <a:cxnLst/>
              <a:rect l="0" t="0" r="0" b="0"/>
              <a:pathLst>
                <a:path w="333632" h="3265407">
                  <a:moveTo>
                    <a:pt x="0" y="1825710"/>
                  </a:moveTo>
                  <a:lnTo>
                    <a:pt x="333632" y="1825710"/>
                  </a:lnTo>
                  <a:lnTo>
                    <a:pt x="333632" y="1881316"/>
                  </a:lnTo>
                  <a:lnTo>
                    <a:pt x="0" y="1881316"/>
                  </a:lnTo>
                  <a:close/>
                  <a:moveTo>
                    <a:pt x="111210" y="713602"/>
                  </a:moveTo>
                  <a:lnTo>
                    <a:pt x="222421" y="713602"/>
                  </a:lnTo>
                  <a:lnTo>
                    <a:pt x="250224" y="741405"/>
                  </a:lnTo>
                  <a:lnTo>
                    <a:pt x="250224" y="1714500"/>
                  </a:lnTo>
                  <a:lnTo>
                    <a:pt x="83408" y="1714500"/>
                  </a:lnTo>
                  <a:lnTo>
                    <a:pt x="83408" y="741405"/>
                  </a:lnTo>
                  <a:close/>
                  <a:moveTo>
                    <a:pt x="111210" y="101943"/>
                  </a:moveTo>
                  <a:lnTo>
                    <a:pt x="222421" y="101943"/>
                  </a:lnTo>
                  <a:lnTo>
                    <a:pt x="222421" y="713602"/>
                  </a:lnTo>
                  <a:lnTo>
                    <a:pt x="111210" y="713602"/>
                  </a:lnTo>
                  <a:close/>
                  <a:moveTo>
                    <a:pt x="55605" y="1881316"/>
                  </a:moveTo>
                  <a:lnTo>
                    <a:pt x="278027" y="1881316"/>
                  </a:lnTo>
                  <a:lnTo>
                    <a:pt x="278027" y="1936921"/>
                  </a:lnTo>
                  <a:lnTo>
                    <a:pt x="55605" y="1936921"/>
                  </a:lnTo>
                  <a:close/>
                  <a:moveTo>
                    <a:pt x="55605" y="2659791"/>
                  </a:moveTo>
                  <a:lnTo>
                    <a:pt x="278027" y="2659791"/>
                  </a:lnTo>
                  <a:lnTo>
                    <a:pt x="278027" y="2715397"/>
                  </a:lnTo>
                  <a:lnTo>
                    <a:pt x="55605" y="2715397"/>
                  </a:lnTo>
                  <a:close/>
                  <a:moveTo>
                    <a:pt x="83408" y="1936921"/>
                  </a:moveTo>
                  <a:lnTo>
                    <a:pt x="250224" y="1936921"/>
                  </a:lnTo>
                  <a:lnTo>
                    <a:pt x="250224" y="2659791"/>
                  </a:lnTo>
                  <a:lnTo>
                    <a:pt x="83408" y="2659791"/>
                  </a:lnTo>
                  <a:close/>
                  <a:moveTo>
                    <a:pt x="83408" y="37070"/>
                  </a:moveTo>
                  <a:lnTo>
                    <a:pt x="250224" y="37070"/>
                  </a:lnTo>
                  <a:lnTo>
                    <a:pt x="250224" y="101943"/>
                  </a:lnTo>
                  <a:lnTo>
                    <a:pt x="83408" y="101943"/>
                  </a:lnTo>
                  <a:close/>
                  <a:moveTo>
                    <a:pt x="120478" y="0"/>
                  </a:moveTo>
                  <a:lnTo>
                    <a:pt x="213154" y="0"/>
                  </a:lnTo>
                  <a:lnTo>
                    <a:pt x="213154" y="37070"/>
                  </a:lnTo>
                  <a:lnTo>
                    <a:pt x="120478" y="37070"/>
                  </a:lnTo>
                  <a:close/>
                  <a:moveTo>
                    <a:pt x="333632" y="3265407"/>
                  </a:moveTo>
                  <a:cubicBezTo>
                    <a:pt x="328416" y="3261320"/>
                    <a:pt x="323586" y="3257134"/>
                    <a:pt x="319271" y="3252823"/>
                  </a:cubicBezTo>
                  <a:cubicBezTo>
                    <a:pt x="291524" y="3225051"/>
                    <a:pt x="284107" y="3189349"/>
                    <a:pt x="276535" y="3152904"/>
                  </a:cubicBezTo>
                  <a:cubicBezTo>
                    <a:pt x="269422" y="3118664"/>
                    <a:pt x="262172" y="3083767"/>
                    <a:pt x="237798" y="3054172"/>
                  </a:cubicBezTo>
                  <a:cubicBezTo>
                    <a:pt x="225698" y="3039459"/>
                    <a:pt x="203228" y="3029255"/>
                    <a:pt x="180593" y="3018976"/>
                  </a:cubicBezTo>
                  <a:cubicBezTo>
                    <a:pt x="156788" y="3008166"/>
                    <a:pt x="132802" y="2997274"/>
                    <a:pt x="120504" y="2980966"/>
                  </a:cubicBezTo>
                  <a:cubicBezTo>
                    <a:pt x="79048" y="2925945"/>
                    <a:pt x="38810" y="2868149"/>
                    <a:pt x="0" y="2807804"/>
                  </a:cubicBezTo>
                  <a:lnTo>
                    <a:pt x="0" y="2715397"/>
                  </a:lnTo>
                  <a:lnTo>
                    <a:pt x="333632" y="2715397"/>
                  </a:lnTo>
                  <a:close/>
                </a:path>
              </a:pathLst>
            </a:custGeom>
            <a:noFill/>
            <a:ln w="6950">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15" name="Group 14">
            <a:extLst>
              <a:ext uri="{FF2B5EF4-FFF2-40B4-BE49-F238E27FC236}">
                <a16:creationId xmlns:a16="http://schemas.microsoft.com/office/drawing/2014/main" id="{A43B2E2B-B80B-001B-CAB0-54BC28F42A8F}"/>
              </a:ext>
            </a:extLst>
          </p:cNvPr>
          <p:cNvGrpSpPr/>
          <p:nvPr/>
        </p:nvGrpSpPr>
        <p:grpSpPr>
          <a:xfrm>
            <a:off x="1551517" y="3778322"/>
            <a:ext cx="148281" cy="245591"/>
            <a:chOff x="982362" y="2868312"/>
            <a:chExt cx="148281" cy="245591"/>
          </a:xfrm>
        </p:grpSpPr>
        <p:sp>
          <p:nvSpPr>
            <p:cNvPr id="28" name="Rounded Rectangle 14">
              <a:extLst>
                <a:ext uri="{FF2B5EF4-FFF2-40B4-BE49-F238E27FC236}">
                  <a16:creationId xmlns:a16="http://schemas.microsoft.com/office/drawing/2014/main" id="{7227DB7B-FF78-13AF-3F87-C19E3975055D}"/>
                </a:ext>
              </a:extLst>
            </p:cNvPr>
            <p:cNvSpPr/>
            <p:nvPr/>
          </p:nvSpPr>
          <p:spPr>
            <a:xfrm>
              <a:off x="982362" y="2868312"/>
              <a:ext cx="148281" cy="245591"/>
            </a:xfrm>
            <a:custGeom>
              <a:avLst/>
              <a:gdLst/>
              <a:ahLst/>
              <a:cxnLst/>
              <a:rect l="0" t="0" r="0" b="0"/>
              <a:pathLst>
                <a:path w="148281" h="245591">
                  <a:moveTo>
                    <a:pt x="18535" y="101943"/>
                  </a:moveTo>
                  <a:lnTo>
                    <a:pt x="129745" y="101943"/>
                  </a:lnTo>
                  <a:lnTo>
                    <a:pt x="129745" y="245591"/>
                  </a:lnTo>
                  <a:lnTo>
                    <a:pt x="18535" y="245591"/>
                  </a:lnTo>
                  <a:close/>
                  <a:moveTo>
                    <a:pt x="0" y="37070"/>
                  </a:moveTo>
                  <a:lnTo>
                    <a:pt x="148281" y="37070"/>
                  </a:lnTo>
                  <a:lnTo>
                    <a:pt x="148281" y="101943"/>
                  </a:lnTo>
                  <a:lnTo>
                    <a:pt x="0" y="101943"/>
                  </a:lnTo>
                  <a:close/>
                  <a:moveTo>
                    <a:pt x="27802" y="0"/>
                  </a:moveTo>
                  <a:lnTo>
                    <a:pt x="120478" y="0"/>
                  </a:lnTo>
                  <a:lnTo>
                    <a:pt x="120478" y="37070"/>
                  </a:lnTo>
                  <a:lnTo>
                    <a:pt x="27802" y="37070"/>
                  </a:ln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9" name="Rounded Rectangle 15">
              <a:extLst>
                <a:ext uri="{FF2B5EF4-FFF2-40B4-BE49-F238E27FC236}">
                  <a16:creationId xmlns:a16="http://schemas.microsoft.com/office/drawing/2014/main" id="{F0145663-D61A-5C3D-2DC4-E27129B95150}"/>
                </a:ext>
              </a:extLst>
            </p:cNvPr>
            <p:cNvSpPr/>
            <p:nvPr/>
          </p:nvSpPr>
          <p:spPr>
            <a:xfrm>
              <a:off x="982362" y="2868312"/>
              <a:ext cx="148281" cy="245591"/>
            </a:xfrm>
            <a:custGeom>
              <a:avLst/>
              <a:gdLst/>
              <a:ahLst/>
              <a:cxnLst/>
              <a:rect l="0" t="0" r="0" b="0"/>
              <a:pathLst>
                <a:path w="148281" h="245591">
                  <a:moveTo>
                    <a:pt x="18535" y="101943"/>
                  </a:moveTo>
                  <a:lnTo>
                    <a:pt x="129745" y="101943"/>
                  </a:lnTo>
                  <a:lnTo>
                    <a:pt x="129745" y="245591"/>
                  </a:lnTo>
                  <a:lnTo>
                    <a:pt x="18535" y="245591"/>
                  </a:lnTo>
                  <a:close/>
                  <a:moveTo>
                    <a:pt x="0" y="37070"/>
                  </a:moveTo>
                  <a:lnTo>
                    <a:pt x="148281" y="37070"/>
                  </a:lnTo>
                  <a:lnTo>
                    <a:pt x="148281" y="101943"/>
                  </a:lnTo>
                  <a:lnTo>
                    <a:pt x="0" y="101943"/>
                  </a:lnTo>
                  <a:close/>
                  <a:moveTo>
                    <a:pt x="27802" y="0"/>
                  </a:moveTo>
                  <a:lnTo>
                    <a:pt x="120478" y="0"/>
                  </a:lnTo>
                  <a:lnTo>
                    <a:pt x="120478" y="37070"/>
                  </a:lnTo>
                  <a:lnTo>
                    <a:pt x="27802" y="37070"/>
                  </a:lnTo>
                  <a:close/>
                </a:path>
              </a:pathLst>
            </a:custGeom>
            <a:noFill/>
            <a:ln w="6950">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16" name="Group 15">
            <a:extLst>
              <a:ext uri="{FF2B5EF4-FFF2-40B4-BE49-F238E27FC236}">
                <a16:creationId xmlns:a16="http://schemas.microsoft.com/office/drawing/2014/main" id="{1D50AF71-BC26-73A5-B387-B4615950BE10}"/>
              </a:ext>
            </a:extLst>
          </p:cNvPr>
          <p:cNvGrpSpPr/>
          <p:nvPr/>
        </p:nvGrpSpPr>
        <p:grpSpPr>
          <a:xfrm>
            <a:off x="7668112" y="3778322"/>
            <a:ext cx="148281" cy="245591"/>
            <a:chOff x="7098957" y="2868312"/>
            <a:chExt cx="148281" cy="245591"/>
          </a:xfrm>
        </p:grpSpPr>
        <p:sp>
          <p:nvSpPr>
            <p:cNvPr id="26" name="Rounded Rectangle 17">
              <a:extLst>
                <a:ext uri="{FF2B5EF4-FFF2-40B4-BE49-F238E27FC236}">
                  <a16:creationId xmlns:a16="http://schemas.microsoft.com/office/drawing/2014/main" id="{86B2DBEC-095E-BB27-D7BA-C90BC915E7CA}"/>
                </a:ext>
              </a:extLst>
            </p:cNvPr>
            <p:cNvSpPr/>
            <p:nvPr/>
          </p:nvSpPr>
          <p:spPr>
            <a:xfrm>
              <a:off x="7098957" y="2868312"/>
              <a:ext cx="148281" cy="245591"/>
            </a:xfrm>
            <a:custGeom>
              <a:avLst/>
              <a:gdLst/>
              <a:ahLst/>
              <a:cxnLst/>
              <a:rect l="0" t="0" r="0" b="0"/>
              <a:pathLst>
                <a:path w="148281" h="245591">
                  <a:moveTo>
                    <a:pt x="18535" y="101943"/>
                  </a:moveTo>
                  <a:lnTo>
                    <a:pt x="129745" y="101943"/>
                  </a:lnTo>
                  <a:lnTo>
                    <a:pt x="129745" y="245591"/>
                  </a:lnTo>
                  <a:lnTo>
                    <a:pt x="18535" y="245591"/>
                  </a:lnTo>
                  <a:close/>
                  <a:moveTo>
                    <a:pt x="0" y="37070"/>
                  </a:moveTo>
                  <a:lnTo>
                    <a:pt x="148281" y="37070"/>
                  </a:lnTo>
                  <a:lnTo>
                    <a:pt x="148281" y="101943"/>
                  </a:lnTo>
                  <a:lnTo>
                    <a:pt x="0" y="101943"/>
                  </a:lnTo>
                  <a:close/>
                  <a:moveTo>
                    <a:pt x="27802" y="0"/>
                  </a:moveTo>
                  <a:lnTo>
                    <a:pt x="120478" y="0"/>
                  </a:lnTo>
                  <a:lnTo>
                    <a:pt x="120478" y="37070"/>
                  </a:lnTo>
                  <a:lnTo>
                    <a:pt x="27802" y="37070"/>
                  </a:ln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7" name="Rounded Rectangle 18">
              <a:extLst>
                <a:ext uri="{FF2B5EF4-FFF2-40B4-BE49-F238E27FC236}">
                  <a16:creationId xmlns:a16="http://schemas.microsoft.com/office/drawing/2014/main" id="{8247C026-4C26-E12B-AD14-433B401A2AAE}"/>
                </a:ext>
              </a:extLst>
            </p:cNvPr>
            <p:cNvSpPr/>
            <p:nvPr/>
          </p:nvSpPr>
          <p:spPr>
            <a:xfrm>
              <a:off x="7098957" y="2868312"/>
              <a:ext cx="148281" cy="245591"/>
            </a:xfrm>
            <a:custGeom>
              <a:avLst/>
              <a:gdLst/>
              <a:ahLst/>
              <a:cxnLst/>
              <a:rect l="0" t="0" r="0" b="0"/>
              <a:pathLst>
                <a:path w="148281" h="245591">
                  <a:moveTo>
                    <a:pt x="18535" y="101943"/>
                  </a:moveTo>
                  <a:lnTo>
                    <a:pt x="129745" y="101943"/>
                  </a:lnTo>
                  <a:lnTo>
                    <a:pt x="129745" y="245591"/>
                  </a:lnTo>
                  <a:lnTo>
                    <a:pt x="18535" y="245591"/>
                  </a:lnTo>
                  <a:close/>
                  <a:moveTo>
                    <a:pt x="0" y="37070"/>
                  </a:moveTo>
                  <a:lnTo>
                    <a:pt x="148281" y="37070"/>
                  </a:lnTo>
                  <a:lnTo>
                    <a:pt x="148281" y="101943"/>
                  </a:lnTo>
                  <a:lnTo>
                    <a:pt x="0" y="101943"/>
                  </a:lnTo>
                  <a:close/>
                  <a:moveTo>
                    <a:pt x="27802" y="0"/>
                  </a:moveTo>
                  <a:lnTo>
                    <a:pt x="120478" y="0"/>
                  </a:lnTo>
                  <a:lnTo>
                    <a:pt x="120478" y="37070"/>
                  </a:lnTo>
                  <a:lnTo>
                    <a:pt x="27802" y="37070"/>
                  </a:lnTo>
                  <a:close/>
                </a:path>
              </a:pathLst>
            </a:custGeom>
            <a:noFill/>
            <a:ln w="6950">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17" name="Group 16">
            <a:extLst>
              <a:ext uri="{FF2B5EF4-FFF2-40B4-BE49-F238E27FC236}">
                <a16:creationId xmlns:a16="http://schemas.microsoft.com/office/drawing/2014/main" id="{CA16B8C7-1F34-95E9-AC32-478C6785676E}"/>
              </a:ext>
            </a:extLst>
          </p:cNvPr>
          <p:cNvGrpSpPr/>
          <p:nvPr/>
        </p:nvGrpSpPr>
        <p:grpSpPr>
          <a:xfrm>
            <a:off x="6018485" y="2309412"/>
            <a:ext cx="333632" cy="3273696"/>
            <a:chOff x="5449330" y="1399402"/>
            <a:chExt cx="333632" cy="3273696"/>
          </a:xfrm>
        </p:grpSpPr>
        <p:sp>
          <p:nvSpPr>
            <p:cNvPr id="24" name="Rounded Rectangle 20">
              <a:extLst>
                <a:ext uri="{FF2B5EF4-FFF2-40B4-BE49-F238E27FC236}">
                  <a16:creationId xmlns:a16="http://schemas.microsoft.com/office/drawing/2014/main" id="{71135187-9F70-00B9-114B-3F65E50EBE5C}"/>
                </a:ext>
              </a:extLst>
            </p:cNvPr>
            <p:cNvSpPr/>
            <p:nvPr/>
          </p:nvSpPr>
          <p:spPr>
            <a:xfrm>
              <a:off x="5449330" y="1399402"/>
              <a:ext cx="333632" cy="3273696"/>
            </a:xfrm>
            <a:custGeom>
              <a:avLst/>
              <a:gdLst/>
              <a:ahLst/>
              <a:cxnLst/>
              <a:rect l="0" t="0" r="0" b="0"/>
              <a:pathLst>
                <a:path w="333632" h="3273696">
                  <a:moveTo>
                    <a:pt x="0" y="1825710"/>
                  </a:moveTo>
                  <a:lnTo>
                    <a:pt x="333632" y="1825710"/>
                  </a:lnTo>
                  <a:lnTo>
                    <a:pt x="333632" y="1881316"/>
                  </a:lnTo>
                  <a:lnTo>
                    <a:pt x="0" y="1881316"/>
                  </a:lnTo>
                  <a:close/>
                  <a:moveTo>
                    <a:pt x="111210" y="713602"/>
                  </a:moveTo>
                  <a:lnTo>
                    <a:pt x="222421" y="713602"/>
                  </a:lnTo>
                  <a:lnTo>
                    <a:pt x="250224" y="741405"/>
                  </a:lnTo>
                  <a:lnTo>
                    <a:pt x="250224" y="1714500"/>
                  </a:lnTo>
                  <a:lnTo>
                    <a:pt x="83408" y="1714500"/>
                  </a:lnTo>
                  <a:lnTo>
                    <a:pt x="83408" y="741405"/>
                  </a:lnTo>
                  <a:close/>
                  <a:moveTo>
                    <a:pt x="111210" y="101943"/>
                  </a:moveTo>
                  <a:lnTo>
                    <a:pt x="222421" y="101943"/>
                  </a:lnTo>
                  <a:lnTo>
                    <a:pt x="222421" y="713602"/>
                  </a:lnTo>
                  <a:lnTo>
                    <a:pt x="111210" y="713602"/>
                  </a:lnTo>
                  <a:close/>
                  <a:moveTo>
                    <a:pt x="55605" y="1881316"/>
                  </a:moveTo>
                  <a:lnTo>
                    <a:pt x="278027" y="1881316"/>
                  </a:lnTo>
                  <a:lnTo>
                    <a:pt x="278027" y="1936921"/>
                  </a:lnTo>
                  <a:lnTo>
                    <a:pt x="55605" y="1936921"/>
                  </a:lnTo>
                  <a:close/>
                  <a:moveTo>
                    <a:pt x="55605" y="2659791"/>
                  </a:moveTo>
                  <a:lnTo>
                    <a:pt x="278027" y="2659791"/>
                  </a:lnTo>
                  <a:lnTo>
                    <a:pt x="278027" y="2715397"/>
                  </a:lnTo>
                  <a:lnTo>
                    <a:pt x="55605" y="2715397"/>
                  </a:lnTo>
                  <a:close/>
                  <a:moveTo>
                    <a:pt x="83408" y="1936921"/>
                  </a:moveTo>
                  <a:lnTo>
                    <a:pt x="250224" y="1936921"/>
                  </a:lnTo>
                  <a:lnTo>
                    <a:pt x="250224" y="2659791"/>
                  </a:lnTo>
                  <a:lnTo>
                    <a:pt x="83408" y="2659791"/>
                  </a:lnTo>
                  <a:close/>
                  <a:moveTo>
                    <a:pt x="83408" y="37070"/>
                  </a:moveTo>
                  <a:lnTo>
                    <a:pt x="250224" y="37070"/>
                  </a:lnTo>
                  <a:lnTo>
                    <a:pt x="250224" y="101943"/>
                  </a:lnTo>
                  <a:lnTo>
                    <a:pt x="83408" y="101943"/>
                  </a:lnTo>
                  <a:close/>
                  <a:moveTo>
                    <a:pt x="333632" y="2767193"/>
                  </a:moveTo>
                  <a:cubicBezTo>
                    <a:pt x="327067" y="2771001"/>
                    <a:pt x="320435" y="2774613"/>
                    <a:pt x="313794" y="2778230"/>
                  </a:cubicBezTo>
                  <a:cubicBezTo>
                    <a:pt x="283928" y="2794495"/>
                    <a:pt x="253868" y="2810866"/>
                    <a:pt x="228781" y="2845760"/>
                  </a:cubicBezTo>
                  <a:cubicBezTo>
                    <a:pt x="212337" y="2868523"/>
                    <a:pt x="201525" y="2911583"/>
                    <a:pt x="190676" y="2954787"/>
                  </a:cubicBezTo>
                  <a:cubicBezTo>
                    <a:pt x="179213" y="3000441"/>
                    <a:pt x="167708" y="3046256"/>
                    <a:pt x="149475" y="3068452"/>
                  </a:cubicBezTo>
                  <a:cubicBezTo>
                    <a:pt x="126034" y="3096978"/>
                    <a:pt x="105002" y="3128781"/>
                    <a:pt x="84004" y="3160533"/>
                  </a:cubicBezTo>
                  <a:cubicBezTo>
                    <a:pt x="57535" y="3200558"/>
                    <a:pt x="31121" y="3240501"/>
                    <a:pt x="0" y="3273696"/>
                  </a:cubicBezTo>
                  <a:lnTo>
                    <a:pt x="0" y="2715397"/>
                  </a:lnTo>
                  <a:lnTo>
                    <a:pt x="333632" y="2715397"/>
                  </a:lnTo>
                  <a:close/>
                  <a:moveTo>
                    <a:pt x="120478" y="0"/>
                  </a:moveTo>
                  <a:lnTo>
                    <a:pt x="213154" y="0"/>
                  </a:lnTo>
                  <a:lnTo>
                    <a:pt x="213154" y="37070"/>
                  </a:lnTo>
                  <a:lnTo>
                    <a:pt x="120478" y="37070"/>
                  </a:ln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5" name="Rounded Rectangle 21">
              <a:extLst>
                <a:ext uri="{FF2B5EF4-FFF2-40B4-BE49-F238E27FC236}">
                  <a16:creationId xmlns:a16="http://schemas.microsoft.com/office/drawing/2014/main" id="{D706FBF2-D9CB-8C71-528D-66722EB6F290}"/>
                </a:ext>
              </a:extLst>
            </p:cNvPr>
            <p:cNvSpPr/>
            <p:nvPr/>
          </p:nvSpPr>
          <p:spPr>
            <a:xfrm>
              <a:off x="5449330" y="1399402"/>
              <a:ext cx="333632" cy="3273696"/>
            </a:xfrm>
            <a:custGeom>
              <a:avLst/>
              <a:gdLst/>
              <a:ahLst/>
              <a:cxnLst/>
              <a:rect l="0" t="0" r="0" b="0"/>
              <a:pathLst>
                <a:path w="333632" h="3273696">
                  <a:moveTo>
                    <a:pt x="0" y="1825710"/>
                  </a:moveTo>
                  <a:lnTo>
                    <a:pt x="333632" y="1825710"/>
                  </a:lnTo>
                  <a:lnTo>
                    <a:pt x="333632" y="1881316"/>
                  </a:lnTo>
                  <a:lnTo>
                    <a:pt x="0" y="1881316"/>
                  </a:lnTo>
                  <a:close/>
                  <a:moveTo>
                    <a:pt x="111210" y="713602"/>
                  </a:moveTo>
                  <a:lnTo>
                    <a:pt x="222421" y="713602"/>
                  </a:lnTo>
                  <a:lnTo>
                    <a:pt x="250224" y="741405"/>
                  </a:lnTo>
                  <a:lnTo>
                    <a:pt x="250224" y="1714500"/>
                  </a:lnTo>
                  <a:lnTo>
                    <a:pt x="83408" y="1714500"/>
                  </a:lnTo>
                  <a:lnTo>
                    <a:pt x="83408" y="741405"/>
                  </a:lnTo>
                  <a:close/>
                  <a:moveTo>
                    <a:pt x="111210" y="101943"/>
                  </a:moveTo>
                  <a:lnTo>
                    <a:pt x="222421" y="101943"/>
                  </a:lnTo>
                  <a:lnTo>
                    <a:pt x="222421" y="713602"/>
                  </a:lnTo>
                  <a:lnTo>
                    <a:pt x="111210" y="713602"/>
                  </a:lnTo>
                  <a:close/>
                  <a:moveTo>
                    <a:pt x="55605" y="1881316"/>
                  </a:moveTo>
                  <a:lnTo>
                    <a:pt x="278027" y="1881316"/>
                  </a:lnTo>
                  <a:lnTo>
                    <a:pt x="278027" y="1936921"/>
                  </a:lnTo>
                  <a:lnTo>
                    <a:pt x="55605" y="1936921"/>
                  </a:lnTo>
                  <a:close/>
                  <a:moveTo>
                    <a:pt x="55605" y="2659791"/>
                  </a:moveTo>
                  <a:lnTo>
                    <a:pt x="278027" y="2659791"/>
                  </a:lnTo>
                  <a:lnTo>
                    <a:pt x="278027" y="2715397"/>
                  </a:lnTo>
                  <a:lnTo>
                    <a:pt x="55605" y="2715397"/>
                  </a:lnTo>
                  <a:close/>
                  <a:moveTo>
                    <a:pt x="83408" y="1936921"/>
                  </a:moveTo>
                  <a:lnTo>
                    <a:pt x="250224" y="1936921"/>
                  </a:lnTo>
                  <a:lnTo>
                    <a:pt x="250224" y="2659791"/>
                  </a:lnTo>
                  <a:lnTo>
                    <a:pt x="83408" y="2659791"/>
                  </a:lnTo>
                  <a:close/>
                  <a:moveTo>
                    <a:pt x="83408" y="37070"/>
                  </a:moveTo>
                  <a:lnTo>
                    <a:pt x="250224" y="37070"/>
                  </a:lnTo>
                  <a:lnTo>
                    <a:pt x="250224" y="101943"/>
                  </a:lnTo>
                  <a:lnTo>
                    <a:pt x="83408" y="101943"/>
                  </a:lnTo>
                  <a:close/>
                  <a:moveTo>
                    <a:pt x="333632" y="2767193"/>
                  </a:moveTo>
                  <a:cubicBezTo>
                    <a:pt x="327067" y="2771001"/>
                    <a:pt x="320435" y="2774613"/>
                    <a:pt x="313794" y="2778230"/>
                  </a:cubicBezTo>
                  <a:cubicBezTo>
                    <a:pt x="283928" y="2794495"/>
                    <a:pt x="253868" y="2810866"/>
                    <a:pt x="228781" y="2845760"/>
                  </a:cubicBezTo>
                  <a:cubicBezTo>
                    <a:pt x="212337" y="2868523"/>
                    <a:pt x="201525" y="2911583"/>
                    <a:pt x="190676" y="2954787"/>
                  </a:cubicBezTo>
                  <a:cubicBezTo>
                    <a:pt x="179213" y="3000441"/>
                    <a:pt x="167708" y="3046256"/>
                    <a:pt x="149475" y="3068452"/>
                  </a:cubicBezTo>
                  <a:cubicBezTo>
                    <a:pt x="126034" y="3096978"/>
                    <a:pt x="105002" y="3128781"/>
                    <a:pt x="84004" y="3160533"/>
                  </a:cubicBezTo>
                  <a:cubicBezTo>
                    <a:pt x="57535" y="3200558"/>
                    <a:pt x="31121" y="3240501"/>
                    <a:pt x="0" y="3273696"/>
                  </a:cubicBezTo>
                  <a:lnTo>
                    <a:pt x="0" y="2715397"/>
                  </a:lnTo>
                  <a:lnTo>
                    <a:pt x="333632" y="2715397"/>
                  </a:lnTo>
                  <a:close/>
                  <a:moveTo>
                    <a:pt x="120478" y="0"/>
                  </a:moveTo>
                  <a:lnTo>
                    <a:pt x="213154" y="0"/>
                  </a:lnTo>
                  <a:lnTo>
                    <a:pt x="213154" y="37070"/>
                  </a:lnTo>
                  <a:lnTo>
                    <a:pt x="120478" y="37070"/>
                  </a:lnTo>
                  <a:close/>
                </a:path>
              </a:pathLst>
            </a:custGeom>
            <a:noFill/>
            <a:ln w="6950">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sp>
        <p:nvSpPr>
          <p:cNvPr id="18" name="Rounded Rectangle 23">
            <a:extLst>
              <a:ext uri="{FF2B5EF4-FFF2-40B4-BE49-F238E27FC236}">
                <a16:creationId xmlns:a16="http://schemas.microsoft.com/office/drawing/2014/main" id="{92C1582F-90B1-070F-E2B7-9BDC52927105}"/>
              </a:ext>
            </a:extLst>
          </p:cNvPr>
          <p:cNvSpPr/>
          <p:nvPr/>
        </p:nvSpPr>
        <p:spPr>
          <a:xfrm>
            <a:off x="2622502" y="4329927"/>
            <a:ext cx="4148026" cy="23150"/>
          </a:xfrm>
          <a:custGeom>
            <a:avLst/>
            <a:gdLst/>
            <a:ahLst/>
            <a:cxnLst/>
            <a:rect l="0" t="0" r="0" b="0"/>
            <a:pathLst>
              <a:path w="4148026" h="23150">
                <a:moveTo>
                  <a:pt x="4328" y="23114"/>
                </a:moveTo>
                <a:cubicBezTo>
                  <a:pt x="23121" y="23114"/>
                  <a:pt x="42043" y="17150"/>
                  <a:pt x="54984" y="5125"/>
                </a:cubicBezTo>
                <a:cubicBezTo>
                  <a:pt x="56736" y="3499"/>
                  <a:pt x="58358" y="1823"/>
                  <a:pt x="59853" y="0"/>
                </a:cubicBezTo>
                <a:cubicBezTo>
                  <a:pt x="61391" y="1823"/>
                  <a:pt x="63013" y="3499"/>
                  <a:pt x="64722" y="5125"/>
                </a:cubicBezTo>
                <a:cubicBezTo>
                  <a:pt x="77664" y="17101"/>
                  <a:pt x="96584" y="23114"/>
                  <a:pt x="115377" y="23114"/>
                </a:cubicBezTo>
                <a:cubicBezTo>
                  <a:pt x="134170" y="23114"/>
                  <a:pt x="153091" y="17150"/>
                  <a:pt x="166033" y="5125"/>
                </a:cubicBezTo>
                <a:cubicBezTo>
                  <a:pt x="167741" y="3499"/>
                  <a:pt x="169364" y="1823"/>
                  <a:pt x="170859" y="0"/>
                </a:cubicBezTo>
                <a:cubicBezTo>
                  <a:pt x="172397" y="1823"/>
                  <a:pt x="174019" y="3499"/>
                  <a:pt x="175727" y="5125"/>
                </a:cubicBezTo>
                <a:cubicBezTo>
                  <a:pt x="188670" y="17101"/>
                  <a:pt x="207590" y="23114"/>
                  <a:pt x="226383" y="23114"/>
                </a:cubicBezTo>
                <a:cubicBezTo>
                  <a:pt x="245176" y="23114"/>
                  <a:pt x="264097" y="17150"/>
                  <a:pt x="277039" y="5125"/>
                </a:cubicBezTo>
                <a:cubicBezTo>
                  <a:pt x="278747" y="3499"/>
                  <a:pt x="280369" y="1823"/>
                  <a:pt x="281864" y="0"/>
                </a:cubicBezTo>
                <a:cubicBezTo>
                  <a:pt x="283403" y="1823"/>
                  <a:pt x="285025" y="3499"/>
                  <a:pt x="286733" y="5125"/>
                </a:cubicBezTo>
                <a:cubicBezTo>
                  <a:pt x="299676" y="17101"/>
                  <a:pt x="318596" y="23114"/>
                  <a:pt x="337389" y="23114"/>
                </a:cubicBezTo>
                <a:cubicBezTo>
                  <a:pt x="356182" y="23114"/>
                  <a:pt x="375102" y="17150"/>
                  <a:pt x="388044" y="5125"/>
                </a:cubicBezTo>
                <a:cubicBezTo>
                  <a:pt x="389753" y="3499"/>
                  <a:pt x="391375" y="1823"/>
                  <a:pt x="392870" y="0"/>
                </a:cubicBezTo>
                <a:cubicBezTo>
                  <a:pt x="394408" y="1823"/>
                  <a:pt x="396031" y="3499"/>
                  <a:pt x="397739" y="5125"/>
                </a:cubicBezTo>
                <a:cubicBezTo>
                  <a:pt x="410681" y="17101"/>
                  <a:pt x="429602" y="23114"/>
                  <a:pt x="448395" y="23114"/>
                </a:cubicBezTo>
                <a:cubicBezTo>
                  <a:pt x="467188" y="23114"/>
                  <a:pt x="486108" y="17150"/>
                  <a:pt x="499050" y="5125"/>
                </a:cubicBezTo>
                <a:cubicBezTo>
                  <a:pt x="500759" y="3499"/>
                  <a:pt x="502381" y="1823"/>
                  <a:pt x="503876" y="0"/>
                </a:cubicBezTo>
                <a:cubicBezTo>
                  <a:pt x="505414" y="1823"/>
                  <a:pt x="507037" y="3499"/>
                  <a:pt x="508745" y="5125"/>
                </a:cubicBezTo>
                <a:cubicBezTo>
                  <a:pt x="521687" y="17101"/>
                  <a:pt x="540607" y="23114"/>
                  <a:pt x="559400" y="23114"/>
                </a:cubicBezTo>
                <a:cubicBezTo>
                  <a:pt x="578194" y="23114"/>
                  <a:pt x="597114" y="17150"/>
                  <a:pt x="610056" y="5125"/>
                </a:cubicBezTo>
                <a:cubicBezTo>
                  <a:pt x="611807" y="3499"/>
                  <a:pt x="613430" y="1823"/>
                  <a:pt x="614925" y="0"/>
                </a:cubicBezTo>
                <a:cubicBezTo>
                  <a:pt x="616420" y="1823"/>
                  <a:pt x="618042" y="3499"/>
                  <a:pt x="619751" y="5125"/>
                </a:cubicBezTo>
                <a:cubicBezTo>
                  <a:pt x="632693" y="17101"/>
                  <a:pt x="651571" y="23114"/>
                  <a:pt x="670406" y="23114"/>
                </a:cubicBezTo>
                <a:cubicBezTo>
                  <a:pt x="689241" y="23114"/>
                  <a:pt x="708120" y="17150"/>
                  <a:pt x="721062" y="5125"/>
                </a:cubicBezTo>
                <a:cubicBezTo>
                  <a:pt x="722813" y="3499"/>
                  <a:pt x="724436" y="1823"/>
                  <a:pt x="725931" y="0"/>
                </a:cubicBezTo>
                <a:cubicBezTo>
                  <a:pt x="727426" y="1823"/>
                  <a:pt x="729048" y="3499"/>
                  <a:pt x="730756" y="5125"/>
                </a:cubicBezTo>
                <a:cubicBezTo>
                  <a:pt x="743699" y="17101"/>
                  <a:pt x="762619" y="23114"/>
                  <a:pt x="781412" y="23114"/>
                </a:cubicBezTo>
                <a:cubicBezTo>
                  <a:pt x="800205" y="23114"/>
                  <a:pt x="819126" y="17150"/>
                  <a:pt x="832067" y="5125"/>
                </a:cubicBezTo>
                <a:cubicBezTo>
                  <a:pt x="833818" y="3499"/>
                  <a:pt x="835441" y="1823"/>
                  <a:pt x="836936" y="0"/>
                </a:cubicBezTo>
                <a:cubicBezTo>
                  <a:pt x="838473" y="1823"/>
                  <a:pt x="840097" y="3499"/>
                  <a:pt x="841805" y="5125"/>
                </a:cubicBezTo>
                <a:cubicBezTo>
                  <a:pt x="854746" y="17101"/>
                  <a:pt x="874189" y="23150"/>
                  <a:pt x="893024" y="23150"/>
                </a:cubicBezTo>
                <a:cubicBezTo>
                  <a:pt x="911817" y="23150"/>
                  <a:pt x="932389" y="17150"/>
                  <a:pt x="945330" y="5125"/>
                </a:cubicBezTo>
                <a:cubicBezTo>
                  <a:pt x="947081" y="3499"/>
                  <a:pt x="948704" y="1823"/>
                  <a:pt x="950199" y="0"/>
                </a:cubicBezTo>
                <a:cubicBezTo>
                  <a:pt x="951736" y="1823"/>
                  <a:pt x="953360" y="3499"/>
                  <a:pt x="955068" y="5125"/>
                </a:cubicBezTo>
                <a:cubicBezTo>
                  <a:pt x="968010" y="17101"/>
                  <a:pt x="986931" y="23114"/>
                  <a:pt x="1005723" y="23114"/>
                </a:cubicBezTo>
                <a:cubicBezTo>
                  <a:pt x="1024516" y="23114"/>
                  <a:pt x="1043437" y="17150"/>
                  <a:pt x="1056379" y="5125"/>
                </a:cubicBezTo>
                <a:cubicBezTo>
                  <a:pt x="1058130" y="3499"/>
                  <a:pt x="1059753" y="1823"/>
                  <a:pt x="1061248" y="0"/>
                </a:cubicBezTo>
                <a:cubicBezTo>
                  <a:pt x="1062786" y="1823"/>
                  <a:pt x="1064408" y="3499"/>
                  <a:pt x="1066116" y="5125"/>
                </a:cubicBezTo>
                <a:cubicBezTo>
                  <a:pt x="1079058" y="17101"/>
                  <a:pt x="1097979" y="23114"/>
                  <a:pt x="1116772" y="23114"/>
                </a:cubicBezTo>
                <a:cubicBezTo>
                  <a:pt x="1135565" y="23114"/>
                  <a:pt x="1154485" y="17150"/>
                  <a:pt x="1167427" y="5125"/>
                </a:cubicBezTo>
                <a:cubicBezTo>
                  <a:pt x="1169136" y="3499"/>
                  <a:pt x="1170758" y="1823"/>
                  <a:pt x="1172253" y="0"/>
                </a:cubicBezTo>
                <a:cubicBezTo>
                  <a:pt x="1173791" y="1823"/>
                  <a:pt x="1175413" y="3499"/>
                  <a:pt x="1177122" y="5125"/>
                </a:cubicBezTo>
                <a:cubicBezTo>
                  <a:pt x="1190064" y="17101"/>
                  <a:pt x="1208985" y="23114"/>
                  <a:pt x="1227778" y="23114"/>
                </a:cubicBezTo>
                <a:cubicBezTo>
                  <a:pt x="1246571" y="23114"/>
                  <a:pt x="1265491" y="17150"/>
                  <a:pt x="1278433" y="5125"/>
                </a:cubicBezTo>
                <a:cubicBezTo>
                  <a:pt x="1280142" y="3499"/>
                  <a:pt x="1281764" y="1823"/>
                  <a:pt x="1283259" y="0"/>
                </a:cubicBezTo>
                <a:cubicBezTo>
                  <a:pt x="1284797" y="1823"/>
                  <a:pt x="1286420" y="3499"/>
                  <a:pt x="1288128" y="5125"/>
                </a:cubicBezTo>
                <a:cubicBezTo>
                  <a:pt x="1301070" y="17101"/>
                  <a:pt x="1319990" y="23114"/>
                  <a:pt x="1338783" y="23114"/>
                </a:cubicBezTo>
                <a:cubicBezTo>
                  <a:pt x="1357576" y="23114"/>
                  <a:pt x="1376497" y="17150"/>
                  <a:pt x="1389439" y="5125"/>
                </a:cubicBezTo>
                <a:cubicBezTo>
                  <a:pt x="1391147" y="3499"/>
                  <a:pt x="1392770" y="1823"/>
                  <a:pt x="1394265" y="0"/>
                </a:cubicBezTo>
                <a:cubicBezTo>
                  <a:pt x="1395803" y="1823"/>
                  <a:pt x="1397425" y="3499"/>
                  <a:pt x="1399133" y="5125"/>
                </a:cubicBezTo>
                <a:cubicBezTo>
                  <a:pt x="1412076" y="17101"/>
                  <a:pt x="1430996" y="23114"/>
                  <a:pt x="1449789" y="23114"/>
                </a:cubicBezTo>
                <a:cubicBezTo>
                  <a:pt x="1468582" y="23114"/>
                  <a:pt x="1487502" y="17150"/>
                  <a:pt x="1500445" y="5125"/>
                </a:cubicBezTo>
                <a:cubicBezTo>
                  <a:pt x="1502153" y="3499"/>
                  <a:pt x="1503776" y="1823"/>
                  <a:pt x="1505271" y="0"/>
                </a:cubicBezTo>
                <a:cubicBezTo>
                  <a:pt x="1506809" y="1823"/>
                  <a:pt x="1508431" y="3499"/>
                  <a:pt x="1510139" y="5125"/>
                </a:cubicBezTo>
                <a:cubicBezTo>
                  <a:pt x="1523082" y="17101"/>
                  <a:pt x="1542002" y="23114"/>
                  <a:pt x="1560795" y="23114"/>
                </a:cubicBezTo>
                <a:cubicBezTo>
                  <a:pt x="1579588" y="23114"/>
                  <a:pt x="1598508" y="17150"/>
                  <a:pt x="1611450" y="5125"/>
                </a:cubicBezTo>
                <a:cubicBezTo>
                  <a:pt x="1613201" y="3499"/>
                  <a:pt x="1614825" y="1823"/>
                  <a:pt x="1616319" y="0"/>
                </a:cubicBezTo>
                <a:cubicBezTo>
                  <a:pt x="1617815" y="1823"/>
                  <a:pt x="1619437" y="3499"/>
                  <a:pt x="1621145" y="5125"/>
                </a:cubicBezTo>
                <a:cubicBezTo>
                  <a:pt x="1634087" y="17101"/>
                  <a:pt x="1652966" y="23114"/>
                  <a:pt x="1671801" y="23114"/>
                </a:cubicBezTo>
                <a:cubicBezTo>
                  <a:pt x="1690636" y="23114"/>
                  <a:pt x="1709514" y="17150"/>
                  <a:pt x="1722457" y="5125"/>
                </a:cubicBezTo>
                <a:cubicBezTo>
                  <a:pt x="1724207" y="3499"/>
                  <a:pt x="1725830" y="1823"/>
                  <a:pt x="1727325" y="0"/>
                </a:cubicBezTo>
                <a:cubicBezTo>
                  <a:pt x="1728820" y="1823"/>
                  <a:pt x="1730442" y="3499"/>
                  <a:pt x="1732151" y="5125"/>
                </a:cubicBezTo>
                <a:cubicBezTo>
                  <a:pt x="1745093" y="17101"/>
                  <a:pt x="1764014" y="23114"/>
                  <a:pt x="1782807" y="23114"/>
                </a:cubicBezTo>
                <a:cubicBezTo>
                  <a:pt x="1801600" y="23114"/>
                  <a:pt x="1820520" y="17150"/>
                  <a:pt x="1833462" y="5125"/>
                </a:cubicBezTo>
                <a:cubicBezTo>
                  <a:pt x="1835213" y="3499"/>
                  <a:pt x="1836836" y="1823"/>
                  <a:pt x="1838331" y="0"/>
                </a:cubicBezTo>
                <a:cubicBezTo>
                  <a:pt x="1839868" y="1823"/>
                  <a:pt x="1841491" y="3499"/>
                  <a:pt x="1843200" y="5125"/>
                </a:cubicBezTo>
                <a:cubicBezTo>
                  <a:pt x="1856141" y="17101"/>
                  <a:pt x="1875582" y="23150"/>
                  <a:pt x="1894417" y="23150"/>
                </a:cubicBezTo>
                <a:cubicBezTo>
                  <a:pt x="1913210" y="23150"/>
                  <a:pt x="1933781" y="17150"/>
                  <a:pt x="1946723" y="5125"/>
                </a:cubicBezTo>
                <a:cubicBezTo>
                  <a:pt x="1948473" y="3499"/>
                  <a:pt x="1950096" y="1823"/>
                  <a:pt x="1951591" y="0"/>
                </a:cubicBezTo>
                <a:cubicBezTo>
                  <a:pt x="1953129" y="1823"/>
                  <a:pt x="1954752" y="3499"/>
                  <a:pt x="1956460" y="5125"/>
                </a:cubicBezTo>
                <a:cubicBezTo>
                  <a:pt x="1969402" y="17101"/>
                  <a:pt x="1988323" y="23114"/>
                  <a:pt x="2007116" y="23114"/>
                </a:cubicBezTo>
                <a:cubicBezTo>
                  <a:pt x="2025908" y="23114"/>
                  <a:pt x="2044829" y="17150"/>
                  <a:pt x="2057770" y="5125"/>
                </a:cubicBezTo>
                <a:cubicBezTo>
                  <a:pt x="2059522" y="3499"/>
                  <a:pt x="2061145" y="1823"/>
                  <a:pt x="2062640" y="0"/>
                </a:cubicBezTo>
                <a:cubicBezTo>
                  <a:pt x="2064178" y="1823"/>
                  <a:pt x="2065801" y="3499"/>
                  <a:pt x="2067509" y="5125"/>
                </a:cubicBezTo>
                <a:cubicBezTo>
                  <a:pt x="2080451" y="17101"/>
                  <a:pt x="2099371" y="23114"/>
                  <a:pt x="2118164" y="23114"/>
                </a:cubicBezTo>
                <a:cubicBezTo>
                  <a:pt x="2136957" y="23114"/>
                  <a:pt x="2155878" y="17150"/>
                  <a:pt x="2168820" y="5125"/>
                </a:cubicBezTo>
                <a:cubicBezTo>
                  <a:pt x="2170528" y="3499"/>
                  <a:pt x="2172151" y="1823"/>
                  <a:pt x="2173645" y="0"/>
                </a:cubicBezTo>
                <a:cubicBezTo>
                  <a:pt x="2175183" y="1823"/>
                  <a:pt x="2176807" y="3499"/>
                  <a:pt x="2178515" y="5125"/>
                </a:cubicBezTo>
                <a:cubicBezTo>
                  <a:pt x="2191456" y="17101"/>
                  <a:pt x="2210377" y="23114"/>
                  <a:pt x="2229170" y="23114"/>
                </a:cubicBezTo>
                <a:cubicBezTo>
                  <a:pt x="2247963" y="23114"/>
                  <a:pt x="2266884" y="17150"/>
                  <a:pt x="2279825" y="5125"/>
                </a:cubicBezTo>
                <a:cubicBezTo>
                  <a:pt x="2281534" y="3499"/>
                  <a:pt x="2283157" y="1823"/>
                  <a:pt x="2284651" y="0"/>
                </a:cubicBezTo>
                <a:cubicBezTo>
                  <a:pt x="2286189" y="1823"/>
                  <a:pt x="2287812" y="3499"/>
                  <a:pt x="2289521" y="5125"/>
                </a:cubicBezTo>
                <a:cubicBezTo>
                  <a:pt x="2302462" y="17101"/>
                  <a:pt x="2321382" y="23114"/>
                  <a:pt x="2340175" y="23114"/>
                </a:cubicBezTo>
                <a:cubicBezTo>
                  <a:pt x="2358968" y="23114"/>
                  <a:pt x="2377890" y="17150"/>
                  <a:pt x="2390831" y="5125"/>
                </a:cubicBezTo>
                <a:cubicBezTo>
                  <a:pt x="2392540" y="3499"/>
                  <a:pt x="2394163" y="1823"/>
                  <a:pt x="2395657" y="0"/>
                </a:cubicBezTo>
                <a:cubicBezTo>
                  <a:pt x="2397195" y="1823"/>
                  <a:pt x="2398818" y="3499"/>
                  <a:pt x="2400526" y="5125"/>
                </a:cubicBezTo>
                <a:cubicBezTo>
                  <a:pt x="2413468" y="17101"/>
                  <a:pt x="2432388" y="23114"/>
                  <a:pt x="2451181" y="23114"/>
                </a:cubicBezTo>
                <a:cubicBezTo>
                  <a:pt x="2469974" y="23114"/>
                  <a:pt x="2488896" y="17150"/>
                  <a:pt x="2501837" y="5125"/>
                </a:cubicBezTo>
                <a:cubicBezTo>
                  <a:pt x="2503545" y="3499"/>
                  <a:pt x="2505169" y="1823"/>
                  <a:pt x="2506663" y="0"/>
                </a:cubicBezTo>
                <a:cubicBezTo>
                  <a:pt x="2508201" y="1823"/>
                  <a:pt x="2509824" y="3499"/>
                  <a:pt x="2511532" y="5125"/>
                </a:cubicBezTo>
                <a:cubicBezTo>
                  <a:pt x="2524473" y="17101"/>
                  <a:pt x="2543394" y="23114"/>
                  <a:pt x="2562187" y="23114"/>
                </a:cubicBezTo>
                <a:cubicBezTo>
                  <a:pt x="2580980" y="23114"/>
                  <a:pt x="2599901" y="17150"/>
                  <a:pt x="2612843" y="5125"/>
                </a:cubicBezTo>
                <a:cubicBezTo>
                  <a:pt x="2614593" y="3499"/>
                  <a:pt x="2616217" y="1823"/>
                  <a:pt x="2617711" y="0"/>
                </a:cubicBezTo>
                <a:cubicBezTo>
                  <a:pt x="2619207" y="1823"/>
                  <a:pt x="2620830" y="3499"/>
                  <a:pt x="2622538" y="5125"/>
                </a:cubicBezTo>
                <a:cubicBezTo>
                  <a:pt x="2635479" y="17101"/>
                  <a:pt x="2654358" y="23114"/>
                  <a:pt x="2673193" y="23114"/>
                </a:cubicBezTo>
                <a:cubicBezTo>
                  <a:pt x="2692029" y="23114"/>
                  <a:pt x="2710907" y="17150"/>
                  <a:pt x="2723849" y="5125"/>
                </a:cubicBezTo>
                <a:cubicBezTo>
                  <a:pt x="2725599" y="3499"/>
                  <a:pt x="2727222" y="1823"/>
                  <a:pt x="2728717" y="0"/>
                </a:cubicBezTo>
                <a:cubicBezTo>
                  <a:pt x="2730213" y="1823"/>
                  <a:pt x="2731836" y="3499"/>
                  <a:pt x="2733544" y="5125"/>
                </a:cubicBezTo>
                <a:cubicBezTo>
                  <a:pt x="2746486" y="17101"/>
                  <a:pt x="2765406" y="23114"/>
                  <a:pt x="2784199" y="23114"/>
                </a:cubicBezTo>
                <a:cubicBezTo>
                  <a:pt x="2802992" y="23114"/>
                  <a:pt x="2821913" y="17150"/>
                  <a:pt x="2834855" y="5125"/>
                </a:cubicBezTo>
                <a:cubicBezTo>
                  <a:pt x="2836605" y="3499"/>
                  <a:pt x="2838228" y="1823"/>
                  <a:pt x="2839724" y="0"/>
                </a:cubicBezTo>
                <a:cubicBezTo>
                  <a:pt x="2841261" y="1823"/>
                  <a:pt x="2842884" y="3499"/>
                  <a:pt x="2844592" y="5125"/>
                </a:cubicBezTo>
                <a:cubicBezTo>
                  <a:pt x="2857533" y="17101"/>
                  <a:pt x="2876974" y="23114"/>
                  <a:pt x="2895809" y="23114"/>
                </a:cubicBezTo>
                <a:moveTo>
                  <a:pt x="4328" y="23150"/>
                </a:moveTo>
                <a:lnTo>
                  <a:pt x="4328" y="23114"/>
                </a:lnTo>
                <a:moveTo>
                  <a:pt x="4328" y="23114"/>
                </a:moveTo>
                <a:lnTo>
                  <a:pt x="0" y="23121"/>
                </a:lnTo>
                <a:moveTo>
                  <a:pt x="2895809" y="23114"/>
                </a:moveTo>
                <a:cubicBezTo>
                  <a:pt x="2914602" y="23114"/>
                  <a:pt x="2933523" y="17150"/>
                  <a:pt x="2946465" y="5125"/>
                </a:cubicBezTo>
                <a:cubicBezTo>
                  <a:pt x="2948216" y="3499"/>
                  <a:pt x="2949838" y="1823"/>
                  <a:pt x="2951333" y="0"/>
                </a:cubicBezTo>
                <a:cubicBezTo>
                  <a:pt x="2952872" y="1823"/>
                  <a:pt x="2954494" y="3499"/>
                  <a:pt x="2956202" y="5125"/>
                </a:cubicBezTo>
                <a:cubicBezTo>
                  <a:pt x="2969145" y="17101"/>
                  <a:pt x="2988065" y="23114"/>
                  <a:pt x="3006858" y="23114"/>
                </a:cubicBezTo>
                <a:cubicBezTo>
                  <a:pt x="3025651" y="23114"/>
                  <a:pt x="3044572" y="17150"/>
                  <a:pt x="3057514" y="5125"/>
                </a:cubicBezTo>
                <a:cubicBezTo>
                  <a:pt x="3059223" y="3499"/>
                  <a:pt x="3060844" y="1823"/>
                  <a:pt x="3062339" y="0"/>
                </a:cubicBezTo>
                <a:cubicBezTo>
                  <a:pt x="3063878" y="1823"/>
                  <a:pt x="3065500" y="3499"/>
                  <a:pt x="3067208" y="5125"/>
                </a:cubicBezTo>
                <a:cubicBezTo>
                  <a:pt x="3080151" y="17101"/>
                  <a:pt x="3099071" y="23114"/>
                  <a:pt x="3117864" y="23114"/>
                </a:cubicBezTo>
                <a:cubicBezTo>
                  <a:pt x="3136657" y="23114"/>
                  <a:pt x="3155578" y="17150"/>
                  <a:pt x="3168520" y="5125"/>
                </a:cubicBezTo>
                <a:cubicBezTo>
                  <a:pt x="3170229" y="3499"/>
                  <a:pt x="3171850" y="1823"/>
                  <a:pt x="3173346" y="0"/>
                </a:cubicBezTo>
                <a:cubicBezTo>
                  <a:pt x="3174884" y="1823"/>
                  <a:pt x="3176506" y="3499"/>
                  <a:pt x="3178214" y="5125"/>
                </a:cubicBezTo>
                <a:cubicBezTo>
                  <a:pt x="3191157" y="17101"/>
                  <a:pt x="3210077" y="23114"/>
                  <a:pt x="3228870" y="23114"/>
                </a:cubicBezTo>
                <a:cubicBezTo>
                  <a:pt x="3247663" y="23114"/>
                  <a:pt x="3266584" y="17150"/>
                  <a:pt x="3279525" y="5125"/>
                </a:cubicBezTo>
                <a:cubicBezTo>
                  <a:pt x="3281234" y="3499"/>
                  <a:pt x="3282856" y="1823"/>
                  <a:pt x="3284352" y="0"/>
                </a:cubicBezTo>
                <a:cubicBezTo>
                  <a:pt x="3285890" y="1823"/>
                  <a:pt x="3287512" y="3499"/>
                  <a:pt x="3289220" y="5125"/>
                </a:cubicBezTo>
                <a:cubicBezTo>
                  <a:pt x="3302162" y="17101"/>
                  <a:pt x="3321083" y="23114"/>
                  <a:pt x="3339876" y="23114"/>
                </a:cubicBezTo>
                <a:cubicBezTo>
                  <a:pt x="3358669" y="23114"/>
                  <a:pt x="3377590" y="17150"/>
                  <a:pt x="3390531" y="5125"/>
                </a:cubicBezTo>
                <a:cubicBezTo>
                  <a:pt x="3392239" y="3499"/>
                  <a:pt x="3393862" y="1823"/>
                  <a:pt x="3395357" y="0"/>
                </a:cubicBezTo>
                <a:cubicBezTo>
                  <a:pt x="3396895" y="1823"/>
                  <a:pt x="3398518" y="3499"/>
                  <a:pt x="3400226" y="5125"/>
                </a:cubicBezTo>
                <a:cubicBezTo>
                  <a:pt x="3413168" y="17101"/>
                  <a:pt x="3432089" y="23114"/>
                  <a:pt x="3450882" y="23114"/>
                </a:cubicBezTo>
                <a:cubicBezTo>
                  <a:pt x="3469675" y="23114"/>
                  <a:pt x="3488596" y="17150"/>
                  <a:pt x="3501537" y="5125"/>
                </a:cubicBezTo>
                <a:cubicBezTo>
                  <a:pt x="3503288" y="3499"/>
                  <a:pt x="3504911" y="1823"/>
                  <a:pt x="3506406" y="0"/>
                </a:cubicBezTo>
                <a:cubicBezTo>
                  <a:pt x="3507901" y="1823"/>
                  <a:pt x="3509524" y="3499"/>
                  <a:pt x="3511232" y="5125"/>
                </a:cubicBezTo>
                <a:cubicBezTo>
                  <a:pt x="3524174" y="17101"/>
                  <a:pt x="3543052" y="23114"/>
                  <a:pt x="3561887" y="23114"/>
                </a:cubicBezTo>
                <a:cubicBezTo>
                  <a:pt x="3580723" y="23114"/>
                  <a:pt x="3599602" y="17150"/>
                  <a:pt x="3612543" y="5125"/>
                </a:cubicBezTo>
                <a:cubicBezTo>
                  <a:pt x="3614294" y="3499"/>
                  <a:pt x="3615917" y="1823"/>
                  <a:pt x="3617412" y="0"/>
                </a:cubicBezTo>
                <a:cubicBezTo>
                  <a:pt x="3618907" y="1823"/>
                  <a:pt x="3620530" y="3499"/>
                  <a:pt x="3622238" y="5125"/>
                </a:cubicBezTo>
                <a:cubicBezTo>
                  <a:pt x="3635180" y="17101"/>
                  <a:pt x="3654100" y="23114"/>
                  <a:pt x="3672893" y="23114"/>
                </a:cubicBezTo>
                <a:cubicBezTo>
                  <a:pt x="3691686" y="23114"/>
                  <a:pt x="3710607" y="17150"/>
                  <a:pt x="3723548" y="5125"/>
                </a:cubicBezTo>
                <a:cubicBezTo>
                  <a:pt x="3725299" y="3499"/>
                  <a:pt x="3726922" y="1823"/>
                  <a:pt x="3728417" y="0"/>
                </a:cubicBezTo>
                <a:cubicBezTo>
                  <a:pt x="3729954" y="1823"/>
                  <a:pt x="3731578" y="3499"/>
                  <a:pt x="3733286" y="5125"/>
                </a:cubicBezTo>
                <a:cubicBezTo>
                  <a:pt x="3746227" y="17101"/>
                  <a:pt x="3765670" y="23150"/>
                  <a:pt x="3784505" y="23150"/>
                </a:cubicBezTo>
                <a:cubicBezTo>
                  <a:pt x="3803298" y="23150"/>
                  <a:pt x="3823870" y="17150"/>
                  <a:pt x="3836811" y="5125"/>
                </a:cubicBezTo>
                <a:cubicBezTo>
                  <a:pt x="3838562" y="3499"/>
                  <a:pt x="3840185" y="1823"/>
                  <a:pt x="3841680" y="0"/>
                </a:cubicBezTo>
                <a:cubicBezTo>
                  <a:pt x="3843217" y="1823"/>
                  <a:pt x="3844840" y="3499"/>
                  <a:pt x="3846549" y="5125"/>
                </a:cubicBezTo>
                <a:cubicBezTo>
                  <a:pt x="3859490" y="17101"/>
                  <a:pt x="3878412" y="23114"/>
                  <a:pt x="3897204" y="23114"/>
                </a:cubicBezTo>
                <a:cubicBezTo>
                  <a:pt x="3915997" y="23114"/>
                  <a:pt x="3934918" y="17150"/>
                  <a:pt x="3947860" y="5125"/>
                </a:cubicBezTo>
                <a:cubicBezTo>
                  <a:pt x="3949611" y="3499"/>
                  <a:pt x="3951233" y="1823"/>
                  <a:pt x="3952729" y="0"/>
                </a:cubicBezTo>
                <a:cubicBezTo>
                  <a:pt x="3954266" y="1823"/>
                  <a:pt x="3955889" y="3499"/>
                  <a:pt x="3957597" y="5125"/>
                </a:cubicBezTo>
                <a:cubicBezTo>
                  <a:pt x="3970540" y="17101"/>
                  <a:pt x="3989460" y="23114"/>
                  <a:pt x="4008253" y="23114"/>
                </a:cubicBezTo>
                <a:cubicBezTo>
                  <a:pt x="4027046" y="23114"/>
                  <a:pt x="4045966" y="17150"/>
                  <a:pt x="4058908" y="5125"/>
                </a:cubicBezTo>
                <a:cubicBezTo>
                  <a:pt x="4060617" y="3499"/>
                  <a:pt x="4062239" y="1823"/>
                  <a:pt x="4063734" y="0"/>
                </a:cubicBezTo>
                <a:cubicBezTo>
                  <a:pt x="4065272" y="1823"/>
                  <a:pt x="4066895" y="3499"/>
                  <a:pt x="4068603" y="5125"/>
                </a:cubicBezTo>
                <a:cubicBezTo>
                  <a:pt x="4081545" y="17101"/>
                  <a:pt x="4100466" y="23114"/>
                  <a:pt x="4119259" y="23114"/>
                </a:cubicBezTo>
                <a:cubicBezTo>
                  <a:pt x="4128870" y="23114"/>
                  <a:pt x="4138489" y="21310"/>
                  <a:pt x="4148026" y="18911"/>
                </a:cubicBezTo>
                <a:moveTo>
                  <a:pt x="2895809" y="23114"/>
                </a:moveTo>
                <a:lnTo>
                  <a:pt x="2895809" y="23150"/>
                </a:lnTo>
              </a:path>
            </a:pathLst>
          </a:custGeom>
          <a:noFill/>
          <a:ln w="6950">
            <a:solidFill>
              <a:srgbClr val="F58500"/>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19" name="Rounded Rectangle 24">
            <a:extLst>
              <a:ext uri="{FF2B5EF4-FFF2-40B4-BE49-F238E27FC236}">
                <a16:creationId xmlns:a16="http://schemas.microsoft.com/office/drawing/2014/main" id="{6756F1C1-8B99-E635-F794-6A9F61448BF4}"/>
              </a:ext>
            </a:extLst>
          </p:cNvPr>
          <p:cNvSpPr/>
          <p:nvPr/>
        </p:nvSpPr>
        <p:spPr>
          <a:xfrm>
            <a:off x="791576" y="4001668"/>
            <a:ext cx="7784756" cy="2123477"/>
          </a:xfrm>
          <a:custGeom>
            <a:avLst/>
            <a:gdLst/>
            <a:ahLst/>
            <a:cxnLst/>
            <a:rect l="0" t="0" r="0" b="0"/>
            <a:pathLst>
              <a:path w="7784756" h="2123477">
                <a:moveTo>
                  <a:pt x="7784756" y="26875"/>
                </a:moveTo>
                <a:cubicBezTo>
                  <a:pt x="7760042" y="17608"/>
                  <a:pt x="7704128" y="0"/>
                  <a:pt x="7678179" y="3707"/>
                </a:cubicBezTo>
                <a:cubicBezTo>
                  <a:pt x="7645743" y="8340"/>
                  <a:pt x="7599405" y="26875"/>
                  <a:pt x="7562335" y="26875"/>
                </a:cubicBezTo>
                <a:cubicBezTo>
                  <a:pt x="7525264" y="26875"/>
                  <a:pt x="7451124" y="50044"/>
                  <a:pt x="7381617" y="26875"/>
                </a:cubicBezTo>
                <a:cubicBezTo>
                  <a:pt x="7312110" y="3707"/>
                  <a:pt x="7288941" y="26875"/>
                  <a:pt x="7228702" y="26875"/>
                </a:cubicBezTo>
                <a:cubicBezTo>
                  <a:pt x="7168463" y="26875"/>
                  <a:pt x="7112858" y="96382"/>
                  <a:pt x="7061886" y="96382"/>
                </a:cubicBezTo>
                <a:cubicBezTo>
                  <a:pt x="7010914" y="96382"/>
                  <a:pt x="6816295" y="138254"/>
                  <a:pt x="6742155" y="96382"/>
                </a:cubicBezTo>
                <a:cubicBezTo>
                  <a:pt x="6668014" y="54510"/>
                  <a:pt x="6584606" y="96382"/>
                  <a:pt x="6542902" y="96382"/>
                </a:cubicBezTo>
                <a:cubicBezTo>
                  <a:pt x="6501198" y="96382"/>
                  <a:pt x="6343650" y="179228"/>
                  <a:pt x="6315847" y="198325"/>
                </a:cubicBezTo>
                <a:cubicBezTo>
                  <a:pt x="6293605" y="213604"/>
                  <a:pt x="6210815" y="226315"/>
                  <a:pt x="6172200" y="230762"/>
                </a:cubicBezTo>
                <a:cubicBezTo>
                  <a:pt x="6107327" y="230762"/>
                  <a:pt x="6010809" y="249886"/>
                  <a:pt x="5991482" y="309536"/>
                </a:cubicBezTo>
                <a:cubicBezTo>
                  <a:pt x="5959659" y="407506"/>
                  <a:pt x="5943694" y="440096"/>
                  <a:pt x="5907040" y="530835"/>
                </a:cubicBezTo>
                <a:cubicBezTo>
                  <a:pt x="5893377" y="564817"/>
                  <a:pt x="5835230" y="601872"/>
                  <a:pt x="5820901" y="634769"/>
                </a:cubicBezTo>
                <a:cubicBezTo>
                  <a:pt x="5792410" y="700203"/>
                  <a:pt x="5781748" y="803054"/>
                  <a:pt x="5750091" y="865414"/>
                </a:cubicBezTo>
                <a:cubicBezTo>
                  <a:pt x="5718435" y="927775"/>
                  <a:pt x="5667119" y="947478"/>
                  <a:pt x="5632964" y="1005500"/>
                </a:cubicBezTo>
                <a:cubicBezTo>
                  <a:pt x="5584313" y="1088286"/>
                  <a:pt x="5508839" y="1079068"/>
                  <a:pt x="5455690" y="1152997"/>
                </a:cubicBezTo>
                <a:cubicBezTo>
                  <a:pt x="5421868" y="1199813"/>
                  <a:pt x="5411872" y="1332489"/>
                  <a:pt x="5376383" y="1375689"/>
                </a:cubicBezTo>
                <a:cubicBezTo>
                  <a:pt x="5320236" y="1444014"/>
                  <a:pt x="5277916" y="1531139"/>
                  <a:pt x="5216770" y="1591331"/>
                </a:cubicBezTo>
                <a:cubicBezTo>
                  <a:pt x="5155623" y="1651523"/>
                  <a:pt x="5077650" y="1682794"/>
                  <a:pt x="5012671" y="1733586"/>
                </a:cubicBezTo>
                <a:cubicBezTo>
                  <a:pt x="4981848" y="1757627"/>
                  <a:pt x="4960021" y="1810408"/>
                  <a:pt x="4928365" y="1832279"/>
                </a:cubicBezTo>
                <a:cubicBezTo>
                  <a:pt x="4853723" y="1884156"/>
                  <a:pt x="4740261" y="1881083"/>
                  <a:pt x="4661287" y="1920669"/>
                </a:cubicBezTo>
                <a:cubicBezTo>
                  <a:pt x="4617135" y="1942901"/>
                  <a:pt x="4599641" y="1982126"/>
                  <a:pt x="4554322" y="2000382"/>
                </a:cubicBezTo>
                <a:cubicBezTo>
                  <a:pt x="4520500" y="2014119"/>
                  <a:pt x="4486345" y="2026591"/>
                  <a:pt x="4451856" y="2038160"/>
                </a:cubicBezTo>
                <a:cubicBezTo>
                  <a:pt x="4395208" y="2056958"/>
                  <a:pt x="4335894" y="2073407"/>
                  <a:pt x="4279913" y="2085880"/>
                </a:cubicBezTo>
                <a:cubicBezTo>
                  <a:pt x="4223932" y="2098352"/>
                  <a:pt x="4167284" y="2108113"/>
                  <a:pt x="4109969" y="2114981"/>
                </a:cubicBezTo>
                <a:cubicBezTo>
                  <a:pt x="4064817" y="2120404"/>
                  <a:pt x="4019332" y="2109379"/>
                  <a:pt x="3973515" y="2111366"/>
                </a:cubicBezTo>
                <a:cubicBezTo>
                  <a:pt x="3947357" y="2112631"/>
                  <a:pt x="3921198" y="2099798"/>
                  <a:pt x="3894874" y="2099798"/>
                </a:cubicBezTo>
                <a:cubicBezTo>
                  <a:pt x="3821898" y="2099798"/>
                  <a:pt x="3749755" y="2123477"/>
                  <a:pt x="3678445" y="2114801"/>
                </a:cubicBezTo>
                <a:cubicBezTo>
                  <a:pt x="3593640" y="2104498"/>
                  <a:pt x="3510001" y="2088048"/>
                  <a:pt x="3428028" y="2065454"/>
                </a:cubicBezTo>
                <a:cubicBezTo>
                  <a:pt x="3397872" y="2057139"/>
                  <a:pt x="3358384" y="2010323"/>
                  <a:pt x="3328561" y="2000382"/>
                </a:cubicBezTo>
                <a:cubicBezTo>
                  <a:pt x="3278911" y="1983752"/>
                  <a:pt x="3239590" y="2002732"/>
                  <a:pt x="3191272" y="1981764"/>
                </a:cubicBezTo>
                <a:cubicBezTo>
                  <a:pt x="3129960" y="1955193"/>
                  <a:pt x="3094971" y="1962604"/>
                  <a:pt x="3035991" y="1928803"/>
                </a:cubicBezTo>
                <a:cubicBezTo>
                  <a:pt x="3008167" y="1912896"/>
                  <a:pt x="2955518" y="1858489"/>
                  <a:pt x="2928193" y="1840955"/>
                </a:cubicBezTo>
                <a:cubicBezTo>
                  <a:pt x="2886041" y="1814022"/>
                  <a:pt x="2850719" y="1755277"/>
                  <a:pt x="2810066" y="1724548"/>
                </a:cubicBezTo>
                <a:cubicBezTo>
                  <a:pt x="2767080" y="1692013"/>
                  <a:pt x="2718596" y="1687131"/>
                  <a:pt x="2677110" y="1650438"/>
                </a:cubicBezTo>
                <a:cubicBezTo>
                  <a:pt x="2642122" y="1619710"/>
                  <a:pt x="2577142" y="1593681"/>
                  <a:pt x="2543487" y="1560060"/>
                </a:cubicBezTo>
                <a:cubicBezTo>
                  <a:pt x="2489671" y="1506195"/>
                  <a:pt x="2512330" y="1422504"/>
                  <a:pt x="2462014" y="1361409"/>
                </a:cubicBezTo>
                <a:cubicBezTo>
                  <a:pt x="2437189" y="1331223"/>
                  <a:pt x="2368712" y="1320016"/>
                  <a:pt x="2344720" y="1288203"/>
                </a:cubicBezTo>
                <a:cubicBezTo>
                  <a:pt x="2296236" y="1223854"/>
                  <a:pt x="2249418" y="1155709"/>
                  <a:pt x="2204599" y="1084130"/>
                </a:cubicBezTo>
                <a:cubicBezTo>
                  <a:pt x="2188605" y="1058462"/>
                  <a:pt x="2196103" y="967723"/>
                  <a:pt x="2180607" y="941332"/>
                </a:cubicBezTo>
                <a:cubicBezTo>
                  <a:pt x="2138455" y="869210"/>
                  <a:pt x="2074642" y="858546"/>
                  <a:pt x="2036155" y="779917"/>
                </a:cubicBezTo>
                <a:cubicBezTo>
                  <a:pt x="2023492" y="754250"/>
                  <a:pt x="2011164" y="728221"/>
                  <a:pt x="1999001" y="701831"/>
                </a:cubicBezTo>
                <a:cubicBezTo>
                  <a:pt x="1976175" y="651941"/>
                  <a:pt x="1953849" y="600968"/>
                  <a:pt x="1932523" y="548549"/>
                </a:cubicBezTo>
                <a:cubicBezTo>
                  <a:pt x="1915195" y="505890"/>
                  <a:pt x="1898201" y="462510"/>
                  <a:pt x="1881873" y="418224"/>
                </a:cubicBezTo>
                <a:cubicBezTo>
                  <a:pt x="1871230" y="389472"/>
                  <a:pt x="1834978" y="351909"/>
                  <a:pt x="1784006" y="309536"/>
                </a:cubicBezTo>
                <a:cubicBezTo>
                  <a:pt x="1723658" y="259367"/>
                  <a:pt x="1595539" y="227632"/>
                  <a:pt x="1556951" y="230762"/>
                </a:cubicBezTo>
                <a:cubicBezTo>
                  <a:pt x="1518363" y="233892"/>
                  <a:pt x="1413140" y="227367"/>
                  <a:pt x="1346270" y="179228"/>
                </a:cubicBezTo>
                <a:cubicBezTo>
                  <a:pt x="1310650" y="153585"/>
                  <a:pt x="1279401" y="183532"/>
                  <a:pt x="1234821" y="138254"/>
                </a:cubicBezTo>
                <a:cubicBezTo>
                  <a:pt x="1216341" y="127656"/>
                  <a:pt x="1067687" y="84675"/>
                  <a:pt x="1037967" y="96382"/>
                </a:cubicBezTo>
                <a:cubicBezTo>
                  <a:pt x="917489" y="143840"/>
                  <a:pt x="820179" y="73213"/>
                  <a:pt x="783109" y="73213"/>
                </a:cubicBezTo>
                <a:cubicBezTo>
                  <a:pt x="722870" y="73213"/>
                  <a:pt x="741405" y="68580"/>
                  <a:pt x="681166" y="45411"/>
                </a:cubicBezTo>
                <a:cubicBezTo>
                  <a:pt x="620927" y="22242"/>
                  <a:pt x="514350" y="12974"/>
                  <a:pt x="444843" y="22242"/>
                </a:cubicBezTo>
                <a:cubicBezTo>
                  <a:pt x="375336" y="31509"/>
                  <a:pt x="310463" y="36143"/>
                  <a:pt x="268759" y="22242"/>
                </a:cubicBezTo>
                <a:cubicBezTo>
                  <a:pt x="235396" y="11121"/>
                  <a:pt x="196163" y="17608"/>
                  <a:pt x="180717" y="22242"/>
                </a:cubicBezTo>
                <a:cubicBezTo>
                  <a:pt x="169905" y="26875"/>
                  <a:pt x="142720" y="33363"/>
                  <a:pt x="120478" y="22242"/>
                </a:cubicBezTo>
                <a:cubicBezTo>
                  <a:pt x="98236" y="11121"/>
                  <a:pt x="30891" y="17608"/>
                  <a:pt x="0" y="22242"/>
                </a:cubicBezTo>
              </a:path>
            </a:pathLst>
          </a:custGeom>
          <a:noFill/>
          <a:ln w="6950">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0" name="TextBox 25">
            <a:extLst>
              <a:ext uri="{FF2B5EF4-FFF2-40B4-BE49-F238E27FC236}">
                <a16:creationId xmlns:a16="http://schemas.microsoft.com/office/drawing/2014/main" id="{78D03A11-FE8C-E627-BB5C-21026CC8E904}"/>
              </a:ext>
            </a:extLst>
          </p:cNvPr>
          <p:cNvSpPr txBox="1"/>
          <p:nvPr/>
        </p:nvSpPr>
        <p:spPr>
          <a:xfrm>
            <a:off x="943211" y="1415086"/>
            <a:ext cx="7506607" cy="276999"/>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800" b="1" noProof="0">
                <a:solidFill>
                  <a:srgbClr val="464646"/>
                </a:solidFill>
                <a:latin typeface="Avenir LT Pro 45Book"/>
              </a:rPr>
              <a:t>Crafting a strong value proposition is how you win in your chosen playing field</a:t>
            </a:r>
          </a:p>
        </p:txBody>
      </p:sp>
      <p:sp>
        <p:nvSpPr>
          <p:cNvPr id="21" name="TextBox 26">
            <a:extLst>
              <a:ext uri="{FF2B5EF4-FFF2-40B4-BE49-F238E27FC236}">
                <a16:creationId xmlns:a16="http://schemas.microsoft.com/office/drawing/2014/main" id="{64126608-5074-44B9-1F28-86BD16BDD68E}"/>
              </a:ext>
            </a:extLst>
          </p:cNvPr>
          <p:cNvSpPr txBox="1"/>
          <p:nvPr/>
        </p:nvSpPr>
        <p:spPr>
          <a:xfrm>
            <a:off x="4031374" y="2040653"/>
            <a:ext cx="1430649" cy="43088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400" b="1" noProof="0">
                <a:solidFill>
                  <a:srgbClr val="464646"/>
                </a:solidFill>
                <a:latin typeface="Avenir LT Pro 45Book"/>
              </a:rPr>
              <a:t>How to Win</a:t>
            </a:r>
          </a:p>
          <a:p>
            <a:pPr algn="ctr"/>
            <a:r>
              <a:rPr lang="en-GB" sz="1400" noProof="0">
                <a:solidFill>
                  <a:srgbClr val="464646"/>
                </a:solidFill>
                <a:latin typeface="Avenir LT Pro 45Book"/>
              </a:rPr>
              <a:t>(Value Proposition)</a:t>
            </a:r>
          </a:p>
        </p:txBody>
      </p:sp>
      <p:sp>
        <p:nvSpPr>
          <p:cNvPr id="22" name="TextBox 27">
            <a:extLst>
              <a:ext uri="{FF2B5EF4-FFF2-40B4-BE49-F238E27FC236}">
                <a16:creationId xmlns:a16="http://schemas.microsoft.com/office/drawing/2014/main" id="{E5A04F54-59E3-BC7D-7CDC-5CB47C728DA6}"/>
              </a:ext>
            </a:extLst>
          </p:cNvPr>
          <p:cNvSpPr txBox="1"/>
          <p:nvPr/>
        </p:nvSpPr>
        <p:spPr>
          <a:xfrm>
            <a:off x="1191416" y="4376080"/>
            <a:ext cx="1049390" cy="43088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400" b="1" noProof="0">
                <a:solidFill>
                  <a:srgbClr val="464646"/>
                </a:solidFill>
                <a:latin typeface="Avenir LT Pro 45Book"/>
              </a:rPr>
              <a:t>Where to Play</a:t>
            </a:r>
          </a:p>
          <a:p>
            <a:pPr algn="ctr"/>
            <a:r>
              <a:rPr lang="en-GB" sz="1400" noProof="0">
                <a:solidFill>
                  <a:srgbClr val="464646"/>
                </a:solidFill>
                <a:latin typeface="Avenir LT Pro 45Book"/>
              </a:rPr>
              <a:t>(Playing Field)</a:t>
            </a:r>
          </a:p>
        </p:txBody>
      </p:sp>
      <p:sp>
        <p:nvSpPr>
          <p:cNvPr id="23" name="TextBox 28">
            <a:extLst>
              <a:ext uri="{FF2B5EF4-FFF2-40B4-BE49-F238E27FC236}">
                <a16:creationId xmlns:a16="http://schemas.microsoft.com/office/drawing/2014/main" id="{7F657A94-0080-59D2-C46D-6B488C332379}"/>
              </a:ext>
            </a:extLst>
          </p:cNvPr>
          <p:cNvSpPr txBox="1"/>
          <p:nvPr/>
        </p:nvSpPr>
        <p:spPr>
          <a:xfrm>
            <a:off x="7042012" y="4376080"/>
            <a:ext cx="1379353" cy="43088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400" b="1" noProof="0">
                <a:solidFill>
                  <a:srgbClr val="464646"/>
                </a:solidFill>
                <a:latin typeface="Avenir LT Pro 45Book"/>
              </a:rPr>
              <a:t>How to Play</a:t>
            </a:r>
          </a:p>
          <a:p>
            <a:pPr algn="ctr"/>
            <a:r>
              <a:rPr lang="en-GB" sz="1400" noProof="0">
                <a:solidFill>
                  <a:srgbClr val="464646"/>
                </a:solidFill>
                <a:latin typeface="Avenir LT Pro 45Book"/>
              </a:rPr>
              <a:t>(Operating Model)</a:t>
            </a:r>
          </a:p>
        </p:txBody>
      </p:sp>
    </p:spTree>
    <p:extLst>
      <p:ext uri="{BB962C8B-B14F-4D97-AF65-F5344CB8AC3E}">
        <p14:creationId xmlns:p14="http://schemas.microsoft.com/office/powerpoint/2010/main" val="34862133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B7C2B8-BFAA-7B36-FBFF-42B125FD66D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5720B7B-7A16-BF7B-9758-0729DE0AF8DB}"/>
              </a:ext>
            </a:extLst>
          </p:cNvPr>
          <p:cNvGraphicFramePr>
            <a:graphicFrameLocks noChangeAspect="1"/>
          </p:cNvGraphicFramePr>
          <p:nvPr>
            <p:custDataLst>
              <p:tags r:id="rId1"/>
            </p:custDataLst>
            <p:extLst>
              <p:ext uri="{D42A27DB-BD31-4B8C-83A1-F6EECF244321}">
                <p14:modId xmlns:p14="http://schemas.microsoft.com/office/powerpoint/2010/main" val="1178257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7" name="think-cell data - do not delete" hidden="1">
                        <a:extLst>
                          <a:ext uri="{FF2B5EF4-FFF2-40B4-BE49-F238E27FC236}">
                            <a16:creationId xmlns:a16="http://schemas.microsoft.com/office/drawing/2014/main" id="{75720B7B-7A16-BF7B-9758-0729DE0AF8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88C329-D479-4D85-8791-CA50F5ADB262}"/>
              </a:ext>
            </a:extLst>
          </p:cNvPr>
          <p:cNvSpPr>
            <a:spLocks noGrp="1"/>
          </p:cNvSpPr>
          <p:nvPr>
            <p:ph type="title"/>
          </p:nvPr>
        </p:nvSpPr>
        <p:spPr>
          <a:xfrm>
            <a:off x="137786" y="125260"/>
            <a:ext cx="7888614" cy="806754"/>
          </a:xfrm>
        </p:spPr>
        <p:txBody>
          <a:bodyPr vert="horz"/>
          <a:lstStyle/>
          <a:p>
            <a:r>
              <a:rPr lang="en-GB" b="1" noProof="0"/>
              <a:t>Creating value through trade-offs</a:t>
            </a:r>
          </a:p>
        </p:txBody>
      </p:sp>
      <p:sp>
        <p:nvSpPr>
          <p:cNvPr id="48" name="Rectangle 47">
            <a:extLst>
              <a:ext uri="{FF2B5EF4-FFF2-40B4-BE49-F238E27FC236}">
                <a16:creationId xmlns:a16="http://schemas.microsoft.com/office/drawing/2014/main" id="{2DCF2928-61A8-50FE-F34F-183EDEE66CB7}"/>
              </a:ext>
            </a:extLst>
          </p:cNvPr>
          <p:cNvSpPr/>
          <p:nvPr/>
        </p:nvSpPr>
        <p:spPr>
          <a:xfrm>
            <a:off x="9365552" y="105833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Porter reminds us that </a:t>
            </a:r>
            <a:r>
              <a:rPr lang="en-GB" sz="1200" b="1" noProof="0">
                <a:solidFill>
                  <a:schemeClr val="tx1"/>
                </a:solidFill>
                <a:latin typeface="Avenir Next LT Pro" panose="020B0504020202020204" pitchFamily="34" charset="0"/>
              </a:rPr>
              <a:t>value is created by either lifting customers’ value or willingness to pay (WTP) or lowering the total cost </a:t>
            </a:r>
            <a:r>
              <a:rPr lang="en-GB" sz="1200" noProof="0">
                <a:solidFill>
                  <a:schemeClr val="tx1"/>
                </a:solidFill>
                <a:latin typeface="Avenir Next LT Pro" panose="020B0504020202020204" pitchFamily="34" charset="0"/>
              </a:rPr>
              <a:t>borne by suppliers, employees, and investors.</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Winning value propositions hinge on an explicit, competitor-relative </a:t>
            </a:r>
            <a:r>
              <a:rPr lang="en-GB" sz="1200" b="1" noProof="0">
                <a:solidFill>
                  <a:schemeClr val="tx1"/>
                </a:solidFill>
                <a:latin typeface="Avenir Next LT Pro" panose="020B0504020202020204" pitchFamily="34" charset="0"/>
              </a:rPr>
              <a:t>trade-off </a:t>
            </a:r>
            <a:r>
              <a:rPr lang="en-GB" sz="1200" noProof="0">
                <a:solidFill>
                  <a:schemeClr val="tx1"/>
                </a:solidFill>
                <a:latin typeface="Avenir Next LT Pro" panose="020B0504020202020204" pitchFamily="34" charset="0"/>
              </a:rPr>
              <a:t>between these two levers and on orchestrating functional, emotional, experiential, and complementary benefits to customers.</a:t>
            </a:r>
          </a:p>
          <a:p>
            <a:pPr marL="285750" indent="-285750">
              <a:spcAft>
                <a:spcPts val="600"/>
              </a:spcAft>
              <a:buFont typeface="Arial" panose="020B0604020202020204" pitchFamily="34" charset="0"/>
              <a:buChar char="•"/>
            </a:pPr>
            <a:r>
              <a:rPr lang="en-GB" sz="1200" b="1" noProof="0">
                <a:solidFill>
                  <a:schemeClr val="tx1"/>
                </a:solidFill>
                <a:latin typeface="Avenir Next LT Pro" panose="020B0504020202020204" pitchFamily="34" charset="0"/>
              </a:rPr>
              <a:t>Real advantage comes from a unique “recipe”</a:t>
            </a:r>
            <a:r>
              <a:rPr lang="en-GB" sz="1200" noProof="0">
                <a:solidFill>
                  <a:schemeClr val="tx1"/>
                </a:solidFill>
                <a:latin typeface="Avenir Next LT Pro" panose="020B0504020202020204" pitchFamily="34" charset="0"/>
              </a:rPr>
              <a:t> that blends WTP-raising and cost-cutting ingredients in proportions rivals cannot or will not replicate, rather than from any single feature they can copy.</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Strategic trade-offs keep firms out of feature or price wars and focused on delivering </a:t>
            </a:r>
            <a:r>
              <a:rPr lang="en-GB" sz="1200" b="1" noProof="0">
                <a:solidFill>
                  <a:schemeClr val="tx1"/>
                </a:solidFill>
                <a:latin typeface="Avenir Next LT Pro" panose="020B0504020202020204" pitchFamily="34" charset="0"/>
              </a:rPr>
              <a:t>truly differentiated value</a:t>
            </a:r>
            <a:r>
              <a:rPr lang="en-GB" sz="1200" noProof="0">
                <a:solidFill>
                  <a:schemeClr val="tx1"/>
                </a:solidFill>
                <a:latin typeface="Avenir Next LT Pro" panose="020B0504020202020204" pitchFamily="34" charset="0"/>
              </a:rPr>
              <a:t>.</a:t>
            </a:r>
          </a:p>
        </p:txBody>
      </p:sp>
      <p:sp>
        <p:nvSpPr>
          <p:cNvPr id="3" name="TextBox 2">
            <a:extLst>
              <a:ext uri="{FF2B5EF4-FFF2-40B4-BE49-F238E27FC236}">
                <a16:creationId xmlns:a16="http://schemas.microsoft.com/office/drawing/2014/main" id="{BDD6C0F7-C054-98BE-6BCC-18A943E7360C}"/>
              </a:ext>
            </a:extLst>
          </p:cNvPr>
          <p:cNvSpPr txBox="1">
            <a:spLocks noChangeArrowheads="1"/>
          </p:cNvSpPr>
          <p:nvPr>
            <p:custDataLst>
              <p:tags r:id="rId2"/>
            </p:custDataLst>
          </p:nvPr>
        </p:nvSpPr>
        <p:spPr bwMode="auto">
          <a:xfrm>
            <a:off x="237063" y="3456347"/>
            <a:ext cx="3812498"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b="1" i="0" u="none" strike="noStrike" kern="0" cap="none" spc="0" normalizeH="0" baseline="0" noProof="0">
                <a:ln>
                  <a:noFill/>
                </a:ln>
                <a:solidFill>
                  <a:prstClr val="black"/>
                </a:solidFill>
                <a:effectLst/>
                <a:uLnTx/>
                <a:uFillTx/>
                <a:latin typeface="Avenir Next LT Pro" panose="020B0504020202020204" pitchFamily="34" charset="0"/>
                <a:ea typeface="+mn-ea"/>
                <a:cs typeface="Arial" pitchFamily="34" charset="0"/>
                <a:sym typeface="Avenir Next LT Pro" panose="020B0504020202020204" pitchFamily="34" charset="0"/>
              </a:rPr>
              <a:t>You have a Value Proposition only if….</a:t>
            </a:r>
          </a:p>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b="0" i="0" u="none" strike="noStrike" kern="0" cap="none" spc="0" normalizeH="0" baseline="0" noProof="0">
              <a:ln>
                <a:noFill/>
              </a:ln>
              <a:solidFill>
                <a:prstClr val="black"/>
              </a:solidFill>
              <a:effectLst/>
              <a:uLnTx/>
              <a:uFillTx/>
              <a:latin typeface="Avenir Next LT Pro" panose="020B0504020202020204" pitchFamily="34" charset="0"/>
              <a:ea typeface="+mn-ea"/>
              <a:cs typeface="Arial" pitchFamily="34" charset="0"/>
              <a:sym typeface="Avenir Next LT Pro" panose="020B0504020202020204" pitchFamily="34" charset="0"/>
            </a:endParaRPr>
          </a:p>
          <a:p>
            <a:pPr marL="0" marR="0" lvl="0" indent="0" algn="ctr" defTabSz="914400" eaLnBrk="0" fontAlgn="base" latinLnBrk="0" hangingPunct="0">
              <a:lnSpc>
                <a:spcPct val="100000"/>
              </a:lnSpc>
              <a:spcBef>
                <a:spcPct val="0"/>
              </a:spcBef>
              <a:spcAft>
                <a:spcPct val="0"/>
              </a:spcAft>
              <a:buClrTx/>
              <a:buSzTx/>
              <a:buFontTx/>
              <a:buNone/>
              <a:tabLst/>
              <a:defRPr/>
            </a:pPr>
            <a:r>
              <a:rPr kumimoji="0" lang="en-GB" b="1" i="0" u="none" strike="noStrike" kern="0" cap="none" spc="0" normalizeH="0" baseline="0" noProof="0">
                <a:ln>
                  <a:noFill/>
                </a:ln>
                <a:solidFill>
                  <a:prstClr val="black"/>
                </a:solidFill>
                <a:effectLst/>
                <a:uLnTx/>
                <a:uFillTx/>
                <a:latin typeface="Avenir Next LT Pro" panose="020B0504020202020204" pitchFamily="34" charset="0"/>
                <a:ea typeface="+mn-ea"/>
                <a:cs typeface="Arial" pitchFamily="34" charset="0"/>
                <a:sym typeface="Avenir Next LT Pro" panose="020B0504020202020204" pitchFamily="34" charset="0"/>
              </a:rPr>
              <a:t>C  &lt;   P   &lt;   V</a:t>
            </a:r>
          </a:p>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venir Next LT Pro" panose="020B0504020202020204" pitchFamily="34" charset="0"/>
              <a:ea typeface="+mn-ea"/>
              <a:cs typeface="Arial" pitchFamily="34" charset="0"/>
              <a:sym typeface="Avenir Next LT Pro" panose="020B0504020202020204" pitchFamily="34" charset="0"/>
            </a:endParaRPr>
          </a:p>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prstClr val="black"/>
                </a:solidFill>
                <a:effectLst/>
                <a:uLnTx/>
                <a:uFillTx/>
                <a:latin typeface="Avenir Next LT Pro" panose="020B0504020202020204" pitchFamily="34" charset="0"/>
                <a:ea typeface="+mn-ea"/>
                <a:cs typeface="Arial" pitchFamily="34" charset="0"/>
                <a:sym typeface="Avenir Next LT Pro" panose="020B0504020202020204" pitchFamily="34" charset="0"/>
              </a:rPr>
              <a:t>Cost &lt; Price &lt; Customer Perceived Value</a:t>
            </a:r>
          </a:p>
        </p:txBody>
      </p:sp>
      <p:grpSp>
        <p:nvGrpSpPr>
          <p:cNvPr id="10" name="Group 9">
            <a:extLst>
              <a:ext uri="{FF2B5EF4-FFF2-40B4-BE49-F238E27FC236}">
                <a16:creationId xmlns:a16="http://schemas.microsoft.com/office/drawing/2014/main" id="{CD86870A-4317-B0E8-74E7-70E2F169DF8D}"/>
              </a:ext>
            </a:extLst>
          </p:cNvPr>
          <p:cNvGrpSpPr/>
          <p:nvPr/>
        </p:nvGrpSpPr>
        <p:grpSpPr>
          <a:xfrm>
            <a:off x="1754548" y="2395727"/>
            <a:ext cx="791520" cy="791521"/>
            <a:chOff x="823547" y="1760626"/>
            <a:chExt cx="1226885" cy="1226886"/>
          </a:xfrm>
        </p:grpSpPr>
        <p:sp>
          <p:nvSpPr>
            <p:cNvPr id="11" name="Oval 10">
              <a:extLst>
                <a:ext uri="{FF2B5EF4-FFF2-40B4-BE49-F238E27FC236}">
                  <a16:creationId xmlns:a16="http://schemas.microsoft.com/office/drawing/2014/main" id="{58BBEF91-9301-7F55-B3AB-3F33AF059491}"/>
                </a:ext>
              </a:extLst>
            </p:cNvPr>
            <p:cNvSpPr/>
            <p:nvPr/>
          </p:nvSpPr>
          <p:spPr>
            <a:xfrm>
              <a:off x="823547" y="1760626"/>
              <a:ext cx="1226885" cy="12268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sym typeface="Avenir Next LT Pro" panose="020B0504020202020204" pitchFamily="34" charset="0"/>
              </a:endParaRPr>
            </a:p>
          </p:txBody>
        </p:sp>
        <p:sp>
          <p:nvSpPr>
            <p:cNvPr id="12" name="Freeform 15">
              <a:extLst>
                <a:ext uri="{FF2B5EF4-FFF2-40B4-BE49-F238E27FC236}">
                  <a16:creationId xmlns:a16="http://schemas.microsoft.com/office/drawing/2014/main" id="{9CFA7BD2-28F1-C144-DE4A-D5F4DF763BC5}"/>
                </a:ext>
              </a:extLst>
            </p:cNvPr>
            <p:cNvSpPr>
              <a:spLocks noEditPoints="1"/>
            </p:cNvSpPr>
            <p:nvPr/>
          </p:nvSpPr>
          <p:spPr bwMode="auto">
            <a:xfrm>
              <a:off x="1165888" y="2109447"/>
              <a:ext cx="548396" cy="541888"/>
            </a:xfrm>
            <a:custGeom>
              <a:avLst/>
              <a:gdLst/>
              <a:ahLst/>
              <a:cxnLst>
                <a:cxn ang="0">
                  <a:pos x="306" y="190"/>
                </a:cxn>
                <a:cxn ang="0">
                  <a:pos x="178" y="333"/>
                </a:cxn>
                <a:cxn ang="0">
                  <a:pos x="31" y="190"/>
                </a:cxn>
                <a:cxn ang="0">
                  <a:pos x="159" y="333"/>
                </a:cxn>
                <a:cxn ang="0">
                  <a:pos x="31" y="190"/>
                </a:cxn>
                <a:cxn ang="0">
                  <a:pos x="228" y="25"/>
                </a:cxn>
                <a:cxn ang="0">
                  <a:pos x="198" y="50"/>
                </a:cxn>
                <a:cxn ang="0">
                  <a:pos x="182" y="86"/>
                </a:cxn>
                <a:cxn ang="0">
                  <a:pos x="231" y="71"/>
                </a:cxn>
                <a:cxn ang="0">
                  <a:pos x="255" y="54"/>
                </a:cxn>
                <a:cxn ang="0">
                  <a:pos x="260" y="40"/>
                </a:cxn>
                <a:cxn ang="0">
                  <a:pos x="255" y="29"/>
                </a:cxn>
                <a:cxn ang="0">
                  <a:pos x="248" y="25"/>
                </a:cxn>
                <a:cxn ang="0">
                  <a:pos x="239" y="23"/>
                </a:cxn>
                <a:cxn ang="0">
                  <a:pos x="90" y="25"/>
                </a:cxn>
                <a:cxn ang="0">
                  <a:pos x="78" y="34"/>
                </a:cxn>
                <a:cxn ang="0">
                  <a:pos x="74" y="42"/>
                </a:cxn>
                <a:cxn ang="0">
                  <a:pos x="75" y="51"/>
                </a:cxn>
                <a:cxn ang="0">
                  <a:pos x="85" y="63"/>
                </a:cxn>
                <a:cxn ang="0">
                  <a:pos x="104" y="75"/>
                </a:cxn>
                <a:cxn ang="0">
                  <a:pos x="155" y="84"/>
                </a:cxn>
                <a:cxn ang="0">
                  <a:pos x="139" y="50"/>
                </a:cxn>
                <a:cxn ang="0">
                  <a:pos x="119" y="30"/>
                </a:cxn>
                <a:cxn ang="0">
                  <a:pos x="98" y="23"/>
                </a:cxn>
                <a:cxn ang="0">
                  <a:pos x="98" y="0"/>
                </a:cxn>
                <a:cxn ang="0">
                  <a:pos x="132" y="10"/>
                </a:cxn>
                <a:cxn ang="0">
                  <a:pos x="157" y="37"/>
                </a:cxn>
                <a:cxn ang="0">
                  <a:pos x="164" y="46"/>
                </a:cxn>
                <a:cxn ang="0">
                  <a:pos x="169" y="55"/>
                </a:cxn>
                <a:cxn ang="0">
                  <a:pos x="185" y="29"/>
                </a:cxn>
                <a:cxn ang="0">
                  <a:pos x="222" y="3"/>
                </a:cxn>
                <a:cxn ang="0">
                  <a:pos x="256" y="3"/>
                </a:cxn>
                <a:cxn ang="0">
                  <a:pos x="280" y="23"/>
                </a:cxn>
                <a:cxn ang="0">
                  <a:pos x="281" y="55"/>
                </a:cxn>
                <a:cxn ang="0">
                  <a:pos x="259" y="82"/>
                </a:cxn>
                <a:cxn ang="0">
                  <a:pos x="244" y="90"/>
                </a:cxn>
                <a:cxn ang="0">
                  <a:pos x="326" y="92"/>
                </a:cxn>
                <a:cxn ang="0">
                  <a:pos x="337" y="107"/>
                </a:cxn>
                <a:cxn ang="0">
                  <a:pos x="178" y="168"/>
                </a:cxn>
                <a:cxn ang="0">
                  <a:pos x="159" y="90"/>
                </a:cxn>
                <a:cxn ang="0">
                  <a:pos x="0" y="168"/>
                </a:cxn>
                <a:cxn ang="0">
                  <a:pos x="2" y="102"/>
                </a:cxn>
                <a:cxn ang="0">
                  <a:pos x="7" y="94"/>
                </a:cxn>
                <a:cxn ang="0">
                  <a:pos x="17" y="90"/>
                </a:cxn>
                <a:cxn ang="0">
                  <a:pos x="69" y="80"/>
                </a:cxn>
                <a:cxn ang="0">
                  <a:pos x="52" y="56"/>
                </a:cxn>
                <a:cxn ang="0">
                  <a:pos x="53" y="33"/>
                </a:cxn>
                <a:cxn ang="0">
                  <a:pos x="66" y="13"/>
                </a:cxn>
                <a:cxn ang="0">
                  <a:pos x="98" y="0"/>
                </a:cxn>
              </a:cxnLst>
              <a:rect l="0" t="0" r="r" b="b"/>
              <a:pathLst>
                <a:path w="337" h="333">
                  <a:moveTo>
                    <a:pt x="178" y="190"/>
                  </a:moveTo>
                  <a:lnTo>
                    <a:pt x="306" y="190"/>
                  </a:lnTo>
                  <a:lnTo>
                    <a:pt x="306" y="333"/>
                  </a:lnTo>
                  <a:lnTo>
                    <a:pt x="178" y="333"/>
                  </a:lnTo>
                  <a:lnTo>
                    <a:pt x="178" y="190"/>
                  </a:lnTo>
                  <a:close/>
                  <a:moveTo>
                    <a:pt x="31" y="190"/>
                  </a:moveTo>
                  <a:lnTo>
                    <a:pt x="159" y="190"/>
                  </a:lnTo>
                  <a:lnTo>
                    <a:pt x="159" y="333"/>
                  </a:lnTo>
                  <a:lnTo>
                    <a:pt x="31" y="333"/>
                  </a:lnTo>
                  <a:lnTo>
                    <a:pt x="31" y="190"/>
                  </a:lnTo>
                  <a:close/>
                  <a:moveTo>
                    <a:pt x="239" y="23"/>
                  </a:moveTo>
                  <a:lnTo>
                    <a:pt x="228" y="25"/>
                  </a:lnTo>
                  <a:lnTo>
                    <a:pt x="218" y="30"/>
                  </a:lnTo>
                  <a:lnTo>
                    <a:pt x="198" y="50"/>
                  </a:lnTo>
                  <a:lnTo>
                    <a:pt x="189" y="67"/>
                  </a:lnTo>
                  <a:lnTo>
                    <a:pt x="182" y="86"/>
                  </a:lnTo>
                  <a:lnTo>
                    <a:pt x="210" y="78"/>
                  </a:lnTo>
                  <a:lnTo>
                    <a:pt x="231" y="71"/>
                  </a:lnTo>
                  <a:lnTo>
                    <a:pt x="246" y="63"/>
                  </a:lnTo>
                  <a:lnTo>
                    <a:pt x="255" y="54"/>
                  </a:lnTo>
                  <a:lnTo>
                    <a:pt x="259" y="47"/>
                  </a:lnTo>
                  <a:lnTo>
                    <a:pt x="260" y="40"/>
                  </a:lnTo>
                  <a:lnTo>
                    <a:pt x="260" y="37"/>
                  </a:lnTo>
                  <a:lnTo>
                    <a:pt x="255" y="29"/>
                  </a:lnTo>
                  <a:lnTo>
                    <a:pt x="252" y="27"/>
                  </a:lnTo>
                  <a:lnTo>
                    <a:pt x="248" y="25"/>
                  </a:lnTo>
                  <a:lnTo>
                    <a:pt x="244" y="23"/>
                  </a:lnTo>
                  <a:lnTo>
                    <a:pt x="239" y="23"/>
                  </a:lnTo>
                  <a:close/>
                  <a:moveTo>
                    <a:pt x="94" y="23"/>
                  </a:moveTo>
                  <a:lnTo>
                    <a:pt x="90" y="25"/>
                  </a:lnTo>
                  <a:lnTo>
                    <a:pt x="82" y="30"/>
                  </a:lnTo>
                  <a:lnTo>
                    <a:pt x="78" y="34"/>
                  </a:lnTo>
                  <a:lnTo>
                    <a:pt x="75" y="38"/>
                  </a:lnTo>
                  <a:lnTo>
                    <a:pt x="74" y="42"/>
                  </a:lnTo>
                  <a:lnTo>
                    <a:pt x="74" y="48"/>
                  </a:lnTo>
                  <a:lnTo>
                    <a:pt x="75" y="51"/>
                  </a:lnTo>
                  <a:lnTo>
                    <a:pt x="81" y="59"/>
                  </a:lnTo>
                  <a:lnTo>
                    <a:pt x="85" y="63"/>
                  </a:lnTo>
                  <a:lnTo>
                    <a:pt x="90" y="67"/>
                  </a:lnTo>
                  <a:lnTo>
                    <a:pt x="104" y="75"/>
                  </a:lnTo>
                  <a:lnTo>
                    <a:pt x="127" y="80"/>
                  </a:lnTo>
                  <a:lnTo>
                    <a:pt x="155" y="84"/>
                  </a:lnTo>
                  <a:lnTo>
                    <a:pt x="147" y="63"/>
                  </a:lnTo>
                  <a:lnTo>
                    <a:pt x="139" y="50"/>
                  </a:lnTo>
                  <a:lnTo>
                    <a:pt x="130" y="38"/>
                  </a:lnTo>
                  <a:lnTo>
                    <a:pt x="119" y="30"/>
                  </a:lnTo>
                  <a:lnTo>
                    <a:pt x="108" y="25"/>
                  </a:lnTo>
                  <a:lnTo>
                    <a:pt x="98" y="23"/>
                  </a:lnTo>
                  <a:lnTo>
                    <a:pt x="94" y="23"/>
                  </a:lnTo>
                  <a:close/>
                  <a:moveTo>
                    <a:pt x="98" y="0"/>
                  </a:moveTo>
                  <a:lnTo>
                    <a:pt x="116" y="3"/>
                  </a:lnTo>
                  <a:lnTo>
                    <a:pt x="132" y="10"/>
                  </a:lnTo>
                  <a:lnTo>
                    <a:pt x="147" y="22"/>
                  </a:lnTo>
                  <a:lnTo>
                    <a:pt x="157" y="37"/>
                  </a:lnTo>
                  <a:lnTo>
                    <a:pt x="161" y="40"/>
                  </a:lnTo>
                  <a:lnTo>
                    <a:pt x="164" y="46"/>
                  </a:lnTo>
                  <a:lnTo>
                    <a:pt x="166" y="50"/>
                  </a:lnTo>
                  <a:lnTo>
                    <a:pt x="169" y="55"/>
                  </a:lnTo>
                  <a:lnTo>
                    <a:pt x="169" y="52"/>
                  </a:lnTo>
                  <a:lnTo>
                    <a:pt x="185" y="29"/>
                  </a:lnTo>
                  <a:lnTo>
                    <a:pt x="205" y="10"/>
                  </a:lnTo>
                  <a:lnTo>
                    <a:pt x="222" y="3"/>
                  </a:lnTo>
                  <a:lnTo>
                    <a:pt x="239" y="0"/>
                  </a:lnTo>
                  <a:lnTo>
                    <a:pt x="256" y="3"/>
                  </a:lnTo>
                  <a:lnTo>
                    <a:pt x="271" y="12"/>
                  </a:lnTo>
                  <a:lnTo>
                    <a:pt x="280" y="23"/>
                  </a:lnTo>
                  <a:lnTo>
                    <a:pt x="284" y="40"/>
                  </a:lnTo>
                  <a:lnTo>
                    <a:pt x="281" y="55"/>
                  </a:lnTo>
                  <a:lnTo>
                    <a:pt x="273" y="69"/>
                  </a:lnTo>
                  <a:lnTo>
                    <a:pt x="259" y="82"/>
                  </a:lnTo>
                  <a:lnTo>
                    <a:pt x="252" y="86"/>
                  </a:lnTo>
                  <a:lnTo>
                    <a:pt x="244" y="90"/>
                  </a:lnTo>
                  <a:lnTo>
                    <a:pt x="321" y="90"/>
                  </a:lnTo>
                  <a:lnTo>
                    <a:pt x="326" y="92"/>
                  </a:lnTo>
                  <a:lnTo>
                    <a:pt x="334" y="97"/>
                  </a:lnTo>
                  <a:lnTo>
                    <a:pt x="337" y="107"/>
                  </a:lnTo>
                  <a:lnTo>
                    <a:pt x="337" y="168"/>
                  </a:lnTo>
                  <a:lnTo>
                    <a:pt x="178" y="168"/>
                  </a:lnTo>
                  <a:lnTo>
                    <a:pt x="178" y="90"/>
                  </a:lnTo>
                  <a:lnTo>
                    <a:pt x="159" y="90"/>
                  </a:lnTo>
                  <a:lnTo>
                    <a:pt x="159" y="168"/>
                  </a:lnTo>
                  <a:lnTo>
                    <a:pt x="0" y="168"/>
                  </a:lnTo>
                  <a:lnTo>
                    <a:pt x="0" y="107"/>
                  </a:lnTo>
                  <a:lnTo>
                    <a:pt x="2" y="102"/>
                  </a:lnTo>
                  <a:lnTo>
                    <a:pt x="4" y="97"/>
                  </a:lnTo>
                  <a:lnTo>
                    <a:pt x="7" y="94"/>
                  </a:lnTo>
                  <a:lnTo>
                    <a:pt x="12" y="92"/>
                  </a:lnTo>
                  <a:lnTo>
                    <a:pt x="17" y="90"/>
                  </a:lnTo>
                  <a:lnTo>
                    <a:pt x="85" y="90"/>
                  </a:lnTo>
                  <a:lnTo>
                    <a:pt x="69" y="80"/>
                  </a:lnTo>
                  <a:lnTo>
                    <a:pt x="58" y="68"/>
                  </a:lnTo>
                  <a:lnTo>
                    <a:pt x="52" y="56"/>
                  </a:lnTo>
                  <a:lnTo>
                    <a:pt x="50" y="46"/>
                  </a:lnTo>
                  <a:lnTo>
                    <a:pt x="53" y="33"/>
                  </a:lnTo>
                  <a:lnTo>
                    <a:pt x="58" y="22"/>
                  </a:lnTo>
                  <a:lnTo>
                    <a:pt x="66" y="13"/>
                  </a:lnTo>
                  <a:lnTo>
                    <a:pt x="81" y="4"/>
                  </a:lnTo>
                  <a:lnTo>
                    <a:pt x="9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62322"/>
                </a:solidFill>
                <a:effectLst/>
                <a:uLnTx/>
                <a:uFillTx/>
                <a:latin typeface="Avenir Next LT Pro" panose="020B0504020202020204" pitchFamily="34" charset="0"/>
                <a:ea typeface="+mn-ea"/>
                <a:cs typeface="Arial"/>
                <a:sym typeface="Avenir Next LT Pro" panose="020B0504020202020204" pitchFamily="34" charset="0"/>
              </a:endParaRPr>
            </a:p>
          </p:txBody>
        </p:sp>
      </p:grpSp>
      <p:sp>
        <p:nvSpPr>
          <p:cNvPr id="13" name="TextBox 12">
            <a:extLst>
              <a:ext uri="{FF2B5EF4-FFF2-40B4-BE49-F238E27FC236}">
                <a16:creationId xmlns:a16="http://schemas.microsoft.com/office/drawing/2014/main" id="{ED17FC71-11FB-B38D-FE57-137A4846867C}"/>
              </a:ext>
            </a:extLst>
          </p:cNvPr>
          <p:cNvSpPr txBox="1"/>
          <p:nvPr/>
        </p:nvSpPr>
        <p:spPr>
          <a:xfrm>
            <a:off x="5315516" y="1959642"/>
            <a:ext cx="3320616" cy="73866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venir Next LT Pro"/>
                <a:ea typeface="+mn-ea"/>
                <a:cs typeface="+mn-cs"/>
              </a:rPr>
              <a:t>Great strategies develop Value Propositions at the optimal point between Value and Cost</a:t>
            </a:r>
          </a:p>
        </p:txBody>
      </p:sp>
      <p:pic>
        <p:nvPicPr>
          <p:cNvPr id="14" name="Picture 2" descr="Blue Ocean Strategy EXPLAINED with EXAMPLES | B2U">
            <a:extLst>
              <a:ext uri="{FF2B5EF4-FFF2-40B4-BE49-F238E27FC236}">
                <a16:creationId xmlns:a16="http://schemas.microsoft.com/office/drawing/2014/main" id="{E2C72385-CD68-32D9-1229-42684A1E15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78890" y="2879236"/>
            <a:ext cx="2593868" cy="2644055"/>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Straight Connector 38">
            <a:extLst>
              <a:ext uri="{FF2B5EF4-FFF2-40B4-BE49-F238E27FC236}">
                <a16:creationId xmlns:a16="http://schemas.microsoft.com/office/drawing/2014/main" id="{55DAF27C-673A-4A50-6D20-7DC4127B4201}"/>
              </a:ext>
            </a:extLst>
          </p:cNvPr>
          <p:cNvCxnSpPr>
            <a:cxnSpLocks/>
          </p:cNvCxnSpPr>
          <p:nvPr/>
        </p:nvCxnSpPr>
        <p:spPr>
          <a:xfrm>
            <a:off x="4645930" y="2395727"/>
            <a:ext cx="35020" cy="3031139"/>
          </a:xfrm>
          <a:prstGeom prst="line">
            <a:avLst/>
          </a:prstGeom>
          <a:ln w="12700">
            <a:solidFill>
              <a:schemeClr val="tx2"/>
            </a:solidFill>
          </a:ln>
        </p:spPr>
        <p:style>
          <a:lnRef idx="2">
            <a:schemeClr val="accent1"/>
          </a:lnRef>
          <a:fillRef idx="0">
            <a:schemeClr val="accent1"/>
          </a:fillRef>
          <a:effectRef idx="1">
            <a:schemeClr val="accent1"/>
          </a:effectRef>
          <a:fontRef idx="minor">
            <a:schemeClr val="tx1"/>
          </a:fontRef>
        </p:style>
      </p:cxnSp>
      <p:sp>
        <p:nvSpPr>
          <p:cNvPr id="15" name="Arrow: Chevron 14">
            <a:extLst>
              <a:ext uri="{FF2B5EF4-FFF2-40B4-BE49-F238E27FC236}">
                <a16:creationId xmlns:a16="http://schemas.microsoft.com/office/drawing/2014/main" id="{C1926DF3-3F78-CF64-E84A-6F348C2E7784}"/>
              </a:ext>
            </a:extLst>
          </p:cNvPr>
          <p:cNvSpPr/>
          <p:nvPr/>
        </p:nvSpPr>
        <p:spPr>
          <a:xfrm>
            <a:off x="8117384"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16" name="Arrow: Chevron 15">
            <a:extLst>
              <a:ext uri="{FF2B5EF4-FFF2-40B4-BE49-F238E27FC236}">
                <a16:creationId xmlns:a16="http://schemas.microsoft.com/office/drawing/2014/main" id="{6BA849C4-36C1-E243-4F25-B42332313320}"/>
              </a:ext>
            </a:extLst>
          </p:cNvPr>
          <p:cNvSpPr/>
          <p:nvPr/>
        </p:nvSpPr>
        <p:spPr>
          <a:xfrm>
            <a:off x="908014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17" name="Arrow: Chevron 16">
            <a:extLst>
              <a:ext uri="{FF2B5EF4-FFF2-40B4-BE49-F238E27FC236}">
                <a16:creationId xmlns:a16="http://schemas.microsoft.com/office/drawing/2014/main" id="{1F03AC38-213F-7CBD-39B8-DC9D21B074B7}"/>
              </a:ext>
            </a:extLst>
          </p:cNvPr>
          <p:cNvSpPr/>
          <p:nvPr/>
        </p:nvSpPr>
        <p:spPr>
          <a:xfrm>
            <a:off x="10042900"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18" name="Arrow: Chevron 17">
            <a:extLst>
              <a:ext uri="{FF2B5EF4-FFF2-40B4-BE49-F238E27FC236}">
                <a16:creationId xmlns:a16="http://schemas.microsoft.com/office/drawing/2014/main" id="{4BC98204-F40A-124B-FD62-D4408EF5EDC1}"/>
              </a:ext>
            </a:extLst>
          </p:cNvPr>
          <p:cNvSpPr/>
          <p:nvPr/>
        </p:nvSpPr>
        <p:spPr>
          <a:xfrm>
            <a:off x="1099963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39965414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E1BB3D-7E21-310D-3928-D2871AA0FA4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714EFE6-0D20-9AA2-63B6-010D8DAE5722}"/>
              </a:ext>
            </a:extLst>
          </p:cNvPr>
          <p:cNvGraphicFramePr>
            <a:graphicFrameLocks noChangeAspect="1"/>
          </p:cNvGraphicFramePr>
          <p:nvPr>
            <p:custDataLst>
              <p:tags r:id="rId1"/>
            </p:custDataLst>
            <p:extLst>
              <p:ext uri="{D42A27DB-BD31-4B8C-83A1-F6EECF244321}">
                <p14:modId xmlns:p14="http://schemas.microsoft.com/office/powerpoint/2010/main" val="2173156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2714EFE6-0D20-9AA2-63B6-010D8DAE5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3C2BBD-7F8D-B194-8281-B00367B4C729}"/>
              </a:ext>
            </a:extLst>
          </p:cNvPr>
          <p:cNvSpPr>
            <a:spLocks noGrp="1"/>
          </p:cNvSpPr>
          <p:nvPr>
            <p:ph type="title"/>
          </p:nvPr>
        </p:nvSpPr>
        <p:spPr>
          <a:xfrm>
            <a:off x="137786" y="125260"/>
            <a:ext cx="6864593" cy="806754"/>
          </a:xfrm>
        </p:spPr>
        <p:txBody>
          <a:bodyPr vert="horz">
            <a:normAutofit/>
          </a:bodyPr>
          <a:lstStyle/>
          <a:p>
            <a:r>
              <a:rPr lang="en-GB" b="1" noProof="0"/>
              <a:t>The Value Perception Gap</a:t>
            </a:r>
          </a:p>
        </p:txBody>
      </p:sp>
      <p:sp>
        <p:nvSpPr>
          <p:cNvPr id="48" name="Rectangle 47">
            <a:extLst>
              <a:ext uri="{FF2B5EF4-FFF2-40B4-BE49-F238E27FC236}">
                <a16:creationId xmlns:a16="http://schemas.microsoft.com/office/drawing/2014/main" id="{1DD45A18-7A70-5697-4840-4A8123A553BA}"/>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The Value Perception Gap is the often significant gap between what </a:t>
            </a:r>
            <a:r>
              <a:rPr lang="en-GB" sz="1200" b="1" noProof="0">
                <a:solidFill>
                  <a:schemeClr val="tx1"/>
                </a:solidFill>
                <a:latin typeface="Avenir Next LT Pro" panose="020B0504020202020204" pitchFamily="34" charset="0"/>
              </a:rPr>
              <a:t>customers actually experience</a:t>
            </a:r>
            <a:r>
              <a:rPr lang="en-GB" sz="1200" noProof="0">
                <a:solidFill>
                  <a:schemeClr val="tx1"/>
                </a:solidFill>
                <a:latin typeface="Avenir Next LT Pro" panose="020B0504020202020204" pitchFamily="34" charset="0"/>
              </a:rPr>
              <a:t> and value and </a:t>
            </a:r>
            <a:r>
              <a:rPr lang="en-GB" sz="1200" b="1" noProof="0">
                <a:solidFill>
                  <a:schemeClr val="tx1"/>
                </a:solidFill>
                <a:latin typeface="Avenir Next LT Pro" panose="020B0504020202020204" pitchFamily="34" charset="0"/>
              </a:rPr>
              <a:t>what you think you deliver</a:t>
            </a:r>
            <a:r>
              <a:rPr lang="en-GB" sz="1200" noProof="0">
                <a:solidFill>
                  <a:schemeClr val="tx1"/>
                </a:solidFill>
                <a:latin typeface="Avenir Next LT Pro" panose="020B0504020202020204" pitchFamily="34" charset="0"/>
              </a:rPr>
              <a:t>. </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In an increasingly commoditised world, your value proposition isn't just part of your strategy - it is the </a:t>
            </a:r>
            <a:r>
              <a:rPr lang="en-GB" sz="1200" b="1" noProof="0">
                <a:solidFill>
                  <a:schemeClr val="tx1"/>
                </a:solidFill>
                <a:latin typeface="Avenir Next LT Pro" panose="020B0504020202020204" pitchFamily="34" charset="0"/>
              </a:rPr>
              <a:t>core of your strategy</a:t>
            </a:r>
            <a:r>
              <a:rPr lang="en-GB" sz="1200" noProof="0">
                <a:solidFill>
                  <a:schemeClr val="tx1"/>
                </a:solidFill>
                <a:latin typeface="Avenir Next LT Pro" panose="020B0504020202020204" pitchFamily="34" charset="0"/>
              </a:rPr>
              <a:t>.</a:t>
            </a:r>
          </a:p>
          <a:p>
            <a:pPr marL="285750" indent="-285750">
              <a:spcAft>
                <a:spcPts val="600"/>
              </a:spcAft>
              <a:buFont typeface="Arial" panose="020B0604020202020204" pitchFamily="34" charset="0"/>
              <a:buChar char="•"/>
            </a:pPr>
            <a:r>
              <a:rPr lang="en-GB" sz="1200" noProof="0">
                <a:solidFill>
                  <a:schemeClr val="tx1"/>
                </a:solidFill>
                <a:latin typeface="Avenir Next LT Pro" panose="020B0504020202020204" pitchFamily="34" charset="0"/>
              </a:rPr>
              <a:t>This module will equip you with frameworks to diagnose your current value position, identify opportunities for enhancement, and make deliberate choices about how to </a:t>
            </a:r>
            <a:r>
              <a:rPr lang="en-GB" sz="1200" b="1" noProof="0">
                <a:solidFill>
                  <a:schemeClr val="tx1"/>
                </a:solidFill>
                <a:latin typeface="Avenir Next LT Pro" panose="020B0504020202020204" pitchFamily="34" charset="0"/>
              </a:rPr>
              <a:t>create superior value </a:t>
            </a:r>
            <a:r>
              <a:rPr lang="en-GB" sz="1200" noProof="0">
                <a:solidFill>
                  <a:schemeClr val="tx1"/>
                </a:solidFill>
                <a:latin typeface="Avenir Next LT Pro" panose="020B0504020202020204" pitchFamily="34" charset="0"/>
              </a:rPr>
              <a:t>for your chosen customers.</a:t>
            </a:r>
          </a:p>
        </p:txBody>
      </p:sp>
      <p:sp>
        <p:nvSpPr>
          <p:cNvPr id="3" name="Rounded Rectangle 1">
            <a:extLst>
              <a:ext uri="{FF2B5EF4-FFF2-40B4-BE49-F238E27FC236}">
                <a16:creationId xmlns:a16="http://schemas.microsoft.com/office/drawing/2014/main" id="{3D820C95-AC50-F448-D078-87273EE1180C}"/>
              </a:ext>
            </a:extLst>
          </p:cNvPr>
          <p:cNvSpPr/>
          <p:nvPr/>
        </p:nvSpPr>
        <p:spPr>
          <a:xfrm>
            <a:off x="2198900" y="4260006"/>
            <a:ext cx="3886200" cy="685800"/>
          </a:xfrm>
          <a:custGeom>
            <a:avLst/>
            <a:gdLst/>
            <a:ahLst/>
            <a:cxnLst/>
            <a:rect l="0" t="0" r="0" b="0"/>
            <a:pathLst>
              <a:path w="3886200" h="685800">
                <a:moveTo>
                  <a:pt x="1943100" y="457200"/>
                </a:moveTo>
                <a:lnTo>
                  <a:pt x="1943100" y="0"/>
                </a:lnTo>
                <a:moveTo>
                  <a:pt x="1943100" y="457200"/>
                </a:moveTo>
                <a:lnTo>
                  <a:pt x="3886200" y="457200"/>
                </a:lnTo>
                <a:lnTo>
                  <a:pt x="3886200" y="685800"/>
                </a:lnTo>
                <a:moveTo>
                  <a:pt x="1943100" y="685800"/>
                </a:moveTo>
                <a:lnTo>
                  <a:pt x="1943100" y="457200"/>
                </a:lnTo>
                <a:moveTo>
                  <a:pt x="0" y="685800"/>
                </a:moveTo>
                <a:lnTo>
                  <a:pt x="0" y="457200"/>
                </a:lnTo>
                <a:lnTo>
                  <a:pt x="1943100" y="457200"/>
                </a:lnTo>
              </a:path>
            </a:pathLst>
          </a:custGeom>
          <a:noFill/>
          <a:ln w="7143">
            <a:solidFill>
              <a:srgbClr val="464646"/>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nvGrpSpPr>
          <p:cNvPr id="10" name="Group 9">
            <a:extLst>
              <a:ext uri="{FF2B5EF4-FFF2-40B4-BE49-F238E27FC236}">
                <a16:creationId xmlns:a16="http://schemas.microsoft.com/office/drawing/2014/main" id="{AD47BC1C-76D4-8ACA-2F28-525BD283CD30}"/>
              </a:ext>
            </a:extLst>
          </p:cNvPr>
          <p:cNvGrpSpPr/>
          <p:nvPr/>
        </p:nvGrpSpPr>
        <p:grpSpPr>
          <a:xfrm>
            <a:off x="3341900" y="2659806"/>
            <a:ext cx="1600200" cy="1600200"/>
            <a:chOff x="3257550" y="1143000"/>
            <a:chExt cx="1600200" cy="1600200"/>
          </a:xfrm>
          <a:solidFill>
            <a:schemeClr val="accent2"/>
          </a:solidFill>
        </p:grpSpPr>
        <p:sp>
          <p:nvSpPr>
            <p:cNvPr id="28" name="Rounded Rectangle 2">
              <a:extLst>
                <a:ext uri="{FF2B5EF4-FFF2-40B4-BE49-F238E27FC236}">
                  <a16:creationId xmlns:a16="http://schemas.microsoft.com/office/drawing/2014/main" id="{7BAFF979-874D-B54A-3DBD-D52DED3F2789}"/>
                </a:ext>
              </a:extLst>
            </p:cNvPr>
            <p:cNvSpPr/>
            <p:nvPr/>
          </p:nvSpPr>
          <p:spPr>
            <a:xfrm>
              <a:off x="3257550" y="1143000"/>
              <a:ext cx="1600200" cy="1600200"/>
            </a:xfrm>
            <a:custGeom>
              <a:avLst/>
              <a:gdLst/>
              <a:ahLst/>
              <a:cxnLst/>
              <a:rect l="0" t="0" r="0" b="0"/>
              <a:pathLst>
                <a:path w="1600200" h="1600200">
                  <a:moveTo>
                    <a:pt x="1600200" y="800100"/>
                  </a:moveTo>
                  <a:cubicBezTo>
                    <a:pt x="1600200" y="1241982"/>
                    <a:pt x="1241982" y="1600200"/>
                    <a:pt x="800100" y="1600200"/>
                  </a:cubicBezTo>
                  <a:cubicBezTo>
                    <a:pt x="358217" y="1600200"/>
                    <a:pt x="0" y="1241982"/>
                    <a:pt x="0" y="800100"/>
                  </a:cubicBezTo>
                  <a:cubicBezTo>
                    <a:pt x="0" y="358217"/>
                    <a:pt x="358217" y="0"/>
                    <a:pt x="800100" y="0"/>
                  </a:cubicBezTo>
                  <a:cubicBezTo>
                    <a:pt x="1241982" y="0"/>
                    <a:pt x="1600200" y="358217"/>
                    <a:pt x="1600200" y="800100"/>
                  </a:cubicBezTo>
                  <a:close/>
                </a:path>
              </a:pathLst>
            </a:custGeom>
            <a:grp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9" name="Rounded Rectangle 3">
              <a:extLst>
                <a:ext uri="{FF2B5EF4-FFF2-40B4-BE49-F238E27FC236}">
                  <a16:creationId xmlns:a16="http://schemas.microsoft.com/office/drawing/2014/main" id="{4204F7BA-217B-0146-8C8D-F089EB13BE32}"/>
                </a:ext>
              </a:extLst>
            </p:cNvPr>
            <p:cNvSpPr/>
            <p:nvPr/>
          </p:nvSpPr>
          <p:spPr>
            <a:xfrm>
              <a:off x="3257550" y="1143000"/>
              <a:ext cx="1600200" cy="1600200"/>
            </a:xfrm>
            <a:custGeom>
              <a:avLst/>
              <a:gdLst/>
              <a:ahLst/>
              <a:cxnLst/>
              <a:rect l="0" t="0" r="0" b="0"/>
              <a:pathLst>
                <a:path w="1600200" h="1600200">
                  <a:moveTo>
                    <a:pt x="1600200" y="800100"/>
                  </a:moveTo>
                  <a:cubicBezTo>
                    <a:pt x="1600200" y="1241982"/>
                    <a:pt x="1241982" y="1600200"/>
                    <a:pt x="800100" y="1600200"/>
                  </a:cubicBezTo>
                  <a:cubicBezTo>
                    <a:pt x="358217" y="1600200"/>
                    <a:pt x="0" y="1241982"/>
                    <a:pt x="0" y="800100"/>
                  </a:cubicBezTo>
                  <a:cubicBezTo>
                    <a:pt x="0" y="358217"/>
                    <a:pt x="358217" y="0"/>
                    <a:pt x="800100" y="0"/>
                  </a:cubicBezTo>
                  <a:cubicBezTo>
                    <a:pt x="1241982" y="0"/>
                    <a:pt x="1600200" y="358217"/>
                    <a:pt x="1600200" y="800100"/>
                  </a:cubicBezTo>
                  <a:close/>
                </a:path>
              </a:pathLst>
            </a:custGeom>
            <a:grp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grpSp>
        <p:nvGrpSpPr>
          <p:cNvPr id="11" name="Group 10">
            <a:extLst>
              <a:ext uri="{FF2B5EF4-FFF2-40B4-BE49-F238E27FC236}">
                <a16:creationId xmlns:a16="http://schemas.microsoft.com/office/drawing/2014/main" id="{D658DD19-C049-5570-A5AF-4FBFB69DA387}"/>
              </a:ext>
            </a:extLst>
          </p:cNvPr>
          <p:cNvGrpSpPr/>
          <p:nvPr/>
        </p:nvGrpSpPr>
        <p:grpSpPr>
          <a:xfrm>
            <a:off x="2313200" y="3117006"/>
            <a:ext cx="3657600" cy="685800"/>
            <a:chOff x="2228850" y="1600200"/>
            <a:chExt cx="3657600" cy="685800"/>
          </a:xfrm>
        </p:grpSpPr>
        <p:sp>
          <p:nvSpPr>
            <p:cNvPr id="24" name="Rounded Rectangle 5">
              <a:extLst>
                <a:ext uri="{FF2B5EF4-FFF2-40B4-BE49-F238E27FC236}">
                  <a16:creationId xmlns:a16="http://schemas.microsoft.com/office/drawing/2014/main" id="{BBE97069-F104-68E1-FFD2-DC3BA5310B70}"/>
                </a:ext>
              </a:extLst>
            </p:cNvPr>
            <p:cNvSpPr/>
            <p:nvPr/>
          </p:nvSpPr>
          <p:spPr>
            <a:xfrm>
              <a:off x="5200650" y="1600200"/>
              <a:ext cx="685800" cy="685800"/>
            </a:xfrm>
            <a:custGeom>
              <a:avLst/>
              <a:gdLst/>
              <a:ahLst/>
              <a:cxnLst/>
              <a:rect l="0" t="0" r="0" b="0"/>
              <a:pathLst>
                <a:path w="685800" h="685800">
                  <a:moveTo>
                    <a:pt x="0" y="95250"/>
                  </a:moveTo>
                  <a:cubicBezTo>
                    <a:pt x="0" y="42645"/>
                    <a:pt x="42645" y="0"/>
                    <a:pt x="95250" y="0"/>
                  </a:cubicBezTo>
                  <a:lnTo>
                    <a:pt x="590550" y="0"/>
                  </a:lnTo>
                  <a:cubicBezTo>
                    <a:pt x="643154" y="0"/>
                    <a:pt x="685800" y="42645"/>
                    <a:pt x="685800" y="95250"/>
                  </a:cubicBezTo>
                  <a:lnTo>
                    <a:pt x="685800" y="590550"/>
                  </a:lnTo>
                  <a:cubicBezTo>
                    <a:pt x="685800" y="643154"/>
                    <a:pt x="643154" y="685800"/>
                    <a:pt x="590550" y="685800"/>
                  </a:cubicBezTo>
                  <a:lnTo>
                    <a:pt x="95250" y="685800"/>
                  </a:lnTo>
                  <a:cubicBezTo>
                    <a:pt x="42645" y="685800"/>
                    <a:pt x="0" y="643154"/>
                    <a:pt x="0" y="590550"/>
                  </a:cubicBez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5" name="Rounded Rectangle 6">
              <a:extLst>
                <a:ext uri="{FF2B5EF4-FFF2-40B4-BE49-F238E27FC236}">
                  <a16:creationId xmlns:a16="http://schemas.microsoft.com/office/drawing/2014/main" id="{4BAEC180-E388-34BC-1521-B9E1845F0446}"/>
                </a:ext>
              </a:extLst>
            </p:cNvPr>
            <p:cNvSpPr/>
            <p:nvPr/>
          </p:nvSpPr>
          <p:spPr>
            <a:xfrm>
              <a:off x="2228850" y="1600200"/>
              <a:ext cx="685800" cy="685800"/>
            </a:xfrm>
            <a:custGeom>
              <a:avLst/>
              <a:gdLst/>
              <a:ahLst/>
              <a:cxnLst/>
              <a:rect l="0" t="0" r="0" b="0"/>
              <a:pathLst>
                <a:path w="685800" h="685800">
                  <a:moveTo>
                    <a:pt x="0" y="95250"/>
                  </a:moveTo>
                  <a:cubicBezTo>
                    <a:pt x="0" y="42645"/>
                    <a:pt x="42645" y="0"/>
                    <a:pt x="95250" y="0"/>
                  </a:cubicBezTo>
                  <a:lnTo>
                    <a:pt x="590550" y="0"/>
                  </a:lnTo>
                  <a:cubicBezTo>
                    <a:pt x="643154" y="0"/>
                    <a:pt x="685800" y="42645"/>
                    <a:pt x="685800" y="95250"/>
                  </a:cubicBezTo>
                  <a:lnTo>
                    <a:pt x="685800" y="590550"/>
                  </a:lnTo>
                  <a:cubicBezTo>
                    <a:pt x="685800" y="643154"/>
                    <a:pt x="643154" y="685800"/>
                    <a:pt x="590550" y="685800"/>
                  </a:cubicBezTo>
                  <a:lnTo>
                    <a:pt x="95250" y="685800"/>
                  </a:lnTo>
                  <a:cubicBezTo>
                    <a:pt x="42645" y="685800"/>
                    <a:pt x="0" y="643154"/>
                    <a:pt x="0" y="590550"/>
                  </a:cubicBezTo>
                  <a:close/>
                </a:path>
              </a:pathLst>
            </a:custGeom>
            <a:solidFill>
              <a:srgbClr val="FFC47F"/>
            </a:solidFill>
            <a:ln>
              <a:no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6" name="Rounded Rectangle 7">
              <a:extLst>
                <a:ext uri="{FF2B5EF4-FFF2-40B4-BE49-F238E27FC236}">
                  <a16:creationId xmlns:a16="http://schemas.microsoft.com/office/drawing/2014/main" id="{86FC9883-AC7B-1CB8-9F39-29A086049557}"/>
                </a:ext>
              </a:extLst>
            </p:cNvPr>
            <p:cNvSpPr/>
            <p:nvPr/>
          </p:nvSpPr>
          <p:spPr>
            <a:xfrm>
              <a:off x="5200650" y="1600200"/>
              <a:ext cx="685800" cy="685800"/>
            </a:xfrm>
            <a:custGeom>
              <a:avLst/>
              <a:gdLst/>
              <a:ahLst/>
              <a:cxnLst/>
              <a:rect l="0" t="0" r="0" b="0"/>
              <a:pathLst>
                <a:path w="685800" h="685800">
                  <a:moveTo>
                    <a:pt x="0" y="95250"/>
                  </a:moveTo>
                  <a:cubicBezTo>
                    <a:pt x="0" y="42645"/>
                    <a:pt x="42645" y="0"/>
                    <a:pt x="95250" y="0"/>
                  </a:cubicBezTo>
                  <a:lnTo>
                    <a:pt x="590550" y="0"/>
                  </a:lnTo>
                  <a:cubicBezTo>
                    <a:pt x="643154" y="0"/>
                    <a:pt x="685800" y="42645"/>
                    <a:pt x="685800" y="95250"/>
                  </a:cubicBezTo>
                  <a:lnTo>
                    <a:pt x="685800" y="590550"/>
                  </a:lnTo>
                  <a:cubicBezTo>
                    <a:pt x="685800" y="643154"/>
                    <a:pt x="643154" y="685800"/>
                    <a:pt x="590550" y="685800"/>
                  </a:cubicBezTo>
                  <a:lnTo>
                    <a:pt x="95250" y="685800"/>
                  </a:lnTo>
                  <a:cubicBezTo>
                    <a:pt x="42645" y="685800"/>
                    <a:pt x="0" y="643154"/>
                    <a:pt x="0" y="590550"/>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7" name="Rounded Rectangle 8">
              <a:extLst>
                <a:ext uri="{FF2B5EF4-FFF2-40B4-BE49-F238E27FC236}">
                  <a16:creationId xmlns:a16="http://schemas.microsoft.com/office/drawing/2014/main" id="{18FE3C97-CB59-0AE8-0E50-6B22EAB040BA}"/>
                </a:ext>
              </a:extLst>
            </p:cNvPr>
            <p:cNvSpPr/>
            <p:nvPr/>
          </p:nvSpPr>
          <p:spPr>
            <a:xfrm>
              <a:off x="2228850" y="1600200"/>
              <a:ext cx="685800" cy="685800"/>
            </a:xfrm>
            <a:custGeom>
              <a:avLst/>
              <a:gdLst/>
              <a:ahLst/>
              <a:cxnLst/>
              <a:rect l="0" t="0" r="0" b="0"/>
              <a:pathLst>
                <a:path w="685800" h="685800">
                  <a:moveTo>
                    <a:pt x="0" y="95250"/>
                  </a:moveTo>
                  <a:cubicBezTo>
                    <a:pt x="0" y="42645"/>
                    <a:pt x="42645" y="0"/>
                    <a:pt x="95250" y="0"/>
                  </a:cubicBezTo>
                  <a:lnTo>
                    <a:pt x="590550" y="0"/>
                  </a:lnTo>
                  <a:cubicBezTo>
                    <a:pt x="643154" y="0"/>
                    <a:pt x="685800" y="42645"/>
                    <a:pt x="685800" y="95250"/>
                  </a:cubicBezTo>
                  <a:lnTo>
                    <a:pt x="685800" y="590550"/>
                  </a:lnTo>
                  <a:cubicBezTo>
                    <a:pt x="685800" y="643154"/>
                    <a:pt x="643154" y="685800"/>
                    <a:pt x="590550" y="685800"/>
                  </a:cubicBezTo>
                  <a:lnTo>
                    <a:pt x="95250" y="685800"/>
                  </a:lnTo>
                  <a:cubicBezTo>
                    <a:pt x="42645" y="685800"/>
                    <a:pt x="0" y="643154"/>
                    <a:pt x="0" y="590550"/>
                  </a:cubicBezTo>
                  <a:close/>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grpSp>
      <p:sp>
        <p:nvSpPr>
          <p:cNvPr id="13" name="TextBox 10">
            <a:extLst>
              <a:ext uri="{FF2B5EF4-FFF2-40B4-BE49-F238E27FC236}">
                <a16:creationId xmlns:a16="http://schemas.microsoft.com/office/drawing/2014/main" id="{43596C61-A0B3-D3BD-CAEC-165F7A7762D0}"/>
              </a:ext>
            </a:extLst>
          </p:cNvPr>
          <p:cNvSpPr txBox="1"/>
          <p:nvPr/>
        </p:nvSpPr>
        <p:spPr>
          <a:xfrm>
            <a:off x="2681417" y="2022583"/>
            <a:ext cx="3267113" cy="276999"/>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800" b="1" noProof="0">
                <a:solidFill>
                  <a:srgbClr val="464646"/>
                </a:solidFill>
                <a:latin typeface="Avenir LT Pro 45Book"/>
              </a:rPr>
              <a:t>Bridging the Value Perception Gap</a:t>
            </a:r>
          </a:p>
        </p:txBody>
      </p:sp>
      <p:sp>
        <p:nvSpPr>
          <p:cNvPr id="14" name="TextBox 11">
            <a:extLst>
              <a:ext uri="{FF2B5EF4-FFF2-40B4-BE49-F238E27FC236}">
                <a16:creationId xmlns:a16="http://schemas.microsoft.com/office/drawing/2014/main" id="{C8790D0E-35C0-7B42-63FE-05A118319505}"/>
              </a:ext>
            </a:extLst>
          </p:cNvPr>
          <p:cNvSpPr txBox="1"/>
          <p:nvPr/>
        </p:nvSpPr>
        <p:spPr>
          <a:xfrm>
            <a:off x="832006" y="3136056"/>
            <a:ext cx="1358321" cy="461665"/>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500" b="1" noProof="0">
                <a:solidFill>
                  <a:srgbClr val="464646"/>
                </a:solidFill>
                <a:latin typeface="Avenir LT Pro 45Book"/>
              </a:rPr>
              <a:t>Misaligned Value
Proposition</a:t>
            </a:r>
          </a:p>
        </p:txBody>
      </p:sp>
      <p:sp>
        <p:nvSpPr>
          <p:cNvPr id="15" name="TextBox 12">
            <a:extLst>
              <a:ext uri="{FF2B5EF4-FFF2-40B4-BE49-F238E27FC236}">
                <a16:creationId xmlns:a16="http://schemas.microsoft.com/office/drawing/2014/main" id="{59DCDC2F-F2B5-960A-9EAF-84F564E9EDF2}"/>
              </a:ext>
            </a:extLst>
          </p:cNvPr>
          <p:cNvSpPr txBox="1"/>
          <p:nvPr/>
        </p:nvSpPr>
        <p:spPr>
          <a:xfrm>
            <a:off x="3705243" y="3136056"/>
            <a:ext cx="932948" cy="692497"/>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500" b="1" noProof="0">
                <a:solidFill>
                  <a:srgbClr val="EBEBEB"/>
                </a:solidFill>
                <a:latin typeface="Avenir LT Pro 45Book"/>
              </a:rPr>
              <a:t>Understand
Customer
Needs</a:t>
            </a:r>
          </a:p>
        </p:txBody>
      </p:sp>
      <p:sp>
        <p:nvSpPr>
          <p:cNvPr id="16" name="TextBox 13">
            <a:extLst>
              <a:ext uri="{FF2B5EF4-FFF2-40B4-BE49-F238E27FC236}">
                <a16:creationId xmlns:a16="http://schemas.microsoft.com/office/drawing/2014/main" id="{D2704C3B-9CF7-8921-EE5F-C55328595EFE}"/>
              </a:ext>
            </a:extLst>
          </p:cNvPr>
          <p:cNvSpPr txBox="1"/>
          <p:nvPr/>
        </p:nvSpPr>
        <p:spPr>
          <a:xfrm>
            <a:off x="6218450" y="3136056"/>
            <a:ext cx="1009700" cy="461665"/>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500" b="1" noProof="0">
                <a:solidFill>
                  <a:srgbClr val="464646"/>
                </a:solidFill>
                <a:latin typeface="Avenir LT Pro 45Book"/>
              </a:rPr>
              <a:t>Strong Value
Proposition</a:t>
            </a:r>
          </a:p>
        </p:txBody>
      </p:sp>
      <p:sp>
        <p:nvSpPr>
          <p:cNvPr id="17" name="TextBox 14">
            <a:extLst>
              <a:ext uri="{FF2B5EF4-FFF2-40B4-BE49-F238E27FC236}">
                <a16:creationId xmlns:a16="http://schemas.microsoft.com/office/drawing/2014/main" id="{358DEAAF-BC9E-6FEA-ED30-1A4EED65018F}"/>
              </a:ext>
            </a:extLst>
          </p:cNvPr>
          <p:cNvSpPr txBox="1"/>
          <p:nvPr/>
        </p:nvSpPr>
        <p:spPr>
          <a:xfrm>
            <a:off x="886106" y="3696126"/>
            <a:ext cx="1298432" cy="33855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GB" sz="1100" b="0" noProof="0">
                <a:solidFill>
                  <a:srgbClr val="464646"/>
                </a:solidFill>
                <a:latin typeface="Avenir LT Pro 45Book"/>
              </a:rPr>
              <a:t>Intended vs. Perceived
Value</a:t>
            </a:r>
          </a:p>
        </p:txBody>
      </p:sp>
      <p:sp>
        <p:nvSpPr>
          <p:cNvPr id="18" name="TextBox 15">
            <a:extLst>
              <a:ext uri="{FF2B5EF4-FFF2-40B4-BE49-F238E27FC236}">
                <a16:creationId xmlns:a16="http://schemas.microsoft.com/office/drawing/2014/main" id="{A58B3D0A-3B3C-CE38-F4B2-2E31015460E7}"/>
              </a:ext>
            </a:extLst>
          </p:cNvPr>
          <p:cNvSpPr txBox="1"/>
          <p:nvPr/>
        </p:nvSpPr>
        <p:spPr>
          <a:xfrm>
            <a:off x="6218450" y="3698983"/>
            <a:ext cx="1150956" cy="33855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100" b="0" noProof="0">
                <a:solidFill>
                  <a:srgbClr val="464646"/>
                </a:solidFill>
                <a:latin typeface="Avenir LT Pro 45Book"/>
              </a:rPr>
              <a:t>Customer needs are
effectively met</a:t>
            </a:r>
          </a:p>
        </p:txBody>
      </p:sp>
      <p:sp>
        <p:nvSpPr>
          <p:cNvPr id="19" name="TextBox 16">
            <a:extLst>
              <a:ext uri="{FF2B5EF4-FFF2-40B4-BE49-F238E27FC236}">
                <a16:creationId xmlns:a16="http://schemas.microsoft.com/office/drawing/2014/main" id="{0CD100A5-F465-10F1-5DA9-C5B8F46F40F0}"/>
              </a:ext>
            </a:extLst>
          </p:cNvPr>
          <p:cNvSpPr txBox="1"/>
          <p:nvPr/>
        </p:nvSpPr>
        <p:spPr>
          <a:xfrm>
            <a:off x="1527168" y="5070583"/>
            <a:ext cx="1343316" cy="33855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100" b="0" noProof="0">
                <a:solidFill>
                  <a:srgbClr val="464646"/>
                </a:solidFill>
                <a:latin typeface="Avenir LT Pro 45Book"/>
              </a:rPr>
              <a:t>Uncover functional,
emotional, social needs</a:t>
            </a:r>
          </a:p>
        </p:txBody>
      </p:sp>
      <p:sp>
        <p:nvSpPr>
          <p:cNvPr id="20" name="TextBox 17">
            <a:extLst>
              <a:ext uri="{FF2B5EF4-FFF2-40B4-BE49-F238E27FC236}">
                <a16:creationId xmlns:a16="http://schemas.microsoft.com/office/drawing/2014/main" id="{4E62D4C2-F9BD-9F16-1791-17DFAC2A2579}"/>
              </a:ext>
            </a:extLst>
          </p:cNvPr>
          <p:cNvSpPr txBox="1"/>
          <p:nvPr/>
        </p:nvSpPr>
        <p:spPr>
          <a:xfrm>
            <a:off x="3499195" y="5070583"/>
            <a:ext cx="1285608" cy="507831"/>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100" b="0" noProof="0">
                <a:solidFill>
                  <a:srgbClr val="464646"/>
                </a:solidFill>
                <a:latin typeface="Avenir LT Pro 45Book"/>
              </a:rPr>
              <a:t>Evaluate current value
proposition
effectiveness</a:t>
            </a:r>
          </a:p>
        </p:txBody>
      </p:sp>
      <p:sp>
        <p:nvSpPr>
          <p:cNvPr id="21" name="TextBox 18">
            <a:extLst>
              <a:ext uri="{FF2B5EF4-FFF2-40B4-BE49-F238E27FC236}">
                <a16:creationId xmlns:a16="http://schemas.microsoft.com/office/drawing/2014/main" id="{90B51717-BA86-1A2E-8AED-7223E2733D51}"/>
              </a:ext>
            </a:extLst>
          </p:cNvPr>
          <p:cNvSpPr txBox="1"/>
          <p:nvPr/>
        </p:nvSpPr>
        <p:spPr>
          <a:xfrm>
            <a:off x="5458325" y="5070583"/>
            <a:ext cx="1253548" cy="338554"/>
          </a:xfrm>
          <a:prstGeom prst="rect">
            <a:avLst/>
          </a:prstGeom>
          <a:noFill/>
          <a:ln>
            <a:noFill/>
          </a:ln>
        </p:spPr>
        <p:txBody>
          <a:bodyPr wrap="non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100" b="0" noProof="0">
                <a:solidFill>
                  <a:srgbClr val="464646"/>
                </a:solidFill>
                <a:latin typeface="Avenir LT Pro 45Book"/>
              </a:rPr>
              <a:t>Deliberate choices for
superior value</a:t>
            </a:r>
          </a:p>
        </p:txBody>
      </p:sp>
      <p:sp>
        <p:nvSpPr>
          <p:cNvPr id="22" name="Rounded Rectangle 19">
            <a:extLst>
              <a:ext uri="{FF2B5EF4-FFF2-40B4-BE49-F238E27FC236}">
                <a16:creationId xmlns:a16="http://schemas.microsoft.com/office/drawing/2014/main" id="{2EA6CD43-C605-7D6E-046D-ACFA5D0D5A59}"/>
              </a:ext>
            </a:extLst>
          </p:cNvPr>
          <p:cNvSpPr/>
          <p:nvPr/>
        </p:nvSpPr>
        <p:spPr>
          <a:xfrm>
            <a:off x="2437025" y="3240814"/>
            <a:ext cx="438150" cy="438166"/>
          </a:xfrm>
          <a:custGeom>
            <a:avLst/>
            <a:gdLst/>
            <a:ahLst/>
            <a:cxnLst/>
            <a:rect l="0" t="0" r="0" b="0"/>
            <a:pathLst>
              <a:path w="438150" h="438166">
                <a:moveTo>
                  <a:pt x="168725" y="28781"/>
                </a:moveTo>
                <a:cubicBezTo>
                  <a:pt x="187002" y="47743"/>
                  <a:pt x="212208" y="58451"/>
                  <a:pt x="238544" y="58442"/>
                </a:cubicBezTo>
                <a:cubicBezTo>
                  <a:pt x="251756" y="58450"/>
                  <a:pt x="264831" y="55760"/>
                  <a:pt x="276967" y="50536"/>
                </a:cubicBezTo>
                <a:moveTo>
                  <a:pt x="160648" y="58442"/>
                </a:moveTo>
                <a:cubicBezTo>
                  <a:pt x="160639" y="26168"/>
                  <a:pt x="186800" y="0"/>
                  <a:pt x="219075" y="0"/>
                </a:cubicBezTo>
                <a:cubicBezTo>
                  <a:pt x="251349" y="0"/>
                  <a:pt x="277510" y="26168"/>
                  <a:pt x="277501" y="58442"/>
                </a:cubicBezTo>
                <a:cubicBezTo>
                  <a:pt x="277510" y="90716"/>
                  <a:pt x="251349" y="116885"/>
                  <a:pt x="219075" y="116885"/>
                </a:cubicBezTo>
                <a:cubicBezTo>
                  <a:pt x="186800" y="116885"/>
                  <a:pt x="160639" y="90716"/>
                  <a:pt x="160648" y="58442"/>
                </a:cubicBezTo>
                <a:moveTo>
                  <a:pt x="131445" y="233702"/>
                </a:moveTo>
                <a:cubicBezTo>
                  <a:pt x="131457" y="185314"/>
                  <a:pt x="170687" y="146095"/>
                  <a:pt x="219075" y="146095"/>
                </a:cubicBezTo>
                <a:cubicBezTo>
                  <a:pt x="267462" y="146095"/>
                  <a:pt x="306692" y="185314"/>
                  <a:pt x="306704" y="233702"/>
                </a:cubicBezTo>
                <a:close/>
                <a:moveTo>
                  <a:pt x="219075" y="146072"/>
                </a:moveTo>
                <a:lnTo>
                  <a:pt x="219075" y="190211"/>
                </a:lnTo>
                <a:moveTo>
                  <a:pt x="219075" y="296986"/>
                </a:moveTo>
                <a:lnTo>
                  <a:pt x="219075" y="438166"/>
                </a:lnTo>
                <a:moveTo>
                  <a:pt x="267766" y="389474"/>
                </a:moveTo>
                <a:lnTo>
                  <a:pt x="219075" y="438166"/>
                </a:lnTo>
                <a:lnTo>
                  <a:pt x="170383" y="389474"/>
                </a:lnTo>
                <a:moveTo>
                  <a:pt x="0" y="296986"/>
                </a:moveTo>
                <a:lnTo>
                  <a:pt x="438150" y="296986"/>
                </a:lnTo>
                <a:moveTo>
                  <a:pt x="48691" y="345659"/>
                </a:moveTo>
                <a:lnTo>
                  <a:pt x="0" y="296986"/>
                </a:lnTo>
                <a:lnTo>
                  <a:pt x="48691" y="248294"/>
                </a:lnTo>
                <a:moveTo>
                  <a:pt x="389458" y="248294"/>
                </a:moveTo>
                <a:lnTo>
                  <a:pt x="438150" y="296986"/>
                </a:lnTo>
                <a:lnTo>
                  <a:pt x="389458" y="345659"/>
                </a:lnTo>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23" name="Rounded Rectangle 20">
            <a:extLst>
              <a:ext uri="{FF2B5EF4-FFF2-40B4-BE49-F238E27FC236}">
                <a16:creationId xmlns:a16="http://schemas.microsoft.com/office/drawing/2014/main" id="{D6770371-2F78-9C46-6482-4CA625261216}"/>
              </a:ext>
            </a:extLst>
          </p:cNvPr>
          <p:cNvSpPr/>
          <p:nvPr/>
        </p:nvSpPr>
        <p:spPr>
          <a:xfrm>
            <a:off x="5390523" y="3240831"/>
            <a:ext cx="456451" cy="459852"/>
          </a:xfrm>
          <a:custGeom>
            <a:avLst/>
            <a:gdLst/>
            <a:ahLst/>
            <a:cxnLst/>
            <a:rect l="0" t="0" r="0" b="0"/>
            <a:pathLst>
              <a:path w="456451" h="459852">
                <a:moveTo>
                  <a:pt x="227851" y="276225"/>
                </a:moveTo>
                <a:cubicBezTo>
                  <a:pt x="227773" y="298837"/>
                  <a:pt x="211744" y="318250"/>
                  <a:pt x="189555" y="322607"/>
                </a:cubicBezTo>
                <a:cubicBezTo>
                  <a:pt x="167366" y="326963"/>
                  <a:pt x="145187" y="315051"/>
                  <a:pt x="136565" y="294146"/>
                </a:cubicBezTo>
                <a:cubicBezTo>
                  <a:pt x="127944" y="273242"/>
                  <a:pt x="135277" y="249158"/>
                  <a:pt x="154086" y="236606"/>
                </a:cubicBezTo>
                <a:cubicBezTo>
                  <a:pt x="172894" y="224053"/>
                  <a:pt x="197948" y="226523"/>
                  <a:pt x="213944" y="242506"/>
                </a:cubicBezTo>
                <a:moveTo>
                  <a:pt x="254330" y="202120"/>
                </a:moveTo>
                <a:cubicBezTo>
                  <a:pt x="218994" y="166767"/>
                  <a:pt x="163606" y="161298"/>
                  <a:pt x="122039" y="189057"/>
                </a:cubicBezTo>
                <a:cubicBezTo>
                  <a:pt x="80471" y="216817"/>
                  <a:pt x="64300" y="270073"/>
                  <a:pt x="83415" y="316258"/>
                </a:cubicBezTo>
                <a:cubicBezTo>
                  <a:pt x="102530" y="362443"/>
                  <a:pt x="151608" y="388694"/>
                  <a:pt x="200635" y="378958"/>
                </a:cubicBezTo>
                <a:cubicBezTo>
                  <a:pt x="249662" y="369221"/>
                  <a:pt x="284984" y="326209"/>
                  <a:pt x="285001" y="276225"/>
                </a:cubicBezTo>
                <a:cubicBezTo>
                  <a:pt x="285025" y="263180"/>
                  <a:pt x="282569" y="250251"/>
                  <a:pt x="277762" y="238125"/>
                </a:cubicBezTo>
                <a:moveTo>
                  <a:pt x="320624" y="195453"/>
                </a:moveTo>
                <a:cubicBezTo>
                  <a:pt x="363863" y="269221"/>
                  <a:pt x="342455" y="363884"/>
                  <a:pt x="271681" y="411868"/>
                </a:cubicBezTo>
                <a:cubicBezTo>
                  <a:pt x="200908" y="459852"/>
                  <a:pt x="105045" y="444698"/>
                  <a:pt x="52522" y="377224"/>
                </a:cubicBezTo>
                <a:cubicBezTo>
                  <a:pt x="0" y="309750"/>
                  <a:pt x="8833" y="213099"/>
                  <a:pt x="72717" y="156265"/>
                </a:cubicBezTo>
                <a:cubicBezTo>
                  <a:pt x="136602" y="99430"/>
                  <a:pt x="233623" y="101905"/>
                  <a:pt x="294526" y="161925"/>
                </a:cubicBezTo>
                <a:moveTo>
                  <a:pt x="399301" y="57150"/>
                </a:moveTo>
                <a:lnTo>
                  <a:pt x="180226" y="276225"/>
                </a:lnTo>
                <a:moveTo>
                  <a:pt x="399301" y="57150"/>
                </a:moveTo>
                <a:lnTo>
                  <a:pt x="456451" y="57150"/>
                </a:lnTo>
                <a:cubicBezTo>
                  <a:pt x="456451" y="57150"/>
                  <a:pt x="408826" y="200025"/>
                  <a:pt x="332626" y="123825"/>
                </a:cubicBezTo>
                <a:cubicBezTo>
                  <a:pt x="256426" y="47625"/>
                  <a:pt x="399301" y="0"/>
                  <a:pt x="399301" y="0"/>
                </a:cubicBezTo>
                <a:close/>
                <a:moveTo>
                  <a:pt x="361201" y="17335"/>
                </a:moveTo>
                <a:lnTo>
                  <a:pt x="361201" y="95250"/>
                </a:lnTo>
                <a:moveTo>
                  <a:pt x="18301" y="438150"/>
                </a:moveTo>
                <a:lnTo>
                  <a:pt x="65735" y="390715"/>
                </a:lnTo>
                <a:moveTo>
                  <a:pt x="342151" y="438150"/>
                </a:moveTo>
                <a:lnTo>
                  <a:pt x="294716" y="390715"/>
                </a:lnTo>
                <a:moveTo>
                  <a:pt x="180226" y="271462"/>
                </a:moveTo>
                <a:cubicBezTo>
                  <a:pt x="177596" y="271462"/>
                  <a:pt x="175463" y="273594"/>
                  <a:pt x="175463" y="276225"/>
                </a:cubicBezTo>
                <a:cubicBezTo>
                  <a:pt x="175463" y="278855"/>
                  <a:pt x="177596" y="280987"/>
                  <a:pt x="180226" y="280987"/>
                </a:cubicBezTo>
                <a:cubicBezTo>
                  <a:pt x="182856" y="280987"/>
                  <a:pt x="184988" y="278855"/>
                  <a:pt x="184988" y="276225"/>
                </a:cubicBezTo>
                <a:cubicBezTo>
                  <a:pt x="184988" y="273594"/>
                  <a:pt x="182856" y="271462"/>
                  <a:pt x="180226" y="271462"/>
                </a:cubicBezTo>
              </a:path>
            </a:pathLst>
          </a:custGeom>
          <a:noFill/>
          <a:ln w="7143">
            <a:solidFill>
              <a:srgbClr val="EBEBEB"/>
            </a:solidFill>
          </a:ln>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GB" noProof="0"/>
          </a:p>
        </p:txBody>
      </p:sp>
      <p:sp>
        <p:nvSpPr>
          <p:cNvPr id="12" name="Arrow: Chevron 11">
            <a:extLst>
              <a:ext uri="{FF2B5EF4-FFF2-40B4-BE49-F238E27FC236}">
                <a16:creationId xmlns:a16="http://schemas.microsoft.com/office/drawing/2014/main" id="{2101E0CB-64C3-E6B5-7908-F2C8901CA728}"/>
              </a:ext>
            </a:extLst>
          </p:cNvPr>
          <p:cNvSpPr/>
          <p:nvPr/>
        </p:nvSpPr>
        <p:spPr>
          <a:xfrm>
            <a:off x="8117384"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30" name="Arrow: Chevron 29">
            <a:extLst>
              <a:ext uri="{FF2B5EF4-FFF2-40B4-BE49-F238E27FC236}">
                <a16:creationId xmlns:a16="http://schemas.microsoft.com/office/drawing/2014/main" id="{63F775B9-4F15-7129-48E2-F1C9F31D962C}"/>
              </a:ext>
            </a:extLst>
          </p:cNvPr>
          <p:cNvSpPr/>
          <p:nvPr/>
        </p:nvSpPr>
        <p:spPr>
          <a:xfrm>
            <a:off x="908014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31" name="Arrow: Chevron 30">
            <a:extLst>
              <a:ext uri="{FF2B5EF4-FFF2-40B4-BE49-F238E27FC236}">
                <a16:creationId xmlns:a16="http://schemas.microsoft.com/office/drawing/2014/main" id="{06A0F8B8-0FFB-803F-26A5-79276C9A1C64}"/>
              </a:ext>
            </a:extLst>
          </p:cNvPr>
          <p:cNvSpPr/>
          <p:nvPr/>
        </p:nvSpPr>
        <p:spPr>
          <a:xfrm>
            <a:off x="10042900"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32" name="Arrow: Chevron 31">
            <a:extLst>
              <a:ext uri="{FF2B5EF4-FFF2-40B4-BE49-F238E27FC236}">
                <a16:creationId xmlns:a16="http://schemas.microsoft.com/office/drawing/2014/main" id="{3A9FA266-E917-C386-2896-8DC17B9CB6EA}"/>
              </a:ext>
            </a:extLst>
          </p:cNvPr>
          <p:cNvSpPr/>
          <p:nvPr/>
        </p:nvSpPr>
        <p:spPr>
          <a:xfrm>
            <a:off x="1099963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38065752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9FC47C-2625-B48E-8B16-9C8F0CCFFCD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829C86A-31EE-4F77-6F9F-A8AF646BD7C2}"/>
              </a:ext>
            </a:extLst>
          </p:cNvPr>
          <p:cNvGraphicFramePr>
            <a:graphicFrameLocks noChangeAspect="1"/>
          </p:cNvGraphicFramePr>
          <p:nvPr>
            <p:custDataLst>
              <p:tags r:id="rId1"/>
            </p:custDataLst>
            <p:extLst>
              <p:ext uri="{D42A27DB-BD31-4B8C-83A1-F6EECF244321}">
                <p14:modId xmlns:p14="http://schemas.microsoft.com/office/powerpoint/2010/main" val="2604038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D829C86A-31EE-4F77-6F9F-A8AF646BD7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DDF508-4C4E-A454-EFF9-D2F00049D758}"/>
              </a:ext>
            </a:extLst>
          </p:cNvPr>
          <p:cNvSpPr>
            <a:spLocks noGrp="1"/>
          </p:cNvSpPr>
          <p:nvPr>
            <p:ph type="title"/>
          </p:nvPr>
        </p:nvSpPr>
        <p:spPr>
          <a:xfrm>
            <a:off x="137786" y="125260"/>
            <a:ext cx="7888614" cy="806754"/>
          </a:xfrm>
        </p:spPr>
        <p:txBody>
          <a:bodyPr vert="horz"/>
          <a:lstStyle/>
          <a:p>
            <a:r>
              <a:rPr lang="en-GB" b="1" noProof="0"/>
              <a:t>Key Strategic Choices</a:t>
            </a:r>
          </a:p>
        </p:txBody>
      </p:sp>
      <p:sp>
        <p:nvSpPr>
          <p:cNvPr id="4" name="Arrow: Chevron 3">
            <a:extLst>
              <a:ext uri="{FF2B5EF4-FFF2-40B4-BE49-F238E27FC236}">
                <a16:creationId xmlns:a16="http://schemas.microsoft.com/office/drawing/2014/main" id="{B42B097B-6E1F-3401-D48C-F65316497794}"/>
              </a:ext>
            </a:extLst>
          </p:cNvPr>
          <p:cNvSpPr/>
          <p:nvPr/>
        </p:nvSpPr>
        <p:spPr>
          <a:xfrm>
            <a:off x="8108917"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5" name="Arrow: Chevron 4">
            <a:extLst>
              <a:ext uri="{FF2B5EF4-FFF2-40B4-BE49-F238E27FC236}">
                <a16:creationId xmlns:a16="http://schemas.microsoft.com/office/drawing/2014/main" id="{49BC056C-631E-84DE-069F-0B3A91086484}"/>
              </a:ext>
            </a:extLst>
          </p:cNvPr>
          <p:cNvSpPr/>
          <p:nvPr/>
        </p:nvSpPr>
        <p:spPr>
          <a:xfrm>
            <a:off x="9071675"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6" name="Arrow: Chevron 5">
            <a:extLst>
              <a:ext uri="{FF2B5EF4-FFF2-40B4-BE49-F238E27FC236}">
                <a16:creationId xmlns:a16="http://schemas.microsoft.com/office/drawing/2014/main" id="{E6455735-E469-7B1A-62B0-7C9BE11E23AD}"/>
              </a:ext>
            </a:extLst>
          </p:cNvPr>
          <p:cNvSpPr/>
          <p:nvPr/>
        </p:nvSpPr>
        <p:spPr>
          <a:xfrm>
            <a:off x="10034433"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9" name="Arrow: Chevron 8">
            <a:extLst>
              <a:ext uri="{FF2B5EF4-FFF2-40B4-BE49-F238E27FC236}">
                <a16:creationId xmlns:a16="http://schemas.microsoft.com/office/drawing/2014/main" id="{38F5E937-158F-EC93-0BAF-CB8FCD4B8B1A}"/>
              </a:ext>
            </a:extLst>
          </p:cNvPr>
          <p:cNvSpPr/>
          <p:nvPr/>
        </p:nvSpPr>
        <p:spPr>
          <a:xfrm>
            <a:off x="1099963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
        <p:nvSpPr>
          <p:cNvPr id="38" name="Rectangle 37">
            <a:extLst>
              <a:ext uri="{FF2B5EF4-FFF2-40B4-BE49-F238E27FC236}">
                <a16:creationId xmlns:a16="http://schemas.microsoft.com/office/drawing/2014/main" id="{7D190BF5-560A-90D4-FBF6-05618B41318C}"/>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400" noProof="0">
                <a:solidFill>
                  <a:schemeClr val="tx1"/>
                </a:solidFill>
                <a:latin typeface="Avenir Next LT Pro" panose="020B0504020202020204" pitchFamily="34" charset="0"/>
              </a:rPr>
              <a:t>These choices determine how you'll </a:t>
            </a:r>
            <a:r>
              <a:rPr lang="en-GB" sz="1400" b="1" noProof="0">
                <a:solidFill>
                  <a:schemeClr val="tx1"/>
                </a:solidFill>
                <a:latin typeface="Avenir Next LT Pro" panose="020B0504020202020204" pitchFamily="34" charset="0"/>
              </a:rPr>
              <a:t>differentiate your offering</a:t>
            </a:r>
            <a:r>
              <a:rPr lang="en-GB" sz="1400" noProof="0">
                <a:solidFill>
                  <a:schemeClr val="tx1"/>
                </a:solidFill>
                <a:latin typeface="Avenir Next LT Pro" panose="020B0504020202020204" pitchFamily="34" charset="0"/>
              </a:rPr>
              <a:t> and capture customer preference in your chosen markets.</a:t>
            </a:r>
          </a:p>
          <a:p>
            <a:pPr marL="285750" indent="-285750">
              <a:spcAft>
                <a:spcPts val="600"/>
              </a:spcAft>
              <a:buFont typeface="Arial" panose="020B0604020202020204" pitchFamily="34" charset="0"/>
              <a:buChar char="•"/>
            </a:pPr>
            <a:r>
              <a:rPr lang="en-GB" sz="1400" noProof="0">
                <a:solidFill>
                  <a:schemeClr val="tx1"/>
                </a:solidFill>
                <a:latin typeface="Avenir Next LT Pro" panose="020B0504020202020204" pitchFamily="34" charset="0"/>
              </a:rPr>
              <a:t>The ultimate purpose is to </a:t>
            </a:r>
            <a:r>
              <a:rPr lang="en-GB" sz="1400" b="1" noProof="0">
                <a:solidFill>
                  <a:schemeClr val="tx1"/>
                </a:solidFill>
                <a:latin typeface="Avenir Next LT Pro" panose="020B0504020202020204" pitchFamily="34" charset="0"/>
              </a:rPr>
              <a:t>design one or more distinctive Value Propositions</a:t>
            </a:r>
            <a:r>
              <a:rPr lang="en-GB" sz="1400" noProof="0">
                <a:solidFill>
                  <a:schemeClr val="tx1"/>
                </a:solidFill>
                <a:latin typeface="Avenir Next LT Pro" panose="020B0504020202020204" pitchFamily="34" charset="0"/>
              </a:rPr>
              <a:t>, making </a:t>
            </a:r>
            <a:r>
              <a:rPr lang="en-GB" sz="1400" b="1" noProof="0">
                <a:solidFill>
                  <a:schemeClr val="tx1"/>
                </a:solidFill>
                <a:latin typeface="Avenir Next LT Pro" panose="020B0504020202020204" pitchFamily="34" charset="0"/>
              </a:rPr>
              <a:t>explicit decisions </a:t>
            </a:r>
            <a:r>
              <a:rPr lang="en-GB" sz="1400" noProof="0">
                <a:solidFill>
                  <a:schemeClr val="tx1"/>
                </a:solidFill>
                <a:latin typeface="Avenir Next LT Pro" panose="020B0504020202020204" pitchFamily="34" charset="0"/>
              </a:rPr>
              <a:t>about in what specific customer benefits you will outperform competitors, those in which you will settle for an "at par" performance, and those which you will eliminate or reduce.</a:t>
            </a:r>
          </a:p>
          <a:p>
            <a:pPr marL="285750" indent="-285750">
              <a:spcAft>
                <a:spcPts val="600"/>
              </a:spcAft>
              <a:buFont typeface="Arial" panose="020B0604020202020204" pitchFamily="34" charset="0"/>
              <a:buChar char="•"/>
            </a:pPr>
            <a:r>
              <a:rPr lang="en-GB" sz="1400" noProof="0">
                <a:solidFill>
                  <a:schemeClr val="tx1"/>
                </a:solidFill>
                <a:latin typeface="Avenir Next LT Pro" panose="020B0504020202020204" pitchFamily="34" charset="0"/>
              </a:rPr>
              <a:t>All the choices need to be </a:t>
            </a:r>
            <a:r>
              <a:rPr lang="en-GB" sz="1400" b="1" noProof="0">
                <a:solidFill>
                  <a:schemeClr val="tx1"/>
                </a:solidFill>
                <a:latin typeface="Avenir Next LT Pro" panose="020B0504020202020204" pitchFamily="34" charset="0"/>
              </a:rPr>
              <a:t>aligned</a:t>
            </a:r>
            <a:r>
              <a:rPr lang="en-GB" sz="1400" noProof="0">
                <a:solidFill>
                  <a:schemeClr val="tx1"/>
                </a:solidFill>
                <a:latin typeface="Avenir Next LT Pro" panose="020B0504020202020204" pitchFamily="34" charset="0"/>
              </a:rPr>
              <a:t> with one another and with the where to play and how to play choices.</a:t>
            </a:r>
          </a:p>
        </p:txBody>
      </p:sp>
      <p:grpSp>
        <p:nvGrpSpPr>
          <p:cNvPr id="37" name="Group 36">
            <a:extLst>
              <a:ext uri="{FF2B5EF4-FFF2-40B4-BE49-F238E27FC236}">
                <a16:creationId xmlns:a16="http://schemas.microsoft.com/office/drawing/2014/main" id="{3179AC9B-B97C-5F5C-6C81-F5B0100B5A68}"/>
              </a:ext>
            </a:extLst>
          </p:cNvPr>
          <p:cNvGrpSpPr/>
          <p:nvPr/>
        </p:nvGrpSpPr>
        <p:grpSpPr>
          <a:xfrm>
            <a:off x="1122482" y="2189747"/>
            <a:ext cx="5299591" cy="4159426"/>
            <a:chOff x="368907" y="1700531"/>
            <a:chExt cx="4038920" cy="4275927"/>
          </a:xfrm>
          <a:effectLst/>
        </p:grpSpPr>
        <p:sp>
          <p:nvSpPr>
            <p:cNvPr id="39" name="Isosceles Triangle 38">
              <a:extLst>
                <a:ext uri="{FF2B5EF4-FFF2-40B4-BE49-F238E27FC236}">
                  <a16:creationId xmlns:a16="http://schemas.microsoft.com/office/drawing/2014/main" id="{07C62BB2-9502-927E-05DF-F1103AEB2721}"/>
                </a:ext>
              </a:extLst>
            </p:cNvPr>
            <p:cNvSpPr/>
            <p:nvPr/>
          </p:nvSpPr>
          <p:spPr>
            <a:xfrm>
              <a:off x="1792514" y="1700531"/>
              <a:ext cx="1191707" cy="1255807"/>
            </a:xfrm>
            <a:prstGeom prst="triangle">
              <a:avLst>
                <a:gd name="adj" fmla="val 49710"/>
              </a:avLst>
            </a:prstGeom>
            <a:solidFill>
              <a:srgbClr val="FFE4CD"/>
            </a:solidFill>
            <a:ln w="9525">
              <a:solidFill>
                <a:srgbClr val="FF834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sp>
          <p:nvSpPr>
            <p:cNvPr id="40" name="Isosceles Triangle 62">
              <a:extLst>
                <a:ext uri="{FF2B5EF4-FFF2-40B4-BE49-F238E27FC236}">
                  <a16:creationId xmlns:a16="http://schemas.microsoft.com/office/drawing/2014/main" id="{0E010174-7B69-7BC6-9F4E-3C90A295AB2E}"/>
                </a:ext>
              </a:extLst>
            </p:cNvPr>
            <p:cNvSpPr/>
            <p:nvPr/>
          </p:nvSpPr>
          <p:spPr>
            <a:xfrm>
              <a:off x="1106945" y="2957333"/>
              <a:ext cx="2556494" cy="1456051"/>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481647" y="2614"/>
                  </a:lnTo>
                  <a:lnTo>
                    <a:pt x="1325344" y="0"/>
                  </a:lnTo>
                  <a:lnTo>
                    <a:pt x="1810264" y="968810"/>
                  </a:lnTo>
                  <a:lnTo>
                    <a:pt x="0" y="968810"/>
                  </a:lnTo>
                  <a:close/>
                </a:path>
              </a:pathLst>
            </a:custGeom>
            <a:solidFill>
              <a:srgbClr val="FFD5B3"/>
            </a:solidFill>
            <a:ln w="9525">
              <a:solidFill>
                <a:srgbClr val="FF834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grpSp>
          <p:nvGrpSpPr>
            <p:cNvPr id="41" name="Group 40">
              <a:extLst>
                <a:ext uri="{FF2B5EF4-FFF2-40B4-BE49-F238E27FC236}">
                  <a16:creationId xmlns:a16="http://schemas.microsoft.com/office/drawing/2014/main" id="{CA65B67A-402E-E4A6-3340-60D7E6D62510}"/>
                </a:ext>
              </a:extLst>
            </p:cNvPr>
            <p:cNvGrpSpPr/>
            <p:nvPr/>
          </p:nvGrpSpPr>
          <p:grpSpPr>
            <a:xfrm>
              <a:off x="368907" y="2954958"/>
              <a:ext cx="4038920" cy="3021500"/>
              <a:chOff x="364847" y="3312617"/>
              <a:chExt cx="4038920" cy="3021500"/>
            </a:xfrm>
          </p:grpSpPr>
          <p:cxnSp>
            <p:nvCxnSpPr>
              <p:cNvPr id="42" name="Straight Connector 41">
                <a:extLst>
                  <a:ext uri="{FF2B5EF4-FFF2-40B4-BE49-F238E27FC236}">
                    <a16:creationId xmlns:a16="http://schemas.microsoft.com/office/drawing/2014/main" id="{384CF2AC-2244-9B05-AFDC-7130F060A29C}"/>
                  </a:ext>
                </a:extLst>
              </p:cNvPr>
              <p:cNvCxnSpPr>
                <a:cxnSpLocks/>
              </p:cNvCxnSpPr>
              <p:nvPr/>
            </p:nvCxnSpPr>
            <p:spPr>
              <a:xfrm>
                <a:off x="1110997" y="4771043"/>
                <a:ext cx="254556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3" name="Isosceles Triangle 62">
                <a:extLst>
                  <a:ext uri="{FF2B5EF4-FFF2-40B4-BE49-F238E27FC236}">
                    <a16:creationId xmlns:a16="http://schemas.microsoft.com/office/drawing/2014/main" id="{273E1F7D-A751-D1D6-A148-3E378F9E4DC1}"/>
                  </a:ext>
                </a:extLst>
              </p:cNvPr>
              <p:cNvSpPr/>
              <p:nvPr/>
            </p:nvSpPr>
            <p:spPr>
              <a:xfrm>
                <a:off x="364847" y="4771043"/>
                <a:ext cx="4038920" cy="1562778"/>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476069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326400" y="396"/>
                    </a:lnTo>
                    <a:lnTo>
                      <a:pt x="1476069" y="0"/>
                    </a:lnTo>
                    <a:lnTo>
                      <a:pt x="1810264" y="968810"/>
                    </a:lnTo>
                    <a:lnTo>
                      <a:pt x="0" y="968810"/>
                    </a:lnTo>
                    <a:close/>
                  </a:path>
                </a:pathLst>
              </a:custGeom>
              <a:solidFill>
                <a:srgbClr val="FFC493"/>
              </a:solidFill>
              <a:ln w="9525">
                <a:solidFill>
                  <a:srgbClr val="DE6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cxnSp>
            <p:nvCxnSpPr>
              <p:cNvPr id="44" name="Straight Connector 43">
                <a:extLst>
                  <a:ext uri="{FF2B5EF4-FFF2-40B4-BE49-F238E27FC236}">
                    <a16:creationId xmlns:a16="http://schemas.microsoft.com/office/drawing/2014/main" id="{E12BE380-8304-F95B-648A-54ABE64A29CE}"/>
                  </a:ext>
                </a:extLst>
              </p:cNvPr>
              <p:cNvCxnSpPr>
                <a:cxnSpLocks/>
              </p:cNvCxnSpPr>
              <p:nvPr/>
            </p:nvCxnSpPr>
            <p:spPr>
              <a:xfrm flipH="1">
                <a:off x="1833796" y="3312617"/>
                <a:ext cx="287660" cy="1488306"/>
              </a:xfrm>
              <a:prstGeom prst="line">
                <a:avLst/>
              </a:prstGeom>
              <a:ln w="9525">
                <a:solidFill>
                  <a:srgbClr val="FF8349"/>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3890014-30E8-80D2-BF80-B55B720FE497}"/>
                  </a:ext>
                </a:extLst>
              </p:cNvPr>
              <p:cNvCxnSpPr>
                <a:cxnSpLocks/>
              </p:cNvCxnSpPr>
              <p:nvPr/>
            </p:nvCxnSpPr>
            <p:spPr>
              <a:xfrm>
                <a:off x="2562892" y="4771043"/>
                <a:ext cx="106051" cy="1562778"/>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28AF06D-61D5-19B1-7567-7133CD5C8FDE}"/>
                  </a:ext>
                </a:extLst>
              </p:cNvPr>
              <p:cNvCxnSpPr>
                <a:cxnSpLocks/>
              </p:cNvCxnSpPr>
              <p:nvPr/>
            </p:nvCxnSpPr>
            <p:spPr>
              <a:xfrm flipH="1">
                <a:off x="2089604" y="4771042"/>
                <a:ext cx="76090" cy="1562779"/>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5398EC3-31DA-8E72-4E5C-04BDF57C93A1}"/>
                  </a:ext>
                </a:extLst>
              </p:cNvPr>
              <p:cNvCxnSpPr>
                <a:cxnSpLocks/>
              </p:cNvCxnSpPr>
              <p:nvPr/>
            </p:nvCxnSpPr>
            <p:spPr>
              <a:xfrm flipH="1">
                <a:off x="957027" y="4771042"/>
                <a:ext cx="526604" cy="1562779"/>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77EE991-8C99-0792-8A54-BFD72665A508}"/>
                  </a:ext>
                </a:extLst>
              </p:cNvPr>
              <p:cNvCxnSpPr>
                <a:cxnSpLocks/>
              </p:cNvCxnSpPr>
              <p:nvPr/>
            </p:nvCxnSpPr>
            <p:spPr>
              <a:xfrm>
                <a:off x="2706590" y="3312617"/>
                <a:ext cx="267090" cy="1459422"/>
              </a:xfrm>
              <a:prstGeom prst="line">
                <a:avLst/>
              </a:prstGeom>
              <a:ln w="9525">
                <a:solidFill>
                  <a:srgbClr val="FF8349"/>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2B7B4F4-5BC5-E148-DFEA-8BADCA03246D}"/>
                  </a:ext>
                </a:extLst>
              </p:cNvPr>
              <p:cNvCxnSpPr>
                <a:cxnSpLocks/>
              </p:cNvCxnSpPr>
              <p:nvPr/>
            </p:nvCxnSpPr>
            <p:spPr>
              <a:xfrm>
                <a:off x="3336756" y="4771043"/>
                <a:ext cx="506582" cy="1563074"/>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3C76D0B-86C0-2035-BEA0-D589E086D623}"/>
                  </a:ext>
                </a:extLst>
              </p:cNvPr>
              <p:cNvCxnSpPr>
                <a:cxnSpLocks/>
              </p:cNvCxnSpPr>
              <p:nvPr/>
            </p:nvCxnSpPr>
            <p:spPr>
              <a:xfrm flipH="1">
                <a:off x="1539549" y="4772039"/>
                <a:ext cx="300668" cy="1561783"/>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BD33BC6-978E-981A-31D0-E507C86F4C27}"/>
                  </a:ext>
                </a:extLst>
              </p:cNvPr>
              <p:cNvCxnSpPr>
                <a:cxnSpLocks/>
              </p:cNvCxnSpPr>
              <p:nvPr/>
            </p:nvCxnSpPr>
            <p:spPr>
              <a:xfrm>
                <a:off x="2973680" y="4778378"/>
                <a:ext cx="284662" cy="1555443"/>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3997EFB-F9DE-A689-E560-B4575EB4A6F7}"/>
                  </a:ext>
                </a:extLst>
              </p:cNvPr>
              <p:cNvCxnSpPr>
                <a:cxnSpLocks/>
                <a:stCxn id="43" idx="1"/>
                <a:endCxn id="40" idx="3"/>
              </p:cNvCxnSpPr>
              <p:nvPr/>
            </p:nvCxnSpPr>
            <p:spPr>
              <a:xfrm flipV="1">
                <a:off x="1093085" y="4771043"/>
                <a:ext cx="2566294" cy="640"/>
              </a:xfrm>
              <a:prstGeom prst="line">
                <a:avLst/>
              </a:prstGeom>
              <a:ln w="9525">
                <a:solidFill>
                  <a:srgbClr val="FF8349"/>
                </a:solidFill>
              </a:ln>
            </p:spPr>
            <p:style>
              <a:lnRef idx="1">
                <a:schemeClr val="accent1"/>
              </a:lnRef>
              <a:fillRef idx="0">
                <a:schemeClr val="accent1"/>
              </a:fillRef>
              <a:effectRef idx="0">
                <a:schemeClr val="accent1"/>
              </a:effectRef>
              <a:fontRef idx="minor">
                <a:schemeClr val="tx1"/>
              </a:fontRef>
            </p:style>
          </p:cxnSp>
        </p:grpSp>
      </p:grpSp>
      <p:sp>
        <p:nvSpPr>
          <p:cNvPr id="53" name="Flowchart: Alternative Process 31">
            <a:extLst>
              <a:ext uri="{FF2B5EF4-FFF2-40B4-BE49-F238E27FC236}">
                <a16:creationId xmlns:a16="http://schemas.microsoft.com/office/drawing/2014/main" id="{C1B40667-0D03-B8AC-7F72-D6F564C6C44A}"/>
              </a:ext>
            </a:extLst>
          </p:cNvPr>
          <p:cNvSpPr/>
          <p:nvPr/>
        </p:nvSpPr>
        <p:spPr>
          <a:xfrm>
            <a:off x="4145758" y="2472360"/>
            <a:ext cx="1867600" cy="655023"/>
          </a:xfrm>
          <a:prstGeom prst="flowChartAlternateProcess">
            <a:avLst/>
          </a:prstGeom>
          <a:solidFill>
            <a:srgbClr val="FF8F33"/>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GB" sz="1200" b="1" noProof="0">
                <a:solidFill>
                  <a:srgbClr val="FFFFFF"/>
                </a:solidFill>
                <a:latin typeface="Avenir Next LT Pro" panose="020B0504020202020204" pitchFamily="34" charset="0"/>
              </a:rPr>
              <a:t>1. Strategic Positioning</a:t>
            </a:r>
          </a:p>
        </p:txBody>
      </p:sp>
      <p:sp>
        <p:nvSpPr>
          <p:cNvPr id="54" name="Rectangle: Rounded Corners 53">
            <a:extLst>
              <a:ext uri="{FF2B5EF4-FFF2-40B4-BE49-F238E27FC236}">
                <a16:creationId xmlns:a16="http://schemas.microsoft.com/office/drawing/2014/main" id="{47997145-A997-D788-E8DA-AE368A07F849}"/>
              </a:ext>
            </a:extLst>
          </p:cNvPr>
          <p:cNvSpPr/>
          <p:nvPr/>
        </p:nvSpPr>
        <p:spPr>
          <a:xfrm>
            <a:off x="4855736" y="3799917"/>
            <a:ext cx="1866491" cy="655023"/>
          </a:xfrm>
          <a:prstGeom prst="roundRect">
            <a:avLst/>
          </a:prstGeom>
          <a:solidFill>
            <a:srgbClr val="FF710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GB" sz="1200" b="1" noProof="0">
                <a:solidFill>
                  <a:srgbClr val="FFFFFF"/>
                </a:solidFill>
                <a:latin typeface="Avenir Next LT Pro" panose="020B0504020202020204" pitchFamily="34" charset="0"/>
              </a:rPr>
              <a:t>2. Segmentation of Value Propositions</a:t>
            </a:r>
          </a:p>
        </p:txBody>
      </p:sp>
      <p:sp>
        <p:nvSpPr>
          <p:cNvPr id="55" name="Rectangle: Rounded Corners 54">
            <a:extLst>
              <a:ext uri="{FF2B5EF4-FFF2-40B4-BE49-F238E27FC236}">
                <a16:creationId xmlns:a16="http://schemas.microsoft.com/office/drawing/2014/main" id="{31CDED88-11E2-7F33-0DB5-FFF280AD1B2F}"/>
              </a:ext>
            </a:extLst>
          </p:cNvPr>
          <p:cNvSpPr/>
          <p:nvPr/>
        </p:nvSpPr>
        <p:spPr>
          <a:xfrm>
            <a:off x="5659097" y="5127474"/>
            <a:ext cx="1866491" cy="654903"/>
          </a:xfrm>
          <a:prstGeom prst="roundRect">
            <a:avLst/>
          </a:prstGeom>
          <a:solidFill>
            <a:srgbClr val="DE6400"/>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GB" sz="1200" b="1" noProof="0">
                <a:solidFill>
                  <a:schemeClr val="bg1"/>
                </a:solidFill>
                <a:latin typeface="Avenir Next LT Pro" panose="020B0504020202020204" pitchFamily="34" charset="0"/>
              </a:rPr>
              <a:t>3. Design Choices for each Value Proposition</a:t>
            </a:r>
          </a:p>
        </p:txBody>
      </p:sp>
      <p:sp>
        <p:nvSpPr>
          <p:cNvPr id="58" name="TextBox 10">
            <a:extLst>
              <a:ext uri="{FF2B5EF4-FFF2-40B4-BE49-F238E27FC236}">
                <a16:creationId xmlns:a16="http://schemas.microsoft.com/office/drawing/2014/main" id="{8737D555-2A45-4823-B02A-DDF7DCA2847E}"/>
              </a:ext>
            </a:extLst>
          </p:cNvPr>
          <p:cNvSpPr txBox="1"/>
          <p:nvPr/>
        </p:nvSpPr>
        <p:spPr>
          <a:xfrm>
            <a:off x="1598244" y="1319625"/>
            <a:ext cx="5123983" cy="738664"/>
          </a:xfrm>
          <a:prstGeom prst="rect">
            <a:avLst/>
          </a:prstGeom>
          <a:noFill/>
          <a:ln>
            <a:noFill/>
          </a:ln>
        </p:spPr>
        <p:txBody>
          <a:bodyPr wrap="square" lIns="0" tIns="0" rIns="0" bIns="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2400" i="1" noProof="0">
                <a:solidFill>
                  <a:srgbClr val="464646"/>
                </a:solidFill>
                <a:latin typeface="Avenir LT Pro 45Book"/>
              </a:rPr>
              <a:t>Three Fundamental Choices when creating a winning Value Proposition</a:t>
            </a:r>
          </a:p>
        </p:txBody>
      </p:sp>
      <p:sp>
        <p:nvSpPr>
          <p:cNvPr id="4133" name="Flowchart: Alternative Process 31">
            <a:extLst>
              <a:ext uri="{FF2B5EF4-FFF2-40B4-BE49-F238E27FC236}">
                <a16:creationId xmlns:a16="http://schemas.microsoft.com/office/drawing/2014/main" id="{733C89A8-A5FE-7B09-79F2-7B993208298B}"/>
              </a:ext>
            </a:extLst>
          </p:cNvPr>
          <p:cNvSpPr/>
          <p:nvPr/>
        </p:nvSpPr>
        <p:spPr>
          <a:xfrm>
            <a:off x="6224720" y="2432035"/>
            <a:ext cx="1847757" cy="326987"/>
          </a:xfrm>
          <a:prstGeom prst="flowChartAlternateProcess">
            <a:avLst/>
          </a:prstGeom>
          <a:solidFill>
            <a:srgbClr val="FF8F33"/>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GB" sz="1200" b="1" noProof="0">
                <a:solidFill>
                  <a:srgbClr val="FFFFFF"/>
                </a:solidFill>
                <a:latin typeface="Avenir Next LT Pro" panose="020B0504020202020204" pitchFamily="34" charset="0"/>
              </a:rPr>
              <a:t>Generic Positioning</a:t>
            </a:r>
          </a:p>
        </p:txBody>
      </p:sp>
      <p:sp>
        <p:nvSpPr>
          <p:cNvPr id="4134" name="Flowchart: Alternative Process 31">
            <a:extLst>
              <a:ext uri="{FF2B5EF4-FFF2-40B4-BE49-F238E27FC236}">
                <a16:creationId xmlns:a16="http://schemas.microsoft.com/office/drawing/2014/main" id="{5F66B43C-19CC-9929-132C-C7F112589A02}"/>
              </a:ext>
            </a:extLst>
          </p:cNvPr>
          <p:cNvSpPr/>
          <p:nvPr/>
        </p:nvSpPr>
        <p:spPr>
          <a:xfrm>
            <a:off x="6224720" y="2829700"/>
            <a:ext cx="1847757" cy="326987"/>
          </a:xfrm>
          <a:prstGeom prst="flowChartAlternateProcess">
            <a:avLst/>
          </a:prstGeom>
          <a:solidFill>
            <a:srgbClr val="FF8F33"/>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GB" sz="1200" b="1" noProof="0">
                <a:solidFill>
                  <a:srgbClr val="FFFFFF"/>
                </a:solidFill>
                <a:latin typeface="Avenir Next LT Pro" panose="020B0504020202020204" pitchFamily="34" charset="0"/>
              </a:rPr>
              <a:t>Positioning Archetypes</a:t>
            </a:r>
          </a:p>
        </p:txBody>
      </p:sp>
      <p:cxnSp>
        <p:nvCxnSpPr>
          <p:cNvPr id="4136" name="Straight Connector 4135">
            <a:extLst>
              <a:ext uri="{FF2B5EF4-FFF2-40B4-BE49-F238E27FC236}">
                <a16:creationId xmlns:a16="http://schemas.microsoft.com/office/drawing/2014/main" id="{33394BA1-A1C4-E3E8-806A-7417A04ABEF0}"/>
              </a:ext>
            </a:extLst>
          </p:cNvPr>
          <p:cNvCxnSpPr>
            <a:stCxn id="53" idx="3"/>
            <a:endCxn id="4133" idx="1"/>
          </p:cNvCxnSpPr>
          <p:nvPr/>
        </p:nvCxnSpPr>
        <p:spPr>
          <a:xfrm flipV="1">
            <a:off x="6013358" y="2595529"/>
            <a:ext cx="211362" cy="204343"/>
          </a:xfrm>
          <a:prstGeom prst="line">
            <a:avLst/>
          </a:prstGeom>
        </p:spPr>
        <p:style>
          <a:lnRef idx="2">
            <a:schemeClr val="dk1"/>
          </a:lnRef>
          <a:fillRef idx="0">
            <a:schemeClr val="dk1"/>
          </a:fillRef>
          <a:effectRef idx="1">
            <a:schemeClr val="dk1"/>
          </a:effectRef>
          <a:fontRef idx="minor">
            <a:schemeClr val="tx1"/>
          </a:fontRef>
        </p:style>
      </p:cxnSp>
      <p:cxnSp>
        <p:nvCxnSpPr>
          <p:cNvPr id="4137" name="Straight Arrow Connector 4136">
            <a:extLst>
              <a:ext uri="{FF2B5EF4-FFF2-40B4-BE49-F238E27FC236}">
                <a16:creationId xmlns:a16="http://schemas.microsoft.com/office/drawing/2014/main" id="{7E07D772-7D43-4EE2-07B5-3A5A7D5CE9BF}"/>
              </a:ext>
            </a:extLst>
          </p:cNvPr>
          <p:cNvCxnSpPr>
            <a:cxnSpLocks/>
            <a:stCxn id="53" idx="3"/>
            <a:endCxn id="4134" idx="1"/>
          </p:cNvCxnSpPr>
          <p:nvPr/>
        </p:nvCxnSpPr>
        <p:spPr>
          <a:xfrm>
            <a:off x="6013358" y="2799872"/>
            <a:ext cx="211362" cy="193322"/>
          </a:xfrm>
          <a:prstGeom prst="straightConnector1">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9941389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FD24D8-8D47-72E3-C75D-F2ACBED42DE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2D89667-A4ED-CC14-05BA-3EC7D43BB63F}"/>
              </a:ext>
            </a:extLst>
          </p:cNvPr>
          <p:cNvGraphicFramePr>
            <a:graphicFrameLocks noChangeAspect="1"/>
          </p:cNvGraphicFramePr>
          <p:nvPr>
            <p:custDataLst>
              <p:tags r:id="rId1"/>
            </p:custDataLst>
            <p:extLst>
              <p:ext uri="{D42A27DB-BD31-4B8C-83A1-F6EECF244321}">
                <p14:modId xmlns:p14="http://schemas.microsoft.com/office/powerpoint/2010/main" val="1311303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26" imgH="426" progId="TCLayout.ActiveDocument.1">
                  <p:embed/>
                </p:oleObj>
              </mc:Choice>
              <mc:Fallback>
                <p:oleObj name="think-cell Slide" r:id="rId35" imgW="426" imgH="426" progId="TCLayout.ActiveDocument.1">
                  <p:embed/>
                  <p:pic>
                    <p:nvPicPr>
                      <p:cNvPr id="7" name="think-cell data - do not delete" hidden="1">
                        <a:extLst>
                          <a:ext uri="{FF2B5EF4-FFF2-40B4-BE49-F238E27FC236}">
                            <a16:creationId xmlns:a16="http://schemas.microsoft.com/office/drawing/2014/main" id="{42D89667-A4ED-CC14-05BA-3EC7D43BB63F}"/>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ACA3391-CF5E-952C-D891-49FF6BC06C70}"/>
              </a:ext>
            </a:extLst>
          </p:cNvPr>
          <p:cNvSpPr>
            <a:spLocks noGrp="1"/>
          </p:cNvSpPr>
          <p:nvPr>
            <p:ph type="title"/>
          </p:nvPr>
        </p:nvSpPr>
        <p:spPr>
          <a:xfrm>
            <a:off x="137786" y="125260"/>
            <a:ext cx="7888614" cy="806754"/>
          </a:xfrm>
        </p:spPr>
        <p:txBody>
          <a:bodyPr vert="horz"/>
          <a:lstStyle/>
          <a:p>
            <a:r>
              <a:rPr lang="en-GB" b="1" noProof="0"/>
              <a:t>The Strategy Value Curve</a:t>
            </a:r>
          </a:p>
        </p:txBody>
      </p:sp>
      <p:sp>
        <p:nvSpPr>
          <p:cNvPr id="38" name="Rectangle 37">
            <a:extLst>
              <a:ext uri="{FF2B5EF4-FFF2-40B4-BE49-F238E27FC236}">
                <a16:creationId xmlns:a16="http://schemas.microsoft.com/office/drawing/2014/main" id="{B5E70DA1-451D-04A1-EB8F-3507C3C9E669}"/>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400" noProof="0">
                <a:solidFill>
                  <a:schemeClr val="tx1"/>
                </a:solidFill>
                <a:latin typeface="Avenir Next LT Pro" panose="020B0504020202020204" pitchFamily="34" charset="0"/>
              </a:rPr>
              <a:t>The </a:t>
            </a:r>
            <a:r>
              <a:rPr lang="en-GB" sz="1400" b="1" noProof="0">
                <a:solidFill>
                  <a:schemeClr val="tx1"/>
                </a:solidFill>
                <a:latin typeface="Avenir Next LT Pro" panose="020B0504020202020204" pitchFamily="34" charset="0"/>
              </a:rPr>
              <a:t>Strategy Value Curve </a:t>
            </a:r>
            <a:r>
              <a:rPr lang="en-GB" sz="1400" noProof="0">
                <a:solidFill>
                  <a:schemeClr val="tx1"/>
                </a:solidFill>
                <a:latin typeface="Avenir Next LT Pro" panose="020B0504020202020204" pitchFamily="34" charset="0"/>
              </a:rPr>
              <a:t>compares several organisations and assesses the relative </a:t>
            </a:r>
            <a:r>
              <a:rPr lang="en-GB" sz="1400" b="1" noProof="0">
                <a:solidFill>
                  <a:schemeClr val="tx1"/>
                </a:solidFill>
                <a:latin typeface="Avenir Next LT Pro" panose="020B0504020202020204" pitchFamily="34" charset="0"/>
              </a:rPr>
              <a:t>performance</a:t>
            </a:r>
            <a:r>
              <a:rPr lang="en-GB" sz="1400" noProof="0">
                <a:solidFill>
                  <a:schemeClr val="tx1"/>
                </a:solidFill>
                <a:latin typeface="Avenir Next LT Pro" panose="020B0504020202020204" pitchFamily="34" charset="0"/>
              </a:rPr>
              <a:t> (offering level) of each on a selection of </a:t>
            </a:r>
            <a:r>
              <a:rPr lang="en-GB" sz="1400" b="1" noProof="0">
                <a:solidFill>
                  <a:schemeClr val="tx1"/>
                </a:solidFill>
                <a:latin typeface="Avenir Next LT Pro" panose="020B0504020202020204" pitchFamily="34" charset="0"/>
              </a:rPr>
              <a:t>value attributes</a:t>
            </a:r>
            <a:r>
              <a:rPr lang="en-GB" sz="1400" noProof="0">
                <a:solidFill>
                  <a:schemeClr val="tx1"/>
                </a:solidFill>
                <a:latin typeface="Avenir Next LT Pro" panose="020B0504020202020204" pitchFamily="34" charset="0"/>
              </a:rPr>
              <a:t>, which are ranked according to their </a:t>
            </a:r>
            <a:r>
              <a:rPr lang="en-GB" sz="1400" b="1" noProof="0">
                <a:solidFill>
                  <a:schemeClr val="tx1"/>
                </a:solidFill>
                <a:latin typeface="Avenir Next LT Pro" panose="020B0504020202020204" pitchFamily="34" charset="0"/>
              </a:rPr>
              <a:t>importance</a:t>
            </a:r>
            <a:r>
              <a:rPr lang="en-GB" sz="1400" noProof="0">
                <a:solidFill>
                  <a:schemeClr val="tx1"/>
                </a:solidFill>
                <a:latin typeface="Avenir Next LT Pro" panose="020B0504020202020204" pitchFamily="34" charset="0"/>
              </a:rPr>
              <a:t> to a customer segments.</a:t>
            </a:r>
          </a:p>
          <a:p>
            <a:pPr marL="285750" indent="-285750">
              <a:spcAft>
                <a:spcPts val="600"/>
              </a:spcAft>
              <a:buFont typeface="Arial" panose="020B0604020202020204" pitchFamily="34" charset="0"/>
              <a:buChar char="•"/>
            </a:pPr>
            <a:r>
              <a:rPr lang="en-GB" sz="1400" b="1" noProof="0">
                <a:solidFill>
                  <a:schemeClr val="tx1"/>
                </a:solidFill>
                <a:latin typeface="Avenir Next LT Pro" panose="020B0504020202020204" pitchFamily="34" charset="0"/>
              </a:rPr>
              <a:t>Price</a:t>
            </a:r>
            <a:r>
              <a:rPr lang="en-GB" sz="1400" noProof="0">
                <a:solidFill>
                  <a:schemeClr val="tx1"/>
                </a:solidFill>
                <a:latin typeface="Avenir Next LT Pro" panose="020B0504020202020204" pitchFamily="34" charset="0"/>
              </a:rPr>
              <a:t>, in relative or absolute terms, is assessed separately.</a:t>
            </a:r>
          </a:p>
          <a:p>
            <a:pPr marL="285750" indent="-285750">
              <a:spcAft>
                <a:spcPts val="600"/>
              </a:spcAft>
              <a:buFont typeface="Arial" panose="020B0604020202020204" pitchFamily="34" charset="0"/>
              <a:buChar char="•"/>
            </a:pPr>
            <a:r>
              <a:rPr lang="en-GB" sz="1400" noProof="0">
                <a:solidFill>
                  <a:schemeClr val="tx1"/>
                </a:solidFill>
                <a:latin typeface="Avenir Next LT Pro" panose="020B0504020202020204" pitchFamily="34" charset="0"/>
              </a:rPr>
              <a:t>Throughout this module we will be expanding on the creation and study of this analysis.</a:t>
            </a:r>
          </a:p>
        </p:txBody>
      </p:sp>
      <p:grpSp>
        <p:nvGrpSpPr>
          <p:cNvPr id="14" name="Group 13">
            <a:extLst>
              <a:ext uri="{FF2B5EF4-FFF2-40B4-BE49-F238E27FC236}">
                <a16:creationId xmlns:a16="http://schemas.microsoft.com/office/drawing/2014/main" id="{08C7C68A-2071-DB75-28BD-D4E1AFBA378A}"/>
              </a:ext>
            </a:extLst>
          </p:cNvPr>
          <p:cNvGrpSpPr/>
          <p:nvPr/>
        </p:nvGrpSpPr>
        <p:grpSpPr>
          <a:xfrm>
            <a:off x="8425707" y="1082663"/>
            <a:ext cx="878899" cy="689811"/>
            <a:chOff x="368907" y="1700531"/>
            <a:chExt cx="4038920" cy="4275927"/>
          </a:xfrm>
          <a:effectLst/>
        </p:grpSpPr>
        <p:sp>
          <p:nvSpPr>
            <p:cNvPr id="15" name="Isosceles Triangle 14">
              <a:extLst>
                <a:ext uri="{FF2B5EF4-FFF2-40B4-BE49-F238E27FC236}">
                  <a16:creationId xmlns:a16="http://schemas.microsoft.com/office/drawing/2014/main" id="{83D37637-64E4-FCF8-82FF-41C607F0DAFE}"/>
                </a:ext>
              </a:extLst>
            </p:cNvPr>
            <p:cNvSpPr/>
            <p:nvPr/>
          </p:nvSpPr>
          <p:spPr>
            <a:xfrm>
              <a:off x="1792514" y="1700531"/>
              <a:ext cx="1191707" cy="1255807"/>
            </a:xfrm>
            <a:prstGeom prst="triangle">
              <a:avLst>
                <a:gd name="adj" fmla="val 49710"/>
              </a:avLst>
            </a:prstGeom>
            <a:solidFill>
              <a:srgbClr val="FFE4CD"/>
            </a:solidFill>
            <a:ln w="9525">
              <a:solidFill>
                <a:srgbClr val="FF834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sp>
          <p:nvSpPr>
            <p:cNvPr id="16" name="Isosceles Triangle 62">
              <a:extLst>
                <a:ext uri="{FF2B5EF4-FFF2-40B4-BE49-F238E27FC236}">
                  <a16:creationId xmlns:a16="http://schemas.microsoft.com/office/drawing/2014/main" id="{3B9F6DC8-6BDD-36B4-B80D-69D56A72A89D}"/>
                </a:ext>
              </a:extLst>
            </p:cNvPr>
            <p:cNvSpPr/>
            <p:nvPr/>
          </p:nvSpPr>
          <p:spPr>
            <a:xfrm>
              <a:off x="1106945" y="2957333"/>
              <a:ext cx="2556494" cy="1456051"/>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481647" y="2614"/>
                  </a:lnTo>
                  <a:lnTo>
                    <a:pt x="1325344" y="0"/>
                  </a:lnTo>
                  <a:lnTo>
                    <a:pt x="1810264" y="968810"/>
                  </a:lnTo>
                  <a:lnTo>
                    <a:pt x="0" y="968810"/>
                  </a:lnTo>
                  <a:close/>
                </a:path>
              </a:pathLst>
            </a:custGeom>
            <a:solidFill>
              <a:srgbClr val="FFD5B3"/>
            </a:solidFill>
            <a:ln w="9525">
              <a:solidFill>
                <a:srgbClr val="FF834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grpSp>
          <p:nvGrpSpPr>
            <p:cNvPr id="17" name="Group 16">
              <a:extLst>
                <a:ext uri="{FF2B5EF4-FFF2-40B4-BE49-F238E27FC236}">
                  <a16:creationId xmlns:a16="http://schemas.microsoft.com/office/drawing/2014/main" id="{B68FECED-80C5-DCE6-D641-18D0EF6A4C9E}"/>
                </a:ext>
              </a:extLst>
            </p:cNvPr>
            <p:cNvGrpSpPr/>
            <p:nvPr/>
          </p:nvGrpSpPr>
          <p:grpSpPr>
            <a:xfrm>
              <a:off x="368907" y="2954958"/>
              <a:ext cx="4038920" cy="3021500"/>
              <a:chOff x="364847" y="3312617"/>
              <a:chExt cx="4038920" cy="3021500"/>
            </a:xfrm>
          </p:grpSpPr>
          <p:cxnSp>
            <p:nvCxnSpPr>
              <p:cNvPr id="18" name="Straight Connector 17">
                <a:extLst>
                  <a:ext uri="{FF2B5EF4-FFF2-40B4-BE49-F238E27FC236}">
                    <a16:creationId xmlns:a16="http://schemas.microsoft.com/office/drawing/2014/main" id="{E1108928-2206-2844-C156-75AEBE12ECBD}"/>
                  </a:ext>
                </a:extLst>
              </p:cNvPr>
              <p:cNvCxnSpPr>
                <a:cxnSpLocks/>
              </p:cNvCxnSpPr>
              <p:nvPr/>
            </p:nvCxnSpPr>
            <p:spPr>
              <a:xfrm>
                <a:off x="1110997" y="4771043"/>
                <a:ext cx="254556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Isosceles Triangle 62">
                <a:extLst>
                  <a:ext uri="{FF2B5EF4-FFF2-40B4-BE49-F238E27FC236}">
                    <a16:creationId xmlns:a16="http://schemas.microsoft.com/office/drawing/2014/main" id="{3F4DCE1D-5817-ECFB-E52B-59D82B22EBA1}"/>
                  </a:ext>
                </a:extLst>
              </p:cNvPr>
              <p:cNvSpPr/>
              <p:nvPr/>
            </p:nvSpPr>
            <p:spPr>
              <a:xfrm>
                <a:off x="364847" y="4771043"/>
                <a:ext cx="4038920" cy="1562778"/>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476069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326400" y="396"/>
                    </a:lnTo>
                    <a:lnTo>
                      <a:pt x="1476069" y="0"/>
                    </a:lnTo>
                    <a:lnTo>
                      <a:pt x="1810264" y="968810"/>
                    </a:lnTo>
                    <a:lnTo>
                      <a:pt x="0" y="968810"/>
                    </a:lnTo>
                    <a:close/>
                  </a:path>
                </a:pathLst>
              </a:custGeom>
              <a:solidFill>
                <a:srgbClr val="FFC493"/>
              </a:solidFill>
              <a:ln w="9525">
                <a:solidFill>
                  <a:srgbClr val="DE6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cxnSp>
            <p:nvCxnSpPr>
              <p:cNvPr id="20" name="Straight Connector 19">
                <a:extLst>
                  <a:ext uri="{FF2B5EF4-FFF2-40B4-BE49-F238E27FC236}">
                    <a16:creationId xmlns:a16="http://schemas.microsoft.com/office/drawing/2014/main" id="{BF2703B7-8BA8-F83D-39B8-AE21A355DADA}"/>
                  </a:ext>
                </a:extLst>
              </p:cNvPr>
              <p:cNvCxnSpPr>
                <a:cxnSpLocks/>
              </p:cNvCxnSpPr>
              <p:nvPr/>
            </p:nvCxnSpPr>
            <p:spPr>
              <a:xfrm flipH="1">
                <a:off x="1833796" y="3312617"/>
                <a:ext cx="287660" cy="1488306"/>
              </a:xfrm>
              <a:prstGeom prst="line">
                <a:avLst/>
              </a:prstGeom>
              <a:ln w="9525">
                <a:solidFill>
                  <a:srgbClr val="FF8349"/>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93CD4CE-6AC5-DD4C-CB78-143774A8E4DB}"/>
                  </a:ext>
                </a:extLst>
              </p:cNvPr>
              <p:cNvCxnSpPr>
                <a:cxnSpLocks/>
              </p:cNvCxnSpPr>
              <p:nvPr/>
            </p:nvCxnSpPr>
            <p:spPr>
              <a:xfrm>
                <a:off x="2562892" y="4771043"/>
                <a:ext cx="106051" cy="1562778"/>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12D8BAE-8D56-9725-F643-074E62DF6E75}"/>
                  </a:ext>
                </a:extLst>
              </p:cNvPr>
              <p:cNvCxnSpPr>
                <a:cxnSpLocks/>
              </p:cNvCxnSpPr>
              <p:nvPr/>
            </p:nvCxnSpPr>
            <p:spPr>
              <a:xfrm flipH="1">
                <a:off x="2089604" y="4771042"/>
                <a:ext cx="76090" cy="1562779"/>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B3EBEA9-0A79-A7E3-F894-4B28FAA4C5B7}"/>
                  </a:ext>
                </a:extLst>
              </p:cNvPr>
              <p:cNvCxnSpPr>
                <a:cxnSpLocks/>
              </p:cNvCxnSpPr>
              <p:nvPr/>
            </p:nvCxnSpPr>
            <p:spPr>
              <a:xfrm flipH="1">
                <a:off x="957027" y="4771042"/>
                <a:ext cx="526604" cy="1562779"/>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0D2DAE0-655A-8904-A171-06BD356FBDE9}"/>
                  </a:ext>
                </a:extLst>
              </p:cNvPr>
              <p:cNvCxnSpPr>
                <a:cxnSpLocks/>
              </p:cNvCxnSpPr>
              <p:nvPr/>
            </p:nvCxnSpPr>
            <p:spPr>
              <a:xfrm>
                <a:off x="2706590" y="3312617"/>
                <a:ext cx="267090" cy="1459422"/>
              </a:xfrm>
              <a:prstGeom prst="line">
                <a:avLst/>
              </a:prstGeom>
              <a:ln w="9525">
                <a:solidFill>
                  <a:srgbClr val="FF8349"/>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8EFCDE7-800A-74A1-0C7B-F523BEAF3ADE}"/>
                  </a:ext>
                </a:extLst>
              </p:cNvPr>
              <p:cNvCxnSpPr>
                <a:cxnSpLocks/>
              </p:cNvCxnSpPr>
              <p:nvPr/>
            </p:nvCxnSpPr>
            <p:spPr>
              <a:xfrm>
                <a:off x="3336756" y="4771043"/>
                <a:ext cx="506582" cy="1563074"/>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907D1C3-5FC7-0F97-D568-491E5F8854C6}"/>
                  </a:ext>
                </a:extLst>
              </p:cNvPr>
              <p:cNvCxnSpPr>
                <a:cxnSpLocks/>
              </p:cNvCxnSpPr>
              <p:nvPr/>
            </p:nvCxnSpPr>
            <p:spPr>
              <a:xfrm flipH="1">
                <a:off x="1539549" y="4772039"/>
                <a:ext cx="300668" cy="1561783"/>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1C69722-4459-91A4-D3F0-56D38517D9B0}"/>
                  </a:ext>
                </a:extLst>
              </p:cNvPr>
              <p:cNvCxnSpPr>
                <a:cxnSpLocks/>
              </p:cNvCxnSpPr>
              <p:nvPr/>
            </p:nvCxnSpPr>
            <p:spPr>
              <a:xfrm>
                <a:off x="2973680" y="4778378"/>
                <a:ext cx="284662" cy="1555443"/>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EF8F2B9-30E8-9379-57C6-47CFD70C35B9}"/>
                  </a:ext>
                </a:extLst>
              </p:cNvPr>
              <p:cNvCxnSpPr>
                <a:cxnSpLocks/>
                <a:stCxn id="19" idx="1"/>
                <a:endCxn id="16" idx="3"/>
              </p:cNvCxnSpPr>
              <p:nvPr/>
            </p:nvCxnSpPr>
            <p:spPr>
              <a:xfrm flipV="1">
                <a:off x="1093085" y="4771043"/>
                <a:ext cx="2566294" cy="640"/>
              </a:xfrm>
              <a:prstGeom prst="line">
                <a:avLst/>
              </a:prstGeom>
              <a:ln w="9525">
                <a:solidFill>
                  <a:srgbClr val="FF8349"/>
                </a:solidFill>
              </a:ln>
            </p:spPr>
            <p:style>
              <a:lnRef idx="1">
                <a:schemeClr val="accent1"/>
              </a:lnRef>
              <a:fillRef idx="0">
                <a:schemeClr val="accent1"/>
              </a:fillRef>
              <a:effectRef idx="0">
                <a:schemeClr val="accent1"/>
              </a:effectRef>
              <a:fontRef idx="minor">
                <a:schemeClr val="tx1"/>
              </a:fontRef>
            </p:style>
          </p:cxnSp>
        </p:grpSp>
      </p:grpSp>
      <p:graphicFrame>
        <p:nvGraphicFramePr>
          <p:cNvPr id="4096" name="Chart 4095">
            <a:extLst>
              <a:ext uri="{FF2B5EF4-FFF2-40B4-BE49-F238E27FC236}">
                <a16:creationId xmlns:a16="http://schemas.microsoft.com/office/drawing/2014/main" id="{CE405BEA-19C2-041F-A55F-652C7BF6276F}"/>
              </a:ext>
            </a:extLst>
          </p:cNvPr>
          <p:cNvGraphicFramePr/>
          <p:nvPr>
            <p:extLst>
              <p:ext uri="{D42A27DB-BD31-4B8C-83A1-F6EECF244321}">
                <p14:modId xmlns:p14="http://schemas.microsoft.com/office/powerpoint/2010/main" val="748429933"/>
              </p:ext>
            </p:extLst>
          </p:nvPr>
        </p:nvGraphicFramePr>
        <p:xfrm>
          <a:off x="1828799" y="1997075"/>
          <a:ext cx="6815138" cy="4346575"/>
        </p:xfrm>
        <a:graphic>
          <a:graphicData uri="http://schemas.openxmlformats.org/drawingml/2006/chart">
            <c:chart xmlns:c="http://schemas.openxmlformats.org/drawingml/2006/chart" xmlns:r="http://schemas.openxmlformats.org/officeDocument/2006/relationships" r:id="rId37"/>
          </a:graphicData>
        </a:graphic>
      </p:graphicFrame>
      <p:sp>
        <p:nvSpPr>
          <p:cNvPr id="4097" name="TextBox 4096">
            <a:extLst>
              <a:ext uri="{FF2B5EF4-FFF2-40B4-BE49-F238E27FC236}">
                <a16:creationId xmlns:a16="http://schemas.microsoft.com/office/drawing/2014/main" id="{385CF072-FD13-9A23-92E7-5B4E2B769995}"/>
              </a:ext>
            </a:extLst>
          </p:cNvPr>
          <p:cNvSpPr txBox="1"/>
          <p:nvPr>
            <p:custDataLst>
              <p:tags r:id="rId2"/>
            </p:custDataLst>
          </p:nvPr>
        </p:nvSpPr>
        <p:spPr>
          <a:xfrm>
            <a:off x="1811338" y="4727575"/>
            <a:ext cx="779463"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Low</a:t>
            </a:r>
          </a:p>
        </p:txBody>
      </p:sp>
      <p:sp>
        <p:nvSpPr>
          <p:cNvPr id="4098" name="TextBox 4097">
            <a:extLst>
              <a:ext uri="{FF2B5EF4-FFF2-40B4-BE49-F238E27FC236}">
                <a16:creationId xmlns:a16="http://schemas.microsoft.com/office/drawing/2014/main" id="{F396E3DB-132D-C8E1-9913-A0978E9A5683}"/>
              </a:ext>
            </a:extLst>
          </p:cNvPr>
          <p:cNvSpPr txBox="1"/>
          <p:nvPr>
            <p:custDataLst>
              <p:tags r:id="rId3"/>
            </p:custDataLst>
          </p:nvPr>
        </p:nvSpPr>
        <p:spPr>
          <a:xfrm>
            <a:off x="1811338" y="2425700"/>
            <a:ext cx="779463"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High</a:t>
            </a:r>
          </a:p>
        </p:txBody>
      </p:sp>
      <p:sp>
        <p:nvSpPr>
          <p:cNvPr id="4099" name="TextBox 4098">
            <a:extLst>
              <a:ext uri="{FF2B5EF4-FFF2-40B4-BE49-F238E27FC236}">
                <a16:creationId xmlns:a16="http://schemas.microsoft.com/office/drawing/2014/main" id="{3E5DDD36-E083-DCC8-70C3-EA6E7C3CA4FC}"/>
              </a:ext>
            </a:extLst>
          </p:cNvPr>
          <p:cNvSpPr txBox="1"/>
          <p:nvPr/>
        </p:nvSpPr>
        <p:spPr>
          <a:xfrm rot="16200000">
            <a:off x="1068388" y="3665538"/>
            <a:ext cx="1836738"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sng"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Offering level</a:t>
            </a:r>
          </a:p>
        </p:txBody>
      </p:sp>
      <p:sp>
        <p:nvSpPr>
          <p:cNvPr id="4100" name="TextBox 4099">
            <a:extLst>
              <a:ext uri="{FF2B5EF4-FFF2-40B4-BE49-F238E27FC236}">
                <a16:creationId xmlns:a16="http://schemas.microsoft.com/office/drawing/2014/main" id="{D5C8C610-2484-B85B-A87C-DA1F9A706BC4}"/>
              </a:ext>
            </a:extLst>
          </p:cNvPr>
          <p:cNvSpPr txBox="1"/>
          <p:nvPr>
            <p:custDataLst>
              <p:tags r:id="rId4"/>
            </p:custDataLst>
          </p:nvPr>
        </p:nvSpPr>
        <p:spPr>
          <a:xfrm>
            <a:off x="695325" y="1333778"/>
            <a:ext cx="7059613" cy="369332"/>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GB" b="1" noProof="0">
                <a:solidFill>
                  <a:prstClr val="black"/>
                </a:solidFill>
                <a:latin typeface="Avenir Next LT Pro" panose="020B0504020202020204" pitchFamily="34" charset="0"/>
                <a:cs typeface="Arial"/>
                <a:sym typeface="Arial"/>
              </a:rPr>
              <a:t>What the Strategy Value Curve is and How it works</a:t>
            </a:r>
            <a:endParaRPr kumimoji="0" lang="en-GB" sz="1800" b="1"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endParaRPr>
          </a:p>
        </p:txBody>
      </p:sp>
      <p:sp>
        <p:nvSpPr>
          <p:cNvPr id="4101" name="Rectangle: Rounded Corners 4100">
            <a:extLst>
              <a:ext uri="{FF2B5EF4-FFF2-40B4-BE49-F238E27FC236}">
                <a16:creationId xmlns:a16="http://schemas.microsoft.com/office/drawing/2014/main" id="{F79FB2C4-D332-EA6B-74E9-E869020BE9F5}"/>
              </a:ext>
            </a:extLst>
          </p:cNvPr>
          <p:cNvSpPr/>
          <p:nvPr/>
        </p:nvSpPr>
        <p:spPr>
          <a:xfrm>
            <a:off x="2590801" y="2000250"/>
            <a:ext cx="5343524" cy="390525"/>
          </a:xfrm>
          <a:prstGeom prst="roundRect">
            <a:avLst/>
          </a:prstGeom>
          <a:noFill/>
          <a:ln w="6350"/>
        </p:spPr>
        <p:style>
          <a:lnRef idx="2">
            <a:schemeClr val="accent1"/>
          </a:lnRef>
          <a:fillRef idx="1">
            <a:schemeClr val="lt1"/>
          </a:fillRef>
          <a:effectRef idx="0">
            <a:schemeClr val="accent1"/>
          </a:effectRef>
          <a:fontRef idx="minor">
            <a:schemeClr val="dk1"/>
          </a:fontRef>
        </p:style>
        <p:txBody>
          <a:bodyPr rtlCol="0" anchor="t"/>
          <a:lstStyle/>
          <a:p>
            <a:pPr algn="ctr"/>
            <a:endParaRPr lang="en-GB" sz="1200" noProof="0">
              <a:solidFill>
                <a:srgbClr val="776E6A"/>
              </a:solidFill>
            </a:endParaRPr>
          </a:p>
        </p:txBody>
      </p:sp>
      <p:sp>
        <p:nvSpPr>
          <p:cNvPr id="4102" name="Rectangle 4101">
            <a:extLst>
              <a:ext uri="{FF2B5EF4-FFF2-40B4-BE49-F238E27FC236}">
                <a16:creationId xmlns:a16="http://schemas.microsoft.com/office/drawing/2014/main" id="{2BDEC43D-6C8F-A9A7-74E5-77B314FFAA9A}"/>
              </a:ext>
            </a:extLst>
          </p:cNvPr>
          <p:cNvSpPr/>
          <p:nvPr/>
        </p:nvSpPr>
        <p:spPr>
          <a:xfrm>
            <a:off x="4371975" y="1909763"/>
            <a:ext cx="1804988" cy="18573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noProof="0">
                <a:solidFill>
                  <a:srgbClr val="776E6A"/>
                </a:solidFill>
              </a:rPr>
              <a:t>Relative Performance</a:t>
            </a:r>
          </a:p>
        </p:txBody>
      </p:sp>
      <p:sp>
        <p:nvSpPr>
          <p:cNvPr id="4103" name="TextBox 4102">
            <a:extLst>
              <a:ext uri="{FF2B5EF4-FFF2-40B4-BE49-F238E27FC236}">
                <a16:creationId xmlns:a16="http://schemas.microsoft.com/office/drawing/2014/main" id="{A06EB716-403D-7AC5-E67C-CF2A6C49EB17}"/>
              </a:ext>
            </a:extLst>
          </p:cNvPr>
          <p:cNvSpPr txBox="1"/>
          <p:nvPr>
            <p:custDataLst>
              <p:tags r:id="rId5"/>
            </p:custDataLst>
          </p:nvPr>
        </p:nvSpPr>
        <p:spPr>
          <a:xfrm>
            <a:off x="1116180" y="5680075"/>
            <a:ext cx="1231900"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Importance</a:t>
            </a:r>
          </a:p>
        </p:txBody>
      </p:sp>
      <p:sp>
        <p:nvSpPr>
          <p:cNvPr id="4104" name="TextBox 4103">
            <a:extLst>
              <a:ext uri="{FF2B5EF4-FFF2-40B4-BE49-F238E27FC236}">
                <a16:creationId xmlns:a16="http://schemas.microsoft.com/office/drawing/2014/main" id="{B82C6D4F-8F88-8FB7-5F43-6893D38482C5}"/>
              </a:ext>
            </a:extLst>
          </p:cNvPr>
          <p:cNvSpPr txBox="1"/>
          <p:nvPr>
            <p:custDataLst>
              <p:tags r:id="rId6"/>
            </p:custDataLst>
          </p:nvPr>
        </p:nvSpPr>
        <p:spPr>
          <a:xfrm>
            <a:off x="4264025" y="6019800"/>
            <a:ext cx="2222500"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sng"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Competing Factors</a:t>
            </a:r>
          </a:p>
        </p:txBody>
      </p:sp>
      <p:sp>
        <p:nvSpPr>
          <p:cNvPr id="4105" name="Rectangle 4104">
            <a:extLst>
              <a:ext uri="{FF2B5EF4-FFF2-40B4-BE49-F238E27FC236}">
                <a16:creationId xmlns:a16="http://schemas.microsoft.com/office/drawing/2014/main" id="{34725699-9984-C865-F5DC-1845EAF87B81}"/>
              </a:ext>
            </a:extLst>
          </p:cNvPr>
          <p:cNvSpPr/>
          <p:nvPr/>
        </p:nvSpPr>
        <p:spPr>
          <a:xfrm>
            <a:off x="490538" y="2093913"/>
            <a:ext cx="1016000" cy="238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noProof="0">
                <a:solidFill>
                  <a:schemeClr val="bg1"/>
                </a:solidFill>
              </a:rPr>
              <a:t>Price</a:t>
            </a:r>
          </a:p>
        </p:txBody>
      </p:sp>
      <p:cxnSp>
        <p:nvCxnSpPr>
          <p:cNvPr id="4106" name="Straight Connector 4105">
            <a:extLst>
              <a:ext uri="{FF2B5EF4-FFF2-40B4-BE49-F238E27FC236}">
                <a16:creationId xmlns:a16="http://schemas.microsoft.com/office/drawing/2014/main" id="{9B97AF85-CEC2-9C98-DA51-9E1344818D4B}"/>
              </a:ext>
            </a:extLst>
          </p:cNvPr>
          <p:cNvCxnSpPr/>
          <p:nvPr>
            <p:custDataLst>
              <p:tags r:id="rId7"/>
            </p:custDataLst>
          </p:nvPr>
        </p:nvCxnSpPr>
        <p:spPr bwMode="auto">
          <a:xfrm flipH="1">
            <a:off x="601663" y="5400675"/>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07" name="Straight Connector 4106">
            <a:extLst>
              <a:ext uri="{FF2B5EF4-FFF2-40B4-BE49-F238E27FC236}">
                <a16:creationId xmlns:a16="http://schemas.microsoft.com/office/drawing/2014/main" id="{76216ABE-76B2-369F-A821-38D0C7473688}"/>
              </a:ext>
            </a:extLst>
          </p:cNvPr>
          <p:cNvCxnSpPr/>
          <p:nvPr>
            <p:custDataLst>
              <p:tags r:id="rId8"/>
            </p:custDataLst>
          </p:nvPr>
        </p:nvCxnSpPr>
        <p:spPr bwMode="auto">
          <a:xfrm flipH="1">
            <a:off x="601663" y="4821238"/>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08" name="Straight Connector 4107">
            <a:extLst>
              <a:ext uri="{FF2B5EF4-FFF2-40B4-BE49-F238E27FC236}">
                <a16:creationId xmlns:a16="http://schemas.microsoft.com/office/drawing/2014/main" id="{CF0F0FA5-382B-D3EA-77F5-6F433A287F55}"/>
              </a:ext>
            </a:extLst>
          </p:cNvPr>
          <p:cNvCxnSpPr/>
          <p:nvPr>
            <p:custDataLst>
              <p:tags r:id="rId9"/>
            </p:custDataLst>
          </p:nvPr>
        </p:nvCxnSpPr>
        <p:spPr bwMode="auto">
          <a:xfrm flipH="1">
            <a:off x="601663" y="4532313"/>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09" name="Straight Connector 4108">
            <a:extLst>
              <a:ext uri="{FF2B5EF4-FFF2-40B4-BE49-F238E27FC236}">
                <a16:creationId xmlns:a16="http://schemas.microsoft.com/office/drawing/2014/main" id="{4EC45903-C74C-912C-59EE-708DCE1A7DA1}"/>
              </a:ext>
            </a:extLst>
          </p:cNvPr>
          <p:cNvCxnSpPr/>
          <p:nvPr>
            <p:custDataLst>
              <p:tags r:id="rId10"/>
            </p:custDataLst>
          </p:nvPr>
        </p:nvCxnSpPr>
        <p:spPr bwMode="auto">
          <a:xfrm flipH="1">
            <a:off x="601663" y="3952875"/>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10" name="Straight Connector 4109">
            <a:extLst>
              <a:ext uri="{FF2B5EF4-FFF2-40B4-BE49-F238E27FC236}">
                <a16:creationId xmlns:a16="http://schemas.microsoft.com/office/drawing/2014/main" id="{C7241F69-3CD9-2B21-6ECF-A7D3CA7D8529}"/>
              </a:ext>
            </a:extLst>
          </p:cNvPr>
          <p:cNvCxnSpPr/>
          <p:nvPr>
            <p:custDataLst>
              <p:tags r:id="rId11"/>
            </p:custDataLst>
          </p:nvPr>
        </p:nvCxnSpPr>
        <p:spPr bwMode="auto">
          <a:xfrm flipH="1">
            <a:off x="601663" y="3662363"/>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11" name="Straight Connector 4110">
            <a:extLst>
              <a:ext uri="{FF2B5EF4-FFF2-40B4-BE49-F238E27FC236}">
                <a16:creationId xmlns:a16="http://schemas.microsoft.com/office/drawing/2014/main" id="{17A076DB-3477-349B-961C-8DC6D94D3F34}"/>
              </a:ext>
            </a:extLst>
          </p:cNvPr>
          <p:cNvCxnSpPr/>
          <p:nvPr>
            <p:custDataLst>
              <p:tags r:id="rId12"/>
            </p:custDataLst>
          </p:nvPr>
        </p:nvCxnSpPr>
        <p:spPr bwMode="auto">
          <a:xfrm flipH="1">
            <a:off x="601663" y="3082925"/>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12" name="Straight Connector 4111">
            <a:extLst>
              <a:ext uri="{FF2B5EF4-FFF2-40B4-BE49-F238E27FC236}">
                <a16:creationId xmlns:a16="http://schemas.microsoft.com/office/drawing/2014/main" id="{00BD827C-0BA2-A229-145F-D5505AB514C8}"/>
              </a:ext>
            </a:extLst>
          </p:cNvPr>
          <p:cNvCxnSpPr/>
          <p:nvPr>
            <p:custDataLst>
              <p:tags r:id="rId13"/>
            </p:custDataLst>
          </p:nvPr>
        </p:nvCxnSpPr>
        <p:spPr bwMode="auto">
          <a:xfrm flipH="1">
            <a:off x="601663" y="2794000"/>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3" name="Chart 32">
            <a:extLst>
              <a:ext uri="{FF2B5EF4-FFF2-40B4-BE49-F238E27FC236}">
                <a16:creationId xmlns:a16="http://schemas.microsoft.com/office/drawing/2014/main" id="{7F7BAD80-DD91-6621-02D7-12F1256E5044}"/>
              </a:ext>
            </a:extLst>
          </p:cNvPr>
          <p:cNvGraphicFramePr/>
          <p:nvPr>
            <p:custDataLst>
              <p:tags r:id="rId14"/>
            </p:custDataLst>
            <p:extLst>
              <p:ext uri="{D42A27DB-BD31-4B8C-83A1-F6EECF244321}">
                <p14:modId xmlns:p14="http://schemas.microsoft.com/office/powerpoint/2010/main" val="1171214094"/>
              </p:ext>
            </p:extLst>
          </p:nvPr>
        </p:nvGraphicFramePr>
        <p:xfrm>
          <a:off x="561975" y="2711450"/>
          <a:ext cx="819150" cy="2771775"/>
        </p:xfrm>
        <a:graphic>
          <a:graphicData uri="http://schemas.openxmlformats.org/drawingml/2006/chart">
            <c:chart xmlns:c="http://schemas.openxmlformats.org/drawingml/2006/chart" xmlns:r="http://schemas.openxmlformats.org/officeDocument/2006/relationships" r:id="rId38"/>
          </a:graphicData>
        </a:graphic>
      </p:graphicFrame>
      <p:sp>
        <p:nvSpPr>
          <p:cNvPr id="4114" name="Rectangle 4113">
            <a:extLst>
              <a:ext uri="{FF2B5EF4-FFF2-40B4-BE49-F238E27FC236}">
                <a16:creationId xmlns:a16="http://schemas.microsoft.com/office/drawing/2014/main" id="{B9D3423A-E6DC-B585-DDD7-0C584BB44786}"/>
              </a:ext>
            </a:extLst>
          </p:cNvPr>
          <p:cNvSpPr/>
          <p:nvPr>
            <p:custDataLst>
              <p:tags r:id="rId15"/>
            </p:custDataLst>
          </p:nvPr>
        </p:nvSpPr>
        <p:spPr bwMode="gray">
          <a:xfrm>
            <a:off x="447675" y="5337175"/>
            <a:ext cx="68263" cy="136525"/>
          </a:xfrm>
          <a:prstGeom prst="rect">
            <a:avLst/>
          </a:prstGeom>
          <a:noFill/>
          <a:ln>
            <a:noFill/>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2CBEF36C-4802-4FB8-AD19-189396A37503}" type="datetime'''''0'''''''''''''''''''''''''''''''''">
              <a:rPr lang="en-GB" sz="1000" noProof="0" smtClean="0">
                <a:solidFill>
                  <a:schemeClr val="tx1"/>
                </a:solidFill>
              </a:rPr>
              <a:pPr algn="r">
                <a:lnSpc>
                  <a:spcPct val="90000"/>
                </a:lnSpc>
                <a:spcBef>
                  <a:spcPct val="0"/>
                </a:spcBef>
                <a:spcAft>
                  <a:spcPct val="0"/>
                </a:spcAft>
              </a:pPr>
              <a:t>0</a:t>
            </a:fld>
            <a:endParaRPr lang="en-GB" sz="1000" noProof="0">
              <a:solidFill>
                <a:schemeClr val="tx1"/>
              </a:solidFill>
            </a:endParaRPr>
          </a:p>
        </p:txBody>
      </p:sp>
      <p:sp>
        <p:nvSpPr>
          <p:cNvPr id="4115" name="Rectangle 4114">
            <a:extLst>
              <a:ext uri="{FF2B5EF4-FFF2-40B4-BE49-F238E27FC236}">
                <a16:creationId xmlns:a16="http://schemas.microsoft.com/office/drawing/2014/main" id="{8E9FD18D-33A5-FB89-04A6-6E3F5FF34BB4}"/>
              </a:ext>
            </a:extLst>
          </p:cNvPr>
          <p:cNvSpPr/>
          <p:nvPr>
            <p:custDataLst>
              <p:tags r:id="rId16"/>
            </p:custDataLst>
          </p:nvPr>
        </p:nvSpPr>
        <p:spPr bwMode="gray">
          <a:xfrm>
            <a:off x="285750" y="4757738"/>
            <a:ext cx="230188" cy="136525"/>
          </a:xfrm>
          <a:prstGeom prst="rect">
            <a:avLst/>
          </a:prstGeom>
          <a:noFill/>
          <a:ln>
            <a:noFill/>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6841A3B1-42E1-4BF8-8324-0779962AA0B0}" type="datetime'''''''''''''4''''''''0'''''''''''">
              <a:rPr lang="en-GB" sz="1000" noProof="0" smtClean="0">
                <a:solidFill>
                  <a:schemeClr val="tx1"/>
                </a:solidFill>
              </a:rPr>
              <a:pPr algn="r">
                <a:lnSpc>
                  <a:spcPct val="90000"/>
                </a:lnSpc>
                <a:spcBef>
                  <a:spcPct val="0"/>
                </a:spcBef>
                <a:spcAft>
                  <a:spcPct val="0"/>
                </a:spcAft>
              </a:pPr>
              <a:t>40</a:t>
            </a:fld>
            <a:r>
              <a:rPr lang="en-GB" sz="1000" noProof="0">
                <a:solidFill>
                  <a:schemeClr val="tx1"/>
                </a:solidFill>
              </a:rPr>
              <a:t> €</a:t>
            </a:r>
          </a:p>
        </p:txBody>
      </p:sp>
      <p:sp>
        <p:nvSpPr>
          <p:cNvPr id="4116" name="Rectangle 4115">
            <a:extLst>
              <a:ext uri="{FF2B5EF4-FFF2-40B4-BE49-F238E27FC236}">
                <a16:creationId xmlns:a16="http://schemas.microsoft.com/office/drawing/2014/main" id="{5572BEFB-C92A-11AD-C1F9-E2CA260D2865}"/>
              </a:ext>
            </a:extLst>
          </p:cNvPr>
          <p:cNvSpPr/>
          <p:nvPr>
            <p:custDataLst>
              <p:tags r:id="rId17"/>
            </p:custDataLst>
          </p:nvPr>
        </p:nvSpPr>
        <p:spPr bwMode="gray">
          <a:xfrm>
            <a:off x="285750" y="4468813"/>
            <a:ext cx="230188" cy="136525"/>
          </a:xfrm>
          <a:prstGeom prst="rect">
            <a:avLst/>
          </a:prstGeom>
          <a:noFill/>
          <a:ln>
            <a:noFill/>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739D5C9C-91F7-404F-B282-931B4A3C9A2C}" type="datetime'''''''6''''''''0'''''''''''''''''''''''">
              <a:rPr lang="en-GB" sz="1000" noProof="0" smtClean="0">
                <a:solidFill>
                  <a:schemeClr val="tx1"/>
                </a:solidFill>
              </a:rPr>
              <a:pPr algn="r">
                <a:lnSpc>
                  <a:spcPct val="90000"/>
                </a:lnSpc>
                <a:spcBef>
                  <a:spcPct val="0"/>
                </a:spcBef>
                <a:spcAft>
                  <a:spcPct val="0"/>
                </a:spcAft>
              </a:pPr>
              <a:t>60</a:t>
            </a:fld>
            <a:r>
              <a:rPr lang="en-GB" sz="1000" noProof="0">
                <a:solidFill>
                  <a:schemeClr val="tx1"/>
                </a:solidFill>
              </a:rPr>
              <a:t> €</a:t>
            </a:r>
          </a:p>
        </p:txBody>
      </p:sp>
      <p:sp>
        <p:nvSpPr>
          <p:cNvPr id="4117" name="Rectangle 4116">
            <a:extLst>
              <a:ext uri="{FF2B5EF4-FFF2-40B4-BE49-F238E27FC236}">
                <a16:creationId xmlns:a16="http://schemas.microsoft.com/office/drawing/2014/main" id="{B4DF0FE9-F6F4-F8C8-55AF-9BF5E2E85F00}"/>
              </a:ext>
            </a:extLst>
          </p:cNvPr>
          <p:cNvSpPr/>
          <p:nvPr>
            <p:custDataLst>
              <p:tags r:id="rId18"/>
            </p:custDataLst>
          </p:nvPr>
        </p:nvSpPr>
        <p:spPr bwMode="gray">
          <a:xfrm>
            <a:off x="217488" y="3889375"/>
            <a:ext cx="298450" cy="136525"/>
          </a:xfrm>
          <a:prstGeom prst="rect">
            <a:avLst/>
          </a:prstGeom>
          <a:noFill/>
          <a:ln>
            <a:noFill/>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297A1883-36C2-4C0D-BAE1-1551617FC1BB}" type="datetime'''''''''''''10''''''''''''''''''''''''''''''''''''0'''''''''">
              <a:rPr lang="en-GB" sz="1000" noProof="0" smtClean="0">
                <a:solidFill>
                  <a:schemeClr val="tx1"/>
                </a:solidFill>
              </a:rPr>
              <a:pPr algn="r">
                <a:lnSpc>
                  <a:spcPct val="90000"/>
                </a:lnSpc>
                <a:spcBef>
                  <a:spcPct val="0"/>
                </a:spcBef>
                <a:spcAft>
                  <a:spcPct val="0"/>
                </a:spcAft>
              </a:pPr>
              <a:t>100</a:t>
            </a:fld>
            <a:r>
              <a:rPr lang="en-GB" sz="1000" noProof="0">
                <a:solidFill>
                  <a:schemeClr val="tx1"/>
                </a:solidFill>
              </a:rPr>
              <a:t> €</a:t>
            </a:r>
          </a:p>
        </p:txBody>
      </p:sp>
      <p:sp>
        <p:nvSpPr>
          <p:cNvPr id="4118" name="Rectangle 4117">
            <a:extLst>
              <a:ext uri="{FF2B5EF4-FFF2-40B4-BE49-F238E27FC236}">
                <a16:creationId xmlns:a16="http://schemas.microsoft.com/office/drawing/2014/main" id="{A7897BA5-90FA-5D6F-E5BA-239C20E8120F}"/>
              </a:ext>
            </a:extLst>
          </p:cNvPr>
          <p:cNvSpPr/>
          <p:nvPr>
            <p:custDataLst>
              <p:tags r:id="rId19"/>
            </p:custDataLst>
          </p:nvPr>
        </p:nvSpPr>
        <p:spPr bwMode="gray">
          <a:xfrm>
            <a:off x="217488" y="3598863"/>
            <a:ext cx="298450" cy="136525"/>
          </a:xfrm>
          <a:prstGeom prst="rect">
            <a:avLst/>
          </a:prstGeom>
          <a:noFill/>
          <a:ln>
            <a:noFill/>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C1B3EAF6-C0D3-48C8-8C48-C59DCDC69B70}" type="datetime'''''''''''1''''''''2''''''''0'''''''''''''''''''''">
              <a:rPr lang="en-GB" sz="1000" noProof="0" smtClean="0">
                <a:solidFill>
                  <a:schemeClr val="tx1"/>
                </a:solidFill>
              </a:rPr>
              <a:pPr algn="r">
                <a:lnSpc>
                  <a:spcPct val="90000"/>
                </a:lnSpc>
                <a:spcBef>
                  <a:spcPct val="0"/>
                </a:spcBef>
                <a:spcAft>
                  <a:spcPct val="0"/>
                </a:spcAft>
              </a:pPr>
              <a:t>120</a:t>
            </a:fld>
            <a:r>
              <a:rPr lang="en-GB" sz="1000" noProof="0">
                <a:solidFill>
                  <a:schemeClr val="tx1"/>
                </a:solidFill>
              </a:rPr>
              <a:t> €</a:t>
            </a:r>
          </a:p>
        </p:txBody>
      </p:sp>
      <p:sp>
        <p:nvSpPr>
          <p:cNvPr id="4119" name="Rectangle 4118">
            <a:extLst>
              <a:ext uri="{FF2B5EF4-FFF2-40B4-BE49-F238E27FC236}">
                <a16:creationId xmlns:a16="http://schemas.microsoft.com/office/drawing/2014/main" id="{8FC2DCA4-D9C1-730B-05CD-1B8E42D65157}"/>
              </a:ext>
            </a:extLst>
          </p:cNvPr>
          <p:cNvSpPr/>
          <p:nvPr>
            <p:custDataLst>
              <p:tags r:id="rId20"/>
            </p:custDataLst>
          </p:nvPr>
        </p:nvSpPr>
        <p:spPr bwMode="gray">
          <a:xfrm>
            <a:off x="217488" y="3019425"/>
            <a:ext cx="298450" cy="136525"/>
          </a:xfrm>
          <a:prstGeom prst="rect">
            <a:avLst/>
          </a:prstGeom>
          <a:noFill/>
          <a:ln>
            <a:noFill/>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DD8CC7C6-1271-4CCA-B82E-685C6F2242DA}" type="datetime'''''''''''''1''''''''''''''''''''''''''''''6''''''''''0'''''">
              <a:rPr lang="en-GB" sz="1000" noProof="0" smtClean="0">
                <a:solidFill>
                  <a:schemeClr val="tx1"/>
                </a:solidFill>
              </a:rPr>
              <a:pPr algn="r">
                <a:lnSpc>
                  <a:spcPct val="90000"/>
                </a:lnSpc>
                <a:spcBef>
                  <a:spcPct val="0"/>
                </a:spcBef>
                <a:spcAft>
                  <a:spcPct val="0"/>
                </a:spcAft>
              </a:pPr>
              <a:t>160</a:t>
            </a:fld>
            <a:r>
              <a:rPr lang="en-GB" sz="1000" noProof="0">
                <a:solidFill>
                  <a:schemeClr val="tx1"/>
                </a:solidFill>
              </a:rPr>
              <a:t> €</a:t>
            </a:r>
          </a:p>
        </p:txBody>
      </p:sp>
      <p:sp>
        <p:nvSpPr>
          <p:cNvPr id="4120" name="Rectangle 4119">
            <a:extLst>
              <a:ext uri="{FF2B5EF4-FFF2-40B4-BE49-F238E27FC236}">
                <a16:creationId xmlns:a16="http://schemas.microsoft.com/office/drawing/2014/main" id="{C0BCEE1B-CCBC-EE1C-8694-CA506FF4617E}"/>
              </a:ext>
            </a:extLst>
          </p:cNvPr>
          <p:cNvSpPr/>
          <p:nvPr>
            <p:custDataLst>
              <p:tags r:id="rId21"/>
            </p:custDataLst>
          </p:nvPr>
        </p:nvSpPr>
        <p:spPr bwMode="gray">
          <a:xfrm>
            <a:off x="217488" y="2730500"/>
            <a:ext cx="298450" cy="136525"/>
          </a:xfrm>
          <a:prstGeom prst="rect">
            <a:avLst/>
          </a:prstGeom>
          <a:noFill/>
          <a:ln>
            <a:noFill/>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353B0591-3A3C-4E73-AA18-FBB343C7836D}" type="datetime'''''''''''''18''''''0'''''''''''''''''''''''''''''''''">
              <a:rPr lang="en-GB" sz="1000" noProof="0" smtClean="0">
                <a:solidFill>
                  <a:schemeClr val="tx1"/>
                </a:solidFill>
              </a:rPr>
              <a:pPr algn="r">
                <a:lnSpc>
                  <a:spcPct val="90000"/>
                </a:lnSpc>
                <a:spcBef>
                  <a:spcPct val="0"/>
                </a:spcBef>
                <a:spcAft>
                  <a:spcPct val="0"/>
                </a:spcAft>
              </a:pPr>
              <a:t>180</a:t>
            </a:fld>
            <a:r>
              <a:rPr lang="en-GB" sz="1000" noProof="0">
                <a:solidFill>
                  <a:schemeClr val="tx1"/>
                </a:solidFill>
              </a:rPr>
              <a:t> €</a:t>
            </a:r>
          </a:p>
        </p:txBody>
      </p:sp>
      <p:cxnSp>
        <p:nvCxnSpPr>
          <p:cNvPr id="4121" name="Straight Connector 4120">
            <a:extLst>
              <a:ext uri="{FF2B5EF4-FFF2-40B4-BE49-F238E27FC236}">
                <a16:creationId xmlns:a16="http://schemas.microsoft.com/office/drawing/2014/main" id="{314A9D77-0490-040D-6B4D-138F242AECE2}"/>
              </a:ext>
            </a:extLst>
          </p:cNvPr>
          <p:cNvCxnSpPr>
            <a:cxnSpLocks/>
          </p:cNvCxnSpPr>
          <p:nvPr>
            <p:custDataLst>
              <p:tags r:id="rId22"/>
            </p:custDataLst>
          </p:nvPr>
        </p:nvCxnSpPr>
        <p:spPr bwMode="auto">
          <a:xfrm>
            <a:off x="930275" y="2668588"/>
            <a:ext cx="41275" cy="1254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22" name="Straight Connector 4121">
            <a:extLst>
              <a:ext uri="{FF2B5EF4-FFF2-40B4-BE49-F238E27FC236}">
                <a16:creationId xmlns:a16="http://schemas.microsoft.com/office/drawing/2014/main" id="{8BDF6E4B-DB29-508F-21DD-DF85AB025DFD}"/>
              </a:ext>
            </a:extLst>
          </p:cNvPr>
          <p:cNvCxnSpPr>
            <a:cxnSpLocks/>
          </p:cNvCxnSpPr>
          <p:nvPr>
            <p:custDataLst>
              <p:tags r:id="rId23"/>
            </p:custDataLst>
          </p:nvPr>
        </p:nvCxnSpPr>
        <p:spPr bwMode="auto">
          <a:xfrm flipH="1">
            <a:off x="1014413" y="2795588"/>
            <a:ext cx="39688"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23" name="Straight Connector 4122">
            <a:extLst>
              <a:ext uri="{FF2B5EF4-FFF2-40B4-BE49-F238E27FC236}">
                <a16:creationId xmlns:a16="http://schemas.microsoft.com/office/drawing/2014/main" id="{049B8857-18D0-1D9C-97DA-022F48C6803C}"/>
              </a:ext>
            </a:extLst>
          </p:cNvPr>
          <p:cNvCxnSpPr>
            <a:cxnSpLocks/>
          </p:cNvCxnSpPr>
          <p:nvPr>
            <p:custDataLst>
              <p:tags r:id="rId24"/>
            </p:custDataLst>
          </p:nvPr>
        </p:nvCxnSpPr>
        <p:spPr bwMode="auto">
          <a:xfrm flipH="1">
            <a:off x="1000125" y="3575050"/>
            <a:ext cx="50800" cy="555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24" name="Straight Connector 4123">
            <a:extLst>
              <a:ext uri="{FF2B5EF4-FFF2-40B4-BE49-F238E27FC236}">
                <a16:creationId xmlns:a16="http://schemas.microsoft.com/office/drawing/2014/main" id="{5CB7DEF0-A365-A848-DD9F-B5CACC7E6DB8}"/>
              </a:ext>
            </a:extLst>
          </p:cNvPr>
          <p:cNvCxnSpPr>
            <a:cxnSpLocks/>
          </p:cNvCxnSpPr>
          <p:nvPr>
            <p:custDataLst>
              <p:tags r:id="rId25"/>
            </p:custDataLst>
          </p:nvPr>
        </p:nvCxnSpPr>
        <p:spPr bwMode="auto">
          <a:xfrm flipH="1">
            <a:off x="1000125" y="4400550"/>
            <a:ext cx="95250" cy="1000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125" name="Rectangle 4124">
            <a:extLst>
              <a:ext uri="{FF2B5EF4-FFF2-40B4-BE49-F238E27FC236}">
                <a16:creationId xmlns:a16="http://schemas.microsoft.com/office/drawing/2014/main" id="{B563564C-8681-9C13-9D6C-1F9103733617}"/>
              </a:ext>
            </a:extLst>
          </p:cNvPr>
          <p:cNvSpPr/>
          <p:nvPr>
            <p:custDataLst>
              <p:tags r:id="rId26"/>
            </p:custDataLst>
          </p:nvPr>
        </p:nvSpPr>
        <p:spPr bwMode="gray">
          <a:xfrm>
            <a:off x="425450" y="2517775"/>
            <a:ext cx="9636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t"/>
          <a:lstStyle/>
          <a:p>
            <a:pPr>
              <a:lnSpc>
                <a:spcPct val="90000"/>
              </a:lnSpc>
              <a:spcBef>
                <a:spcPct val="0"/>
              </a:spcBef>
              <a:spcAft>
                <a:spcPct val="0"/>
              </a:spcAft>
            </a:pPr>
            <a:fld id="{ED380369-566F-4CFF-8B9C-0284604E6697}" type="datetime'''Org''a''n''i''''sa''''''''t''i''''''''''o''n'' ''''1'''''''">
              <a:rPr lang="en-GB" sz="1100" b="1" noProof="0" smtClean="0">
                <a:solidFill>
                  <a:schemeClr val="tx1"/>
                </a:solidFill>
              </a:rPr>
              <a:pPr>
                <a:lnSpc>
                  <a:spcPct val="90000"/>
                </a:lnSpc>
                <a:spcBef>
                  <a:spcPct val="0"/>
                </a:spcBef>
                <a:spcAft>
                  <a:spcPct val="0"/>
                </a:spcAft>
              </a:pPr>
              <a:t>Organisation 1</a:t>
            </a:fld>
            <a:endParaRPr lang="en-GB" sz="1100" b="1" noProof="0">
              <a:solidFill>
                <a:schemeClr val="tx1"/>
              </a:solidFill>
            </a:endParaRPr>
          </a:p>
        </p:txBody>
      </p:sp>
      <p:sp>
        <p:nvSpPr>
          <p:cNvPr id="4126" name="Rectangle 4125">
            <a:extLst>
              <a:ext uri="{FF2B5EF4-FFF2-40B4-BE49-F238E27FC236}">
                <a16:creationId xmlns:a16="http://schemas.microsoft.com/office/drawing/2014/main" id="{C25339CE-F6FA-73FF-71ED-D8A33E3B3498}"/>
              </a:ext>
            </a:extLst>
          </p:cNvPr>
          <p:cNvSpPr/>
          <p:nvPr>
            <p:custDataLst>
              <p:tags r:id="rId27"/>
            </p:custDataLst>
          </p:nvPr>
        </p:nvSpPr>
        <p:spPr bwMode="gray">
          <a:xfrm>
            <a:off x="1054100" y="2725738"/>
            <a:ext cx="3397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t"/>
          <a:lstStyle/>
          <a:p>
            <a:pPr>
              <a:lnSpc>
                <a:spcPct val="90000"/>
              </a:lnSpc>
              <a:spcBef>
                <a:spcPct val="0"/>
              </a:spcBef>
              <a:spcAft>
                <a:spcPct val="0"/>
              </a:spcAft>
            </a:pPr>
            <a:fld id="{6F01E9B8-33D1-4EE9-A43D-206882995CB7}" type="datetime'1''''''''''''8''''''''''''''''''''0'''">
              <a:rPr lang="en-GB" sz="1100" noProof="0" smtClean="0">
                <a:solidFill>
                  <a:srgbClr val="000000"/>
                </a:solidFill>
              </a:rPr>
              <a:pPr>
                <a:lnSpc>
                  <a:spcPct val="90000"/>
                </a:lnSpc>
                <a:spcBef>
                  <a:spcPct val="0"/>
                </a:spcBef>
                <a:spcAft>
                  <a:spcPct val="0"/>
                </a:spcAft>
              </a:pPr>
              <a:t>180</a:t>
            </a:fld>
            <a:r>
              <a:rPr lang="en-GB" sz="1100" noProof="0">
                <a:solidFill>
                  <a:schemeClr val="tx1"/>
                </a:solidFill>
              </a:rPr>
              <a:t>€</a:t>
            </a:r>
            <a:endParaRPr lang="en-GB" sz="1400" noProof="0">
              <a:solidFill>
                <a:schemeClr val="tx1"/>
              </a:solidFill>
            </a:endParaRPr>
          </a:p>
        </p:txBody>
      </p:sp>
      <p:sp>
        <p:nvSpPr>
          <p:cNvPr id="4127" name="Rectangle 4126">
            <a:extLst>
              <a:ext uri="{FF2B5EF4-FFF2-40B4-BE49-F238E27FC236}">
                <a16:creationId xmlns:a16="http://schemas.microsoft.com/office/drawing/2014/main" id="{08F342D6-EF90-90B2-5A65-AF49387F1235}"/>
              </a:ext>
            </a:extLst>
          </p:cNvPr>
          <p:cNvSpPr/>
          <p:nvPr>
            <p:custDataLst>
              <p:tags r:id="rId28"/>
            </p:custDataLst>
          </p:nvPr>
        </p:nvSpPr>
        <p:spPr bwMode="gray">
          <a:xfrm>
            <a:off x="638175" y="3424238"/>
            <a:ext cx="9636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t"/>
          <a:lstStyle/>
          <a:p>
            <a:pPr>
              <a:lnSpc>
                <a:spcPct val="90000"/>
              </a:lnSpc>
              <a:spcBef>
                <a:spcPct val="0"/>
              </a:spcBef>
              <a:spcAft>
                <a:spcPct val="0"/>
              </a:spcAft>
            </a:pPr>
            <a:fld id="{BCDF1FE3-1900-481E-97C5-709BB2E4563B}" type="datetime'O''''''''''''''rg''''an''i''''''''s''''''ation ''''''2'''">
              <a:rPr lang="en-GB" sz="1100" b="1" noProof="0" smtClean="0">
                <a:solidFill>
                  <a:schemeClr val="tx1"/>
                </a:solidFill>
              </a:rPr>
              <a:pPr>
                <a:lnSpc>
                  <a:spcPct val="90000"/>
                </a:lnSpc>
                <a:spcBef>
                  <a:spcPct val="0"/>
                </a:spcBef>
                <a:spcAft>
                  <a:spcPct val="0"/>
                </a:spcAft>
              </a:pPr>
              <a:t>Organisation 2</a:t>
            </a:fld>
            <a:endParaRPr lang="en-GB" sz="1100" b="1" noProof="0">
              <a:solidFill>
                <a:schemeClr val="tx1"/>
              </a:solidFill>
            </a:endParaRPr>
          </a:p>
        </p:txBody>
      </p:sp>
      <p:sp>
        <p:nvSpPr>
          <p:cNvPr id="4128" name="Rectangle 4127">
            <a:extLst>
              <a:ext uri="{FF2B5EF4-FFF2-40B4-BE49-F238E27FC236}">
                <a16:creationId xmlns:a16="http://schemas.microsoft.com/office/drawing/2014/main" id="{44ED9058-2757-629C-2D33-A3FBAFDFF47C}"/>
              </a:ext>
            </a:extLst>
          </p:cNvPr>
          <p:cNvSpPr/>
          <p:nvPr>
            <p:custDataLst>
              <p:tags r:id="rId29"/>
            </p:custDataLst>
          </p:nvPr>
        </p:nvSpPr>
        <p:spPr bwMode="gray">
          <a:xfrm>
            <a:off x="801688" y="3721100"/>
            <a:ext cx="3397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ctr"/>
          <a:lstStyle/>
          <a:p>
            <a:pPr>
              <a:lnSpc>
                <a:spcPct val="90000"/>
              </a:lnSpc>
              <a:spcBef>
                <a:spcPct val="0"/>
              </a:spcBef>
              <a:spcAft>
                <a:spcPct val="0"/>
              </a:spcAft>
            </a:pPr>
            <a:fld id="{337507EF-7704-4775-82A6-5175FCD30226}" type="datetime'''''''''1''2''''''''''''''''''0'''''">
              <a:rPr lang="en-GB" sz="1100" noProof="0" smtClean="0">
                <a:solidFill>
                  <a:schemeClr val="tx1"/>
                </a:solidFill>
              </a:rPr>
              <a:pPr>
                <a:lnSpc>
                  <a:spcPct val="90000"/>
                </a:lnSpc>
                <a:spcBef>
                  <a:spcPct val="0"/>
                </a:spcBef>
                <a:spcAft>
                  <a:spcPct val="0"/>
                </a:spcAft>
              </a:pPr>
              <a:t>120</a:t>
            </a:fld>
            <a:r>
              <a:rPr lang="en-GB" sz="1100" noProof="0">
                <a:solidFill>
                  <a:schemeClr val="tx1"/>
                </a:solidFill>
              </a:rPr>
              <a:t>€</a:t>
            </a:r>
            <a:endParaRPr lang="en-GB" sz="1400" noProof="0">
              <a:solidFill>
                <a:schemeClr val="tx1"/>
              </a:solidFill>
            </a:endParaRPr>
          </a:p>
        </p:txBody>
      </p:sp>
      <p:sp>
        <p:nvSpPr>
          <p:cNvPr id="4129" name="Rectangle 4128">
            <a:extLst>
              <a:ext uri="{FF2B5EF4-FFF2-40B4-BE49-F238E27FC236}">
                <a16:creationId xmlns:a16="http://schemas.microsoft.com/office/drawing/2014/main" id="{7D08306A-3389-2D7A-AE79-02D096AEEF04}"/>
              </a:ext>
            </a:extLst>
          </p:cNvPr>
          <p:cNvSpPr/>
          <p:nvPr>
            <p:custDataLst>
              <p:tags r:id="rId30"/>
            </p:custDataLst>
          </p:nvPr>
        </p:nvSpPr>
        <p:spPr bwMode="gray">
          <a:xfrm>
            <a:off x="649288" y="4235450"/>
            <a:ext cx="1047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t"/>
          <a:lstStyle/>
          <a:p>
            <a:pPr>
              <a:lnSpc>
                <a:spcPct val="90000"/>
              </a:lnSpc>
              <a:spcBef>
                <a:spcPct val="0"/>
              </a:spcBef>
              <a:spcAft>
                <a:spcPct val="0"/>
              </a:spcAft>
            </a:pPr>
            <a:fld id="{3B69729F-54C5-45CF-B5FD-BF818120E520}" type="datetime'''O''rga''''''''''n''isat''i''o''''''''''''''''''''n ''''3'''">
              <a:rPr lang="en-GB" sz="1200" b="1" noProof="0" smtClean="0">
                <a:solidFill>
                  <a:schemeClr val="tx1"/>
                </a:solidFill>
              </a:rPr>
              <a:pPr>
                <a:lnSpc>
                  <a:spcPct val="90000"/>
                </a:lnSpc>
                <a:spcBef>
                  <a:spcPct val="0"/>
                </a:spcBef>
                <a:spcAft>
                  <a:spcPct val="0"/>
                </a:spcAft>
              </a:pPr>
              <a:t>Organisation 3</a:t>
            </a:fld>
            <a:endParaRPr lang="en-GB" sz="1200" b="1" noProof="0">
              <a:solidFill>
                <a:schemeClr val="tx1"/>
              </a:solidFill>
            </a:endParaRPr>
          </a:p>
        </p:txBody>
      </p:sp>
      <p:sp>
        <p:nvSpPr>
          <p:cNvPr id="4130" name="Rectangle 4129">
            <a:extLst>
              <a:ext uri="{FF2B5EF4-FFF2-40B4-BE49-F238E27FC236}">
                <a16:creationId xmlns:a16="http://schemas.microsoft.com/office/drawing/2014/main" id="{505C3008-54D2-0142-E328-AB9909DC6F26}"/>
              </a:ext>
            </a:extLst>
          </p:cNvPr>
          <p:cNvSpPr/>
          <p:nvPr>
            <p:custDataLst>
              <p:tags r:id="rId31"/>
            </p:custDataLst>
          </p:nvPr>
        </p:nvSpPr>
        <p:spPr bwMode="gray">
          <a:xfrm>
            <a:off x="839788" y="4591050"/>
            <a:ext cx="2651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ctr"/>
          <a:lstStyle/>
          <a:p>
            <a:pPr>
              <a:lnSpc>
                <a:spcPct val="90000"/>
              </a:lnSpc>
              <a:spcBef>
                <a:spcPct val="0"/>
              </a:spcBef>
              <a:spcAft>
                <a:spcPct val="0"/>
              </a:spcAft>
            </a:pPr>
            <a:fld id="{EA8E98D3-76AE-4CC6-90C1-1F77624599E7}" type="datetime'''''''''6''''''''''''''''''''''''''''''''0'''">
              <a:rPr lang="en-GB" sz="1100" noProof="0" smtClean="0">
                <a:solidFill>
                  <a:schemeClr val="tx1"/>
                </a:solidFill>
              </a:rPr>
              <a:pPr>
                <a:lnSpc>
                  <a:spcPct val="90000"/>
                </a:lnSpc>
                <a:spcBef>
                  <a:spcPct val="0"/>
                </a:spcBef>
                <a:spcAft>
                  <a:spcPct val="0"/>
                </a:spcAft>
              </a:pPr>
              <a:t>60</a:t>
            </a:fld>
            <a:r>
              <a:rPr lang="en-GB" sz="1100" noProof="0">
                <a:solidFill>
                  <a:schemeClr val="tx1"/>
                </a:solidFill>
              </a:rPr>
              <a:t>€</a:t>
            </a:r>
          </a:p>
        </p:txBody>
      </p:sp>
      <p:cxnSp>
        <p:nvCxnSpPr>
          <p:cNvPr id="4131" name="Straight Connector 4130">
            <a:extLst>
              <a:ext uri="{FF2B5EF4-FFF2-40B4-BE49-F238E27FC236}">
                <a16:creationId xmlns:a16="http://schemas.microsoft.com/office/drawing/2014/main" id="{A24B61F7-026D-696B-C2C1-E832C832615B}"/>
              </a:ext>
            </a:extLst>
          </p:cNvPr>
          <p:cNvCxnSpPr>
            <a:cxnSpLocks/>
          </p:cNvCxnSpPr>
          <p:nvPr>
            <p:custDataLst>
              <p:tags r:id="rId32"/>
            </p:custDataLst>
          </p:nvPr>
        </p:nvCxnSpPr>
        <p:spPr>
          <a:xfrm>
            <a:off x="1785771" y="1909763"/>
            <a:ext cx="0" cy="3725861"/>
          </a:xfrm>
          <a:prstGeom prst="line">
            <a:avLst/>
          </a:prstGeom>
          <a:ln w="635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4132" name="Table 4131">
            <a:extLst>
              <a:ext uri="{FF2B5EF4-FFF2-40B4-BE49-F238E27FC236}">
                <a16:creationId xmlns:a16="http://schemas.microsoft.com/office/drawing/2014/main" id="{AE2AC9FE-AE0D-527D-9AFD-2EA2A1890814}"/>
              </a:ext>
            </a:extLst>
          </p:cNvPr>
          <p:cNvGraphicFramePr>
            <a:graphicFrameLocks noGrp="1"/>
          </p:cNvGraphicFramePr>
          <p:nvPr>
            <p:extLst>
              <p:ext uri="{D42A27DB-BD31-4B8C-83A1-F6EECF244321}">
                <p14:modId xmlns:p14="http://schemas.microsoft.com/office/powerpoint/2010/main" val="2542507053"/>
              </p:ext>
            </p:extLst>
          </p:nvPr>
        </p:nvGraphicFramePr>
        <p:xfrm>
          <a:off x="2279650" y="5737225"/>
          <a:ext cx="6191248" cy="198438"/>
        </p:xfrm>
        <a:graphic>
          <a:graphicData uri="http://schemas.openxmlformats.org/drawingml/2006/table">
            <a:tbl>
              <a:tblPr/>
              <a:tblGrid>
                <a:gridCol w="884464">
                  <a:extLst>
                    <a:ext uri="{9D8B030D-6E8A-4147-A177-3AD203B41FA5}">
                      <a16:colId xmlns:a16="http://schemas.microsoft.com/office/drawing/2014/main" val="927475101"/>
                    </a:ext>
                  </a:extLst>
                </a:gridCol>
                <a:gridCol w="884464">
                  <a:extLst>
                    <a:ext uri="{9D8B030D-6E8A-4147-A177-3AD203B41FA5}">
                      <a16:colId xmlns:a16="http://schemas.microsoft.com/office/drawing/2014/main" val="3621478028"/>
                    </a:ext>
                  </a:extLst>
                </a:gridCol>
                <a:gridCol w="884464">
                  <a:extLst>
                    <a:ext uri="{9D8B030D-6E8A-4147-A177-3AD203B41FA5}">
                      <a16:colId xmlns:a16="http://schemas.microsoft.com/office/drawing/2014/main" val="2076886395"/>
                    </a:ext>
                  </a:extLst>
                </a:gridCol>
                <a:gridCol w="884464">
                  <a:extLst>
                    <a:ext uri="{9D8B030D-6E8A-4147-A177-3AD203B41FA5}">
                      <a16:colId xmlns:a16="http://schemas.microsoft.com/office/drawing/2014/main" val="460336682"/>
                    </a:ext>
                  </a:extLst>
                </a:gridCol>
                <a:gridCol w="884464">
                  <a:extLst>
                    <a:ext uri="{9D8B030D-6E8A-4147-A177-3AD203B41FA5}">
                      <a16:colId xmlns:a16="http://schemas.microsoft.com/office/drawing/2014/main" val="473887376"/>
                    </a:ext>
                  </a:extLst>
                </a:gridCol>
                <a:gridCol w="884464">
                  <a:extLst>
                    <a:ext uri="{9D8B030D-6E8A-4147-A177-3AD203B41FA5}">
                      <a16:colId xmlns:a16="http://schemas.microsoft.com/office/drawing/2014/main" val="3055592265"/>
                    </a:ext>
                  </a:extLst>
                </a:gridCol>
                <a:gridCol w="884464">
                  <a:extLst>
                    <a:ext uri="{9D8B030D-6E8A-4147-A177-3AD203B41FA5}">
                      <a16:colId xmlns:a16="http://schemas.microsoft.com/office/drawing/2014/main" val="2755530168"/>
                    </a:ext>
                  </a:extLst>
                </a:gridCol>
              </a:tblGrid>
              <a:tr h="198438">
                <a:tc>
                  <a:txBody>
                    <a:bodyPr/>
                    <a:lstStyle/>
                    <a:p>
                      <a:pPr algn="ctr" rtl="0" fontAlgn="b"/>
                      <a:r>
                        <a:rPr lang="en-GB" sz="1200" b="1" i="0" u="none" strike="noStrike" noProof="0">
                          <a:solidFill>
                            <a:srgbClr val="000000"/>
                          </a:solidFill>
                          <a:effectLst/>
                          <a:latin typeface="Aptos Narrow" panose="020B0004020202020204" pitchFamily="34" charset="0"/>
                        </a:rPr>
                        <a:t>4</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63BE7B"/>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3.8</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86CC99"/>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3.7</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96D3A7"/>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3.3</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DBEFE2"/>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3.2</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EBF6F1"/>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3.2</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EBF6F1"/>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3.1</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CFCFF"/>
                    </a:solidFill>
                  </a:tcPr>
                </a:tc>
                <a:extLst>
                  <a:ext uri="{0D108BD9-81ED-4DB2-BD59-A6C34878D82A}">
                    <a16:rowId xmlns:a16="http://schemas.microsoft.com/office/drawing/2014/main" val="3496992022"/>
                  </a:ext>
                </a:extLst>
              </a:tr>
            </a:tbl>
          </a:graphicData>
        </a:graphic>
      </p:graphicFrame>
      <p:sp>
        <p:nvSpPr>
          <p:cNvPr id="29" name="TextBox 28">
            <a:extLst>
              <a:ext uri="{FF2B5EF4-FFF2-40B4-BE49-F238E27FC236}">
                <a16:creationId xmlns:a16="http://schemas.microsoft.com/office/drawing/2014/main" id="{73A36074-B859-72CA-D29F-0C8E7490A91C}"/>
              </a:ext>
            </a:extLst>
          </p:cNvPr>
          <p:cNvSpPr txBox="1"/>
          <p:nvPr/>
        </p:nvSpPr>
        <p:spPr>
          <a:xfrm rot="20230480">
            <a:off x="4723751" y="3445947"/>
            <a:ext cx="2595339" cy="369332"/>
          </a:xfrm>
          <a:prstGeom prst="rect">
            <a:avLst/>
          </a:prstGeom>
          <a:noFill/>
        </p:spPr>
        <p:txBody>
          <a:bodyPr wrap="square" rtlCol="0">
            <a:spAutoFit/>
          </a:bodyPr>
          <a:lstStyle/>
          <a:p>
            <a:r>
              <a:rPr lang="en-GB" b="1" noProof="0">
                <a:solidFill>
                  <a:srgbClr val="C00000"/>
                </a:solidFill>
                <a:latin typeface="Garamond" panose="02020404030301010803" pitchFamily="18" charset="0"/>
              </a:rPr>
              <a:t>ILLUSTRATIVE</a:t>
            </a:r>
          </a:p>
        </p:txBody>
      </p:sp>
      <p:sp>
        <p:nvSpPr>
          <p:cNvPr id="12" name="Arrow: Chevron 11">
            <a:extLst>
              <a:ext uri="{FF2B5EF4-FFF2-40B4-BE49-F238E27FC236}">
                <a16:creationId xmlns:a16="http://schemas.microsoft.com/office/drawing/2014/main" id="{2E14B6E5-B3FA-526D-3AD0-DB55FEA495C8}"/>
              </a:ext>
            </a:extLst>
          </p:cNvPr>
          <p:cNvSpPr/>
          <p:nvPr/>
        </p:nvSpPr>
        <p:spPr>
          <a:xfrm>
            <a:off x="8108917"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13" name="Arrow: Chevron 12">
            <a:extLst>
              <a:ext uri="{FF2B5EF4-FFF2-40B4-BE49-F238E27FC236}">
                <a16:creationId xmlns:a16="http://schemas.microsoft.com/office/drawing/2014/main" id="{D1C533D8-8277-7115-DBA2-E948BB8B2EBE}"/>
              </a:ext>
            </a:extLst>
          </p:cNvPr>
          <p:cNvSpPr/>
          <p:nvPr/>
        </p:nvSpPr>
        <p:spPr>
          <a:xfrm>
            <a:off x="9071675"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30" name="Arrow: Chevron 29">
            <a:extLst>
              <a:ext uri="{FF2B5EF4-FFF2-40B4-BE49-F238E27FC236}">
                <a16:creationId xmlns:a16="http://schemas.microsoft.com/office/drawing/2014/main" id="{9E1DBAD2-F2ED-0ACC-DECD-E8F903B5C0E0}"/>
              </a:ext>
            </a:extLst>
          </p:cNvPr>
          <p:cNvSpPr/>
          <p:nvPr/>
        </p:nvSpPr>
        <p:spPr>
          <a:xfrm>
            <a:off x="10034433"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31" name="Arrow: Chevron 30">
            <a:extLst>
              <a:ext uri="{FF2B5EF4-FFF2-40B4-BE49-F238E27FC236}">
                <a16:creationId xmlns:a16="http://schemas.microsoft.com/office/drawing/2014/main" id="{120738C1-F4AE-26FB-E46A-92ABC286D9ED}"/>
              </a:ext>
            </a:extLst>
          </p:cNvPr>
          <p:cNvSpPr/>
          <p:nvPr/>
        </p:nvSpPr>
        <p:spPr>
          <a:xfrm>
            <a:off x="1099963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26857498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4CC4B5-7F5A-DD99-4830-2229D2A3B0F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C17D9F4-E568-D222-73FF-6B27FD311AF7}"/>
              </a:ext>
            </a:extLst>
          </p:cNvPr>
          <p:cNvGraphicFramePr>
            <a:graphicFrameLocks noChangeAspect="1"/>
          </p:cNvGraphicFramePr>
          <p:nvPr>
            <p:custDataLst>
              <p:tags r:id="rId1"/>
            </p:custDataLst>
            <p:extLst>
              <p:ext uri="{D42A27DB-BD31-4B8C-83A1-F6EECF244321}">
                <p14:modId xmlns:p14="http://schemas.microsoft.com/office/powerpoint/2010/main" val="4021538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26" imgH="426" progId="TCLayout.ActiveDocument.1">
                  <p:embed/>
                </p:oleObj>
              </mc:Choice>
              <mc:Fallback>
                <p:oleObj name="think-cell Slide" r:id="rId24" imgW="426" imgH="426" progId="TCLayout.ActiveDocument.1">
                  <p:embed/>
                  <p:pic>
                    <p:nvPicPr>
                      <p:cNvPr id="7" name="think-cell data - do not delete" hidden="1">
                        <a:extLst>
                          <a:ext uri="{FF2B5EF4-FFF2-40B4-BE49-F238E27FC236}">
                            <a16:creationId xmlns:a16="http://schemas.microsoft.com/office/drawing/2014/main" id="{CC17D9F4-E568-D222-73FF-6B27FD311AF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6EF144-EDF9-C484-FC81-B43BDD4C4DA7}"/>
              </a:ext>
            </a:extLst>
          </p:cNvPr>
          <p:cNvSpPr>
            <a:spLocks noGrp="1"/>
          </p:cNvSpPr>
          <p:nvPr>
            <p:ph type="title"/>
          </p:nvPr>
        </p:nvSpPr>
        <p:spPr>
          <a:xfrm>
            <a:off x="137786" y="125260"/>
            <a:ext cx="7888614" cy="806754"/>
          </a:xfrm>
        </p:spPr>
        <p:txBody>
          <a:bodyPr vert="horz"/>
          <a:lstStyle/>
          <a:p>
            <a:r>
              <a:rPr lang="en-GB" b="1" noProof="0"/>
              <a:t>The Strategy Value Curve: Streaming</a:t>
            </a:r>
          </a:p>
        </p:txBody>
      </p:sp>
      <p:sp>
        <p:nvSpPr>
          <p:cNvPr id="38" name="Rectangle 37">
            <a:extLst>
              <a:ext uri="{FF2B5EF4-FFF2-40B4-BE49-F238E27FC236}">
                <a16:creationId xmlns:a16="http://schemas.microsoft.com/office/drawing/2014/main" id="{F986D4E0-1274-351C-C2C9-BA31F77095EC}"/>
              </a:ext>
            </a:extLst>
          </p:cNvPr>
          <p:cNvSpPr/>
          <p:nvPr/>
        </p:nvSpPr>
        <p:spPr>
          <a:xfrm>
            <a:off x="9357085" y="1059803"/>
            <a:ext cx="2826448" cy="5799667"/>
          </a:xfrm>
          <a:prstGeom prst="rect">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400" noProof="0">
                <a:solidFill>
                  <a:schemeClr val="tx1"/>
                </a:solidFill>
                <a:latin typeface="Avenir Next LT Pro" panose="020B0504020202020204" pitchFamily="34" charset="0"/>
              </a:rPr>
              <a:t>Each streaming platform represents a </a:t>
            </a:r>
            <a:r>
              <a:rPr lang="en-GB" sz="1400" b="1" noProof="0">
                <a:solidFill>
                  <a:schemeClr val="tx1"/>
                </a:solidFill>
                <a:latin typeface="Avenir Next LT Pro" panose="020B0504020202020204" pitchFamily="34" charset="0"/>
              </a:rPr>
              <a:t>fundamentally different recipe for value creation</a:t>
            </a:r>
            <a:r>
              <a:rPr lang="en-GB" sz="1400" noProof="0">
                <a:solidFill>
                  <a:schemeClr val="tx1"/>
                </a:solidFill>
                <a:latin typeface="Avenir Next LT Pro" panose="020B0504020202020204" pitchFamily="34" charset="0"/>
              </a:rPr>
              <a:t>, demonstrating how the same broad industry can support </a:t>
            </a:r>
            <a:r>
              <a:rPr lang="en-GB" sz="1400" b="1" noProof="0">
                <a:solidFill>
                  <a:schemeClr val="tx1"/>
                </a:solidFill>
                <a:latin typeface="Avenir Next LT Pro" panose="020B0504020202020204" pitchFamily="34" charset="0"/>
              </a:rPr>
              <a:t>multiple value propositions</a:t>
            </a:r>
            <a:r>
              <a:rPr lang="en-GB" sz="1400" noProof="0">
                <a:solidFill>
                  <a:schemeClr val="tx1"/>
                </a:solidFill>
                <a:latin typeface="Avenir Next LT Pro" panose="020B0504020202020204" pitchFamily="34" charset="0"/>
              </a:rPr>
              <a:t>, through unique combinations of pricing, targeting, and value attributes. Each player exploits a </a:t>
            </a:r>
            <a:r>
              <a:rPr lang="en-GB" sz="1400" b="1" noProof="0">
                <a:solidFill>
                  <a:schemeClr val="tx1"/>
                </a:solidFill>
                <a:latin typeface="Avenir Next LT Pro" panose="020B0504020202020204" pitchFamily="34" charset="0"/>
              </a:rPr>
              <a:t>distinct corporate advantage</a:t>
            </a:r>
            <a:r>
              <a:rPr lang="en-GB" sz="1400" noProof="0">
                <a:solidFill>
                  <a:schemeClr val="tx1"/>
                </a:solidFill>
                <a:latin typeface="Avenir Next LT Pro" panose="020B0504020202020204" pitchFamily="34" charset="0"/>
              </a:rPr>
              <a:t>—hardware (Apple), global scale (Netflix), IP franchises (Disney) or commerce (Amazon)—</a:t>
            </a:r>
            <a:r>
              <a:rPr lang="en-GB" sz="1400" b="1" noProof="0">
                <a:solidFill>
                  <a:schemeClr val="tx1"/>
                </a:solidFill>
                <a:latin typeface="Avenir Next LT Pro" panose="020B0504020202020204" pitchFamily="34" charset="0"/>
              </a:rPr>
              <a:t>rather than racing to copy the others</a:t>
            </a:r>
            <a:r>
              <a:rPr lang="en-GB" sz="1400" noProof="0">
                <a:solidFill>
                  <a:schemeClr val="tx1"/>
                </a:solidFill>
                <a:latin typeface="Avenir Next LT Pro" panose="020B0504020202020204" pitchFamily="34" charset="0"/>
              </a:rPr>
              <a:t>.</a:t>
            </a:r>
          </a:p>
        </p:txBody>
      </p:sp>
      <p:grpSp>
        <p:nvGrpSpPr>
          <p:cNvPr id="14" name="Group 13">
            <a:extLst>
              <a:ext uri="{FF2B5EF4-FFF2-40B4-BE49-F238E27FC236}">
                <a16:creationId xmlns:a16="http://schemas.microsoft.com/office/drawing/2014/main" id="{14B6836B-2526-E204-B937-A92960EC7221}"/>
              </a:ext>
            </a:extLst>
          </p:cNvPr>
          <p:cNvGrpSpPr/>
          <p:nvPr/>
        </p:nvGrpSpPr>
        <p:grpSpPr>
          <a:xfrm>
            <a:off x="8425707" y="1082663"/>
            <a:ext cx="878899" cy="689811"/>
            <a:chOff x="368907" y="1700531"/>
            <a:chExt cx="4038920" cy="4275927"/>
          </a:xfrm>
          <a:effectLst/>
        </p:grpSpPr>
        <p:sp>
          <p:nvSpPr>
            <p:cNvPr id="15" name="Isosceles Triangle 14">
              <a:extLst>
                <a:ext uri="{FF2B5EF4-FFF2-40B4-BE49-F238E27FC236}">
                  <a16:creationId xmlns:a16="http://schemas.microsoft.com/office/drawing/2014/main" id="{E64F6F21-1E68-4DA3-9F02-B1D5B7042729}"/>
                </a:ext>
              </a:extLst>
            </p:cNvPr>
            <p:cNvSpPr/>
            <p:nvPr/>
          </p:nvSpPr>
          <p:spPr>
            <a:xfrm>
              <a:off x="1792514" y="1700531"/>
              <a:ext cx="1191707" cy="1255807"/>
            </a:xfrm>
            <a:prstGeom prst="triangle">
              <a:avLst>
                <a:gd name="adj" fmla="val 49710"/>
              </a:avLst>
            </a:prstGeom>
            <a:solidFill>
              <a:srgbClr val="FFE4CD"/>
            </a:solidFill>
            <a:ln w="9525">
              <a:solidFill>
                <a:srgbClr val="FF834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sp>
          <p:nvSpPr>
            <p:cNvPr id="16" name="Isosceles Triangle 62">
              <a:extLst>
                <a:ext uri="{FF2B5EF4-FFF2-40B4-BE49-F238E27FC236}">
                  <a16:creationId xmlns:a16="http://schemas.microsoft.com/office/drawing/2014/main" id="{F64C35D9-A4D3-F2C0-75CA-BF26893866C3}"/>
                </a:ext>
              </a:extLst>
            </p:cNvPr>
            <p:cNvSpPr/>
            <p:nvPr/>
          </p:nvSpPr>
          <p:spPr>
            <a:xfrm>
              <a:off x="1106945" y="2957333"/>
              <a:ext cx="2556494" cy="1456051"/>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481647" y="2614"/>
                  </a:lnTo>
                  <a:lnTo>
                    <a:pt x="1325344" y="0"/>
                  </a:lnTo>
                  <a:lnTo>
                    <a:pt x="1810264" y="968810"/>
                  </a:lnTo>
                  <a:lnTo>
                    <a:pt x="0" y="968810"/>
                  </a:lnTo>
                  <a:close/>
                </a:path>
              </a:pathLst>
            </a:custGeom>
            <a:solidFill>
              <a:srgbClr val="FFD5B3"/>
            </a:solidFill>
            <a:ln w="9525">
              <a:solidFill>
                <a:srgbClr val="FF834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grpSp>
          <p:nvGrpSpPr>
            <p:cNvPr id="17" name="Group 16">
              <a:extLst>
                <a:ext uri="{FF2B5EF4-FFF2-40B4-BE49-F238E27FC236}">
                  <a16:creationId xmlns:a16="http://schemas.microsoft.com/office/drawing/2014/main" id="{E3A568AB-01FD-E691-7151-818399DA9672}"/>
                </a:ext>
              </a:extLst>
            </p:cNvPr>
            <p:cNvGrpSpPr/>
            <p:nvPr/>
          </p:nvGrpSpPr>
          <p:grpSpPr>
            <a:xfrm>
              <a:off x="368907" y="2954958"/>
              <a:ext cx="4038920" cy="3021500"/>
              <a:chOff x="364847" y="3312617"/>
              <a:chExt cx="4038920" cy="3021500"/>
            </a:xfrm>
          </p:grpSpPr>
          <p:cxnSp>
            <p:nvCxnSpPr>
              <p:cNvPr id="18" name="Straight Connector 17">
                <a:extLst>
                  <a:ext uri="{FF2B5EF4-FFF2-40B4-BE49-F238E27FC236}">
                    <a16:creationId xmlns:a16="http://schemas.microsoft.com/office/drawing/2014/main" id="{2BE32471-B600-EA5B-79AF-A4B6A30A2B41}"/>
                  </a:ext>
                </a:extLst>
              </p:cNvPr>
              <p:cNvCxnSpPr>
                <a:cxnSpLocks/>
              </p:cNvCxnSpPr>
              <p:nvPr/>
            </p:nvCxnSpPr>
            <p:spPr>
              <a:xfrm>
                <a:off x="1110997" y="4771043"/>
                <a:ext cx="254556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Isosceles Triangle 62">
                <a:extLst>
                  <a:ext uri="{FF2B5EF4-FFF2-40B4-BE49-F238E27FC236}">
                    <a16:creationId xmlns:a16="http://schemas.microsoft.com/office/drawing/2014/main" id="{0F6002D5-B1BF-2AC6-174A-9F01FE1A9BA8}"/>
                  </a:ext>
                </a:extLst>
              </p:cNvPr>
              <p:cNvSpPr/>
              <p:nvPr/>
            </p:nvSpPr>
            <p:spPr>
              <a:xfrm>
                <a:off x="364847" y="4771043"/>
                <a:ext cx="4038920" cy="1562778"/>
              </a:xfrm>
              <a:custGeom>
                <a:avLst/>
                <a:gdLst>
                  <a:gd name="connsiteX0" fmla="*/ 0 w 1810264"/>
                  <a:gd name="connsiteY0" fmla="*/ 1807571 h 1807571"/>
                  <a:gd name="connsiteX1" fmla="*/ 894397 w 1810264"/>
                  <a:gd name="connsiteY1" fmla="*/ 0 h 1807571"/>
                  <a:gd name="connsiteX2" fmla="*/ 1810264 w 1810264"/>
                  <a:gd name="connsiteY2" fmla="*/ 1807571 h 1807571"/>
                  <a:gd name="connsiteX3" fmla="*/ 0 w 1810264"/>
                  <a:gd name="connsiteY3" fmla="*/ 1807571 h 1807571"/>
                  <a:gd name="connsiteX0" fmla="*/ 0 w 1810264"/>
                  <a:gd name="connsiteY0" fmla="*/ 743946 h 743946"/>
                  <a:gd name="connsiteX1" fmla="*/ 507047 w 1810264"/>
                  <a:gd name="connsiteY1" fmla="*/ 0 h 743946"/>
                  <a:gd name="connsiteX2" fmla="*/ 1810264 w 1810264"/>
                  <a:gd name="connsiteY2" fmla="*/ 743946 h 743946"/>
                  <a:gd name="connsiteX3" fmla="*/ 0 w 1810264"/>
                  <a:gd name="connsiteY3" fmla="*/ 743946 h 743946"/>
                  <a:gd name="connsiteX0" fmla="*/ 0 w 1810264"/>
                  <a:gd name="connsiteY0" fmla="*/ 966196 h 966196"/>
                  <a:gd name="connsiteX1" fmla="*/ 481647 w 1810264"/>
                  <a:gd name="connsiteY1" fmla="*/ 0 h 966196"/>
                  <a:gd name="connsiteX2" fmla="*/ 1810264 w 1810264"/>
                  <a:gd name="connsiteY2" fmla="*/ 966196 h 966196"/>
                  <a:gd name="connsiteX3" fmla="*/ 0 w 1810264"/>
                  <a:gd name="connsiteY3" fmla="*/ 966196 h 966196"/>
                  <a:gd name="connsiteX0" fmla="*/ 0 w 1810264"/>
                  <a:gd name="connsiteY0" fmla="*/ 966196 h 966196"/>
                  <a:gd name="connsiteX1" fmla="*/ 481647 w 1810264"/>
                  <a:gd name="connsiteY1" fmla="*/ 0 h 966196"/>
                  <a:gd name="connsiteX2" fmla="*/ 852269 w 1810264"/>
                  <a:gd name="connsiteY2" fmla="*/ 273611 h 966196"/>
                  <a:gd name="connsiteX3" fmla="*/ 1810264 w 1810264"/>
                  <a:gd name="connsiteY3" fmla="*/ 966196 h 966196"/>
                  <a:gd name="connsiteX4" fmla="*/ 0 w 1810264"/>
                  <a:gd name="connsiteY4" fmla="*/ 966196 h 966196"/>
                  <a:gd name="connsiteX0" fmla="*/ 0 w 1810264"/>
                  <a:gd name="connsiteY0" fmla="*/ 968810 h 968810"/>
                  <a:gd name="connsiteX1" fmla="*/ 481647 w 1810264"/>
                  <a:gd name="connsiteY1" fmla="*/ 2614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325344 w 1810264"/>
                  <a:gd name="connsiteY2" fmla="*/ 0 h 968810"/>
                  <a:gd name="connsiteX3" fmla="*/ 1810264 w 1810264"/>
                  <a:gd name="connsiteY3" fmla="*/ 968810 h 968810"/>
                  <a:gd name="connsiteX4" fmla="*/ 0 w 1810264"/>
                  <a:gd name="connsiteY4" fmla="*/ 968810 h 968810"/>
                  <a:gd name="connsiteX0" fmla="*/ 0 w 1810264"/>
                  <a:gd name="connsiteY0" fmla="*/ 968810 h 968810"/>
                  <a:gd name="connsiteX1" fmla="*/ 326400 w 1810264"/>
                  <a:gd name="connsiteY1" fmla="*/ 396 h 968810"/>
                  <a:gd name="connsiteX2" fmla="*/ 1476069 w 1810264"/>
                  <a:gd name="connsiteY2" fmla="*/ 0 h 968810"/>
                  <a:gd name="connsiteX3" fmla="*/ 1810264 w 1810264"/>
                  <a:gd name="connsiteY3" fmla="*/ 968810 h 968810"/>
                  <a:gd name="connsiteX4" fmla="*/ 0 w 1810264"/>
                  <a:gd name="connsiteY4" fmla="*/ 968810 h 96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264" h="968810">
                    <a:moveTo>
                      <a:pt x="0" y="968810"/>
                    </a:moveTo>
                    <a:lnTo>
                      <a:pt x="326400" y="396"/>
                    </a:lnTo>
                    <a:lnTo>
                      <a:pt x="1476069" y="0"/>
                    </a:lnTo>
                    <a:lnTo>
                      <a:pt x="1810264" y="968810"/>
                    </a:lnTo>
                    <a:lnTo>
                      <a:pt x="0" y="968810"/>
                    </a:lnTo>
                    <a:close/>
                  </a:path>
                </a:pathLst>
              </a:custGeom>
              <a:solidFill>
                <a:srgbClr val="FFC493"/>
              </a:solidFill>
              <a:ln w="9525">
                <a:solidFill>
                  <a:srgbClr val="DE6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venir Next LT Pro" panose="020B0504020202020204" pitchFamily="34" charset="0"/>
                  <a:ea typeface="Verdana" panose="020B0604030504040204" pitchFamily="34" charset="0"/>
                  <a:sym typeface="Verdana" panose="020B0604030504040204" pitchFamily="34" charset="0"/>
                </a:endParaRPr>
              </a:p>
            </p:txBody>
          </p:sp>
          <p:cxnSp>
            <p:nvCxnSpPr>
              <p:cNvPr id="20" name="Straight Connector 19">
                <a:extLst>
                  <a:ext uri="{FF2B5EF4-FFF2-40B4-BE49-F238E27FC236}">
                    <a16:creationId xmlns:a16="http://schemas.microsoft.com/office/drawing/2014/main" id="{D9C41CF9-B4DA-B570-12F9-53F3EE130A6F}"/>
                  </a:ext>
                </a:extLst>
              </p:cNvPr>
              <p:cNvCxnSpPr>
                <a:cxnSpLocks/>
              </p:cNvCxnSpPr>
              <p:nvPr/>
            </p:nvCxnSpPr>
            <p:spPr>
              <a:xfrm flipH="1">
                <a:off x="1833796" y="3312617"/>
                <a:ext cx="287660" cy="1488306"/>
              </a:xfrm>
              <a:prstGeom prst="line">
                <a:avLst/>
              </a:prstGeom>
              <a:ln w="9525">
                <a:solidFill>
                  <a:srgbClr val="FF8349"/>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B32DC54-100B-A43E-3D11-BB46386C4480}"/>
                  </a:ext>
                </a:extLst>
              </p:cNvPr>
              <p:cNvCxnSpPr>
                <a:cxnSpLocks/>
              </p:cNvCxnSpPr>
              <p:nvPr/>
            </p:nvCxnSpPr>
            <p:spPr>
              <a:xfrm>
                <a:off x="2562892" y="4771043"/>
                <a:ext cx="106051" cy="1562778"/>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4B23C34-7E65-1CA8-18C0-8CF90ED33060}"/>
                  </a:ext>
                </a:extLst>
              </p:cNvPr>
              <p:cNvCxnSpPr>
                <a:cxnSpLocks/>
              </p:cNvCxnSpPr>
              <p:nvPr/>
            </p:nvCxnSpPr>
            <p:spPr>
              <a:xfrm flipH="1">
                <a:off x="2089604" y="4771042"/>
                <a:ext cx="76090" cy="1562779"/>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964B205-EBA3-9EE1-1446-1241C8B015B2}"/>
                  </a:ext>
                </a:extLst>
              </p:cNvPr>
              <p:cNvCxnSpPr>
                <a:cxnSpLocks/>
              </p:cNvCxnSpPr>
              <p:nvPr/>
            </p:nvCxnSpPr>
            <p:spPr>
              <a:xfrm flipH="1">
                <a:off x="957027" y="4771042"/>
                <a:ext cx="526604" cy="1562779"/>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E222407-1580-3A25-E9D3-05A8840FFCF8}"/>
                  </a:ext>
                </a:extLst>
              </p:cNvPr>
              <p:cNvCxnSpPr>
                <a:cxnSpLocks/>
              </p:cNvCxnSpPr>
              <p:nvPr/>
            </p:nvCxnSpPr>
            <p:spPr>
              <a:xfrm>
                <a:off x="2706590" y="3312617"/>
                <a:ext cx="267090" cy="1459422"/>
              </a:xfrm>
              <a:prstGeom prst="line">
                <a:avLst/>
              </a:prstGeom>
              <a:ln w="9525">
                <a:solidFill>
                  <a:srgbClr val="FF8349"/>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7467559-67A0-979A-4DCF-82476687766B}"/>
                  </a:ext>
                </a:extLst>
              </p:cNvPr>
              <p:cNvCxnSpPr>
                <a:cxnSpLocks/>
              </p:cNvCxnSpPr>
              <p:nvPr/>
            </p:nvCxnSpPr>
            <p:spPr>
              <a:xfrm>
                <a:off x="3336756" y="4771043"/>
                <a:ext cx="506582" cy="1563074"/>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81C84E5-0B72-83B4-21F6-687E167D77B7}"/>
                  </a:ext>
                </a:extLst>
              </p:cNvPr>
              <p:cNvCxnSpPr>
                <a:cxnSpLocks/>
              </p:cNvCxnSpPr>
              <p:nvPr/>
            </p:nvCxnSpPr>
            <p:spPr>
              <a:xfrm flipH="1">
                <a:off x="1539549" y="4772039"/>
                <a:ext cx="300668" cy="1561783"/>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8D6092-37C4-CA8F-6BF2-BD90420D9DB4}"/>
                  </a:ext>
                </a:extLst>
              </p:cNvPr>
              <p:cNvCxnSpPr>
                <a:cxnSpLocks/>
              </p:cNvCxnSpPr>
              <p:nvPr/>
            </p:nvCxnSpPr>
            <p:spPr>
              <a:xfrm>
                <a:off x="2973680" y="4778378"/>
                <a:ext cx="284662" cy="1555443"/>
              </a:xfrm>
              <a:prstGeom prst="line">
                <a:avLst/>
              </a:prstGeom>
              <a:ln w="9525">
                <a:solidFill>
                  <a:srgbClr val="DE64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AF24B23-C1E5-FD74-4C34-0E85373E5964}"/>
                  </a:ext>
                </a:extLst>
              </p:cNvPr>
              <p:cNvCxnSpPr>
                <a:cxnSpLocks/>
                <a:stCxn id="19" idx="1"/>
                <a:endCxn id="16" idx="3"/>
              </p:cNvCxnSpPr>
              <p:nvPr/>
            </p:nvCxnSpPr>
            <p:spPr>
              <a:xfrm flipV="1">
                <a:off x="1093085" y="4771043"/>
                <a:ext cx="2566294" cy="640"/>
              </a:xfrm>
              <a:prstGeom prst="line">
                <a:avLst/>
              </a:prstGeom>
              <a:ln w="9525">
                <a:solidFill>
                  <a:srgbClr val="FF8349"/>
                </a:solidFill>
              </a:ln>
            </p:spPr>
            <p:style>
              <a:lnRef idx="1">
                <a:schemeClr val="accent1"/>
              </a:lnRef>
              <a:fillRef idx="0">
                <a:schemeClr val="accent1"/>
              </a:fillRef>
              <a:effectRef idx="0">
                <a:schemeClr val="accent1"/>
              </a:effectRef>
              <a:fontRef idx="minor">
                <a:schemeClr val="tx1"/>
              </a:fontRef>
            </p:style>
          </p:cxnSp>
        </p:grpSp>
      </p:grpSp>
      <p:graphicFrame>
        <p:nvGraphicFramePr>
          <p:cNvPr id="4096" name="Chart 4095">
            <a:extLst>
              <a:ext uri="{FF2B5EF4-FFF2-40B4-BE49-F238E27FC236}">
                <a16:creationId xmlns:a16="http://schemas.microsoft.com/office/drawing/2014/main" id="{EC44E39B-1882-B46D-BD92-2F59A841D8A1}"/>
              </a:ext>
            </a:extLst>
          </p:cNvPr>
          <p:cNvGraphicFramePr/>
          <p:nvPr>
            <p:extLst>
              <p:ext uri="{D42A27DB-BD31-4B8C-83A1-F6EECF244321}">
                <p14:modId xmlns:p14="http://schemas.microsoft.com/office/powerpoint/2010/main" val="3785358984"/>
              </p:ext>
            </p:extLst>
          </p:nvPr>
        </p:nvGraphicFramePr>
        <p:xfrm>
          <a:off x="1828799" y="1997075"/>
          <a:ext cx="7226554" cy="4346575"/>
        </p:xfrm>
        <a:graphic>
          <a:graphicData uri="http://schemas.openxmlformats.org/drawingml/2006/chart">
            <c:chart xmlns:c="http://schemas.openxmlformats.org/drawingml/2006/chart" xmlns:r="http://schemas.openxmlformats.org/officeDocument/2006/relationships" r:id="rId26"/>
          </a:graphicData>
        </a:graphic>
      </p:graphicFrame>
      <p:sp>
        <p:nvSpPr>
          <p:cNvPr id="4097" name="TextBox 4096">
            <a:extLst>
              <a:ext uri="{FF2B5EF4-FFF2-40B4-BE49-F238E27FC236}">
                <a16:creationId xmlns:a16="http://schemas.microsoft.com/office/drawing/2014/main" id="{F88A2997-22D1-2CA9-F8DD-45DF1F3020B4}"/>
              </a:ext>
            </a:extLst>
          </p:cNvPr>
          <p:cNvSpPr txBox="1"/>
          <p:nvPr>
            <p:custDataLst>
              <p:tags r:id="rId2"/>
            </p:custDataLst>
          </p:nvPr>
        </p:nvSpPr>
        <p:spPr>
          <a:xfrm>
            <a:off x="1811338" y="4727575"/>
            <a:ext cx="779463"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Low</a:t>
            </a:r>
          </a:p>
        </p:txBody>
      </p:sp>
      <p:sp>
        <p:nvSpPr>
          <p:cNvPr id="4098" name="TextBox 4097">
            <a:extLst>
              <a:ext uri="{FF2B5EF4-FFF2-40B4-BE49-F238E27FC236}">
                <a16:creationId xmlns:a16="http://schemas.microsoft.com/office/drawing/2014/main" id="{3E07E133-4076-A8CF-3108-2992C72F5873}"/>
              </a:ext>
            </a:extLst>
          </p:cNvPr>
          <p:cNvSpPr txBox="1"/>
          <p:nvPr>
            <p:custDataLst>
              <p:tags r:id="rId3"/>
            </p:custDataLst>
          </p:nvPr>
        </p:nvSpPr>
        <p:spPr>
          <a:xfrm>
            <a:off x="1811338" y="2425700"/>
            <a:ext cx="779463"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High</a:t>
            </a:r>
          </a:p>
        </p:txBody>
      </p:sp>
      <p:sp>
        <p:nvSpPr>
          <p:cNvPr id="4099" name="TextBox 4098">
            <a:extLst>
              <a:ext uri="{FF2B5EF4-FFF2-40B4-BE49-F238E27FC236}">
                <a16:creationId xmlns:a16="http://schemas.microsoft.com/office/drawing/2014/main" id="{CBFF1762-1755-7974-5836-7FB4BDC89353}"/>
              </a:ext>
            </a:extLst>
          </p:cNvPr>
          <p:cNvSpPr txBox="1"/>
          <p:nvPr/>
        </p:nvSpPr>
        <p:spPr>
          <a:xfrm rot="16200000">
            <a:off x="1068388" y="3665538"/>
            <a:ext cx="1836738"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sng"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Offering level</a:t>
            </a:r>
          </a:p>
        </p:txBody>
      </p:sp>
      <p:sp>
        <p:nvSpPr>
          <p:cNvPr id="4100" name="TextBox 4099">
            <a:extLst>
              <a:ext uri="{FF2B5EF4-FFF2-40B4-BE49-F238E27FC236}">
                <a16:creationId xmlns:a16="http://schemas.microsoft.com/office/drawing/2014/main" id="{36E52CCD-28CB-E313-18A1-FABBBDF7B74A}"/>
              </a:ext>
            </a:extLst>
          </p:cNvPr>
          <p:cNvSpPr txBox="1"/>
          <p:nvPr>
            <p:custDataLst>
              <p:tags r:id="rId4"/>
            </p:custDataLst>
          </p:nvPr>
        </p:nvSpPr>
        <p:spPr>
          <a:xfrm>
            <a:off x="671513" y="1186031"/>
            <a:ext cx="7059613" cy="369332"/>
          </a:xfrm>
          <a:prstGeom prst="rect">
            <a:avLst/>
          </a:prstGeom>
          <a:noFill/>
        </p:spPr>
        <p:txBody>
          <a:bodyPr wrap="square" rtlCol="0">
            <a:spAutoFit/>
          </a:bodyPr>
          <a:lstStyle/>
          <a:p>
            <a:pPr lvl="0">
              <a:defRPr/>
            </a:pPr>
            <a:r>
              <a:rPr lang="en-GB" b="1" noProof="0">
                <a:solidFill>
                  <a:prstClr val="black"/>
                </a:solidFill>
                <a:latin typeface="Avenir Next LT Pro" panose="020B0504020202020204" pitchFamily="34" charset="0"/>
                <a:cs typeface="Arial"/>
                <a:sym typeface="Arial"/>
              </a:rPr>
              <a:t>Example: Strategy Value Curve of Streaming Platforms</a:t>
            </a:r>
          </a:p>
        </p:txBody>
      </p:sp>
      <p:sp>
        <p:nvSpPr>
          <p:cNvPr id="4101" name="Rectangle: Rounded Corners 4100">
            <a:extLst>
              <a:ext uri="{FF2B5EF4-FFF2-40B4-BE49-F238E27FC236}">
                <a16:creationId xmlns:a16="http://schemas.microsoft.com/office/drawing/2014/main" id="{11519FD5-95AF-96B5-80E5-4DB0FCEC4746}"/>
              </a:ext>
            </a:extLst>
          </p:cNvPr>
          <p:cNvSpPr/>
          <p:nvPr/>
        </p:nvSpPr>
        <p:spPr>
          <a:xfrm>
            <a:off x="2755899" y="2000250"/>
            <a:ext cx="5048250" cy="390525"/>
          </a:xfrm>
          <a:prstGeom prst="roundRect">
            <a:avLst/>
          </a:prstGeom>
          <a:noFill/>
          <a:ln w="6350"/>
        </p:spPr>
        <p:style>
          <a:lnRef idx="2">
            <a:schemeClr val="accent1"/>
          </a:lnRef>
          <a:fillRef idx="1">
            <a:schemeClr val="lt1"/>
          </a:fillRef>
          <a:effectRef idx="0">
            <a:schemeClr val="accent1"/>
          </a:effectRef>
          <a:fontRef idx="minor">
            <a:schemeClr val="dk1"/>
          </a:fontRef>
        </p:style>
        <p:txBody>
          <a:bodyPr rtlCol="0" anchor="t"/>
          <a:lstStyle/>
          <a:p>
            <a:pPr algn="ctr"/>
            <a:endParaRPr lang="en-GB" sz="1200" noProof="0">
              <a:solidFill>
                <a:srgbClr val="776E6A"/>
              </a:solidFill>
            </a:endParaRPr>
          </a:p>
        </p:txBody>
      </p:sp>
      <p:sp>
        <p:nvSpPr>
          <p:cNvPr id="4102" name="Rectangle 4101">
            <a:extLst>
              <a:ext uri="{FF2B5EF4-FFF2-40B4-BE49-F238E27FC236}">
                <a16:creationId xmlns:a16="http://schemas.microsoft.com/office/drawing/2014/main" id="{A4AFE519-B709-41D2-32E6-BD38BDABE378}"/>
              </a:ext>
            </a:extLst>
          </p:cNvPr>
          <p:cNvSpPr/>
          <p:nvPr/>
        </p:nvSpPr>
        <p:spPr>
          <a:xfrm>
            <a:off x="4371975" y="1909763"/>
            <a:ext cx="1804988" cy="18573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noProof="0">
                <a:solidFill>
                  <a:srgbClr val="776E6A"/>
                </a:solidFill>
              </a:rPr>
              <a:t>Relative Performance</a:t>
            </a:r>
          </a:p>
        </p:txBody>
      </p:sp>
      <p:sp>
        <p:nvSpPr>
          <p:cNvPr id="4103" name="TextBox 4102">
            <a:extLst>
              <a:ext uri="{FF2B5EF4-FFF2-40B4-BE49-F238E27FC236}">
                <a16:creationId xmlns:a16="http://schemas.microsoft.com/office/drawing/2014/main" id="{D2FCA9BA-1A51-35A5-D51B-F3ECA1750E47}"/>
              </a:ext>
            </a:extLst>
          </p:cNvPr>
          <p:cNvSpPr txBox="1"/>
          <p:nvPr>
            <p:custDataLst>
              <p:tags r:id="rId5"/>
            </p:custDataLst>
          </p:nvPr>
        </p:nvSpPr>
        <p:spPr>
          <a:xfrm>
            <a:off x="1116180" y="5680075"/>
            <a:ext cx="1231900"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Importance</a:t>
            </a:r>
          </a:p>
        </p:txBody>
      </p:sp>
      <p:sp>
        <p:nvSpPr>
          <p:cNvPr id="4104" name="TextBox 4103">
            <a:extLst>
              <a:ext uri="{FF2B5EF4-FFF2-40B4-BE49-F238E27FC236}">
                <a16:creationId xmlns:a16="http://schemas.microsoft.com/office/drawing/2014/main" id="{D67E5C07-4C5E-4733-4830-FE8ACCA0A0B9}"/>
              </a:ext>
            </a:extLst>
          </p:cNvPr>
          <p:cNvSpPr txBox="1"/>
          <p:nvPr>
            <p:custDataLst>
              <p:tags r:id="rId6"/>
            </p:custDataLst>
          </p:nvPr>
        </p:nvSpPr>
        <p:spPr>
          <a:xfrm>
            <a:off x="4264025" y="6019800"/>
            <a:ext cx="2222500" cy="30797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sng"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Competing Factors</a:t>
            </a:r>
          </a:p>
        </p:txBody>
      </p:sp>
      <p:sp>
        <p:nvSpPr>
          <p:cNvPr id="4105" name="Rectangle 4104">
            <a:extLst>
              <a:ext uri="{FF2B5EF4-FFF2-40B4-BE49-F238E27FC236}">
                <a16:creationId xmlns:a16="http://schemas.microsoft.com/office/drawing/2014/main" id="{55CEC700-AD7B-77F3-9DE3-425B3E17A8D4}"/>
              </a:ext>
            </a:extLst>
          </p:cNvPr>
          <p:cNvSpPr/>
          <p:nvPr/>
        </p:nvSpPr>
        <p:spPr>
          <a:xfrm>
            <a:off x="508000" y="1909763"/>
            <a:ext cx="1016000" cy="238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noProof="0">
                <a:solidFill>
                  <a:schemeClr val="bg1"/>
                </a:solidFill>
              </a:rPr>
              <a:t>Price</a:t>
            </a:r>
          </a:p>
        </p:txBody>
      </p:sp>
      <p:graphicFrame>
        <p:nvGraphicFramePr>
          <p:cNvPr id="31" name="Chart 30">
            <a:extLst>
              <a:ext uri="{FF2B5EF4-FFF2-40B4-BE49-F238E27FC236}">
                <a16:creationId xmlns:a16="http://schemas.microsoft.com/office/drawing/2014/main" id="{A5DFBD17-E70D-4829-451E-2C1F041B34C5}"/>
              </a:ext>
            </a:extLst>
          </p:cNvPr>
          <p:cNvGraphicFramePr/>
          <p:nvPr>
            <p:custDataLst>
              <p:tags r:id="rId7"/>
            </p:custDataLst>
            <p:extLst>
              <p:ext uri="{D42A27DB-BD31-4B8C-83A1-F6EECF244321}">
                <p14:modId xmlns:p14="http://schemas.microsoft.com/office/powerpoint/2010/main" val="3172730452"/>
              </p:ext>
            </p:extLst>
          </p:nvPr>
        </p:nvGraphicFramePr>
        <p:xfrm>
          <a:off x="303213" y="2454275"/>
          <a:ext cx="1104900" cy="2917825"/>
        </p:xfrm>
        <a:graphic>
          <a:graphicData uri="http://schemas.openxmlformats.org/drawingml/2006/chart">
            <c:chart xmlns:c="http://schemas.openxmlformats.org/drawingml/2006/chart" xmlns:r="http://schemas.openxmlformats.org/officeDocument/2006/relationships" r:id="rId27"/>
          </a:graphicData>
        </a:graphic>
      </p:graphicFrame>
      <p:cxnSp>
        <p:nvCxnSpPr>
          <p:cNvPr id="4121" name="Straight Connector 4120">
            <a:extLst>
              <a:ext uri="{FF2B5EF4-FFF2-40B4-BE49-F238E27FC236}">
                <a16:creationId xmlns:a16="http://schemas.microsoft.com/office/drawing/2014/main" id="{23C0F503-F142-3082-C9ED-F16AB1FA13A3}"/>
              </a:ext>
            </a:extLst>
          </p:cNvPr>
          <p:cNvCxnSpPr>
            <a:cxnSpLocks/>
          </p:cNvCxnSpPr>
          <p:nvPr>
            <p:custDataLst>
              <p:tags r:id="rId8"/>
            </p:custDataLst>
          </p:nvPr>
        </p:nvCxnSpPr>
        <p:spPr bwMode="auto">
          <a:xfrm flipH="1" flipV="1">
            <a:off x="1006475" y="3741738"/>
            <a:ext cx="14288" cy="777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22" name="Straight Connector 4121">
            <a:extLst>
              <a:ext uri="{FF2B5EF4-FFF2-40B4-BE49-F238E27FC236}">
                <a16:creationId xmlns:a16="http://schemas.microsoft.com/office/drawing/2014/main" id="{1A1EB6EF-3182-53AC-DF8C-FCF7E8CF9971}"/>
              </a:ext>
            </a:extLst>
          </p:cNvPr>
          <p:cNvCxnSpPr>
            <a:cxnSpLocks/>
          </p:cNvCxnSpPr>
          <p:nvPr>
            <p:custDataLst>
              <p:tags r:id="rId9"/>
            </p:custDataLst>
          </p:nvPr>
        </p:nvCxnSpPr>
        <p:spPr bwMode="auto">
          <a:xfrm flipH="1" flipV="1">
            <a:off x="1041400" y="3700463"/>
            <a:ext cx="39688" cy="15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23" name="Straight Connector 4122">
            <a:extLst>
              <a:ext uri="{FF2B5EF4-FFF2-40B4-BE49-F238E27FC236}">
                <a16:creationId xmlns:a16="http://schemas.microsoft.com/office/drawing/2014/main" id="{73C49C3F-ABEA-8F47-3DC7-E09E315FECCE}"/>
              </a:ext>
            </a:extLst>
          </p:cNvPr>
          <p:cNvCxnSpPr>
            <a:cxnSpLocks/>
          </p:cNvCxnSpPr>
          <p:nvPr>
            <p:custDataLst>
              <p:tags r:id="rId10"/>
            </p:custDataLst>
          </p:nvPr>
        </p:nvCxnSpPr>
        <p:spPr bwMode="auto">
          <a:xfrm>
            <a:off x="973137" y="4248150"/>
            <a:ext cx="14288" cy="603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24" name="Straight Connector 4123">
            <a:extLst>
              <a:ext uri="{FF2B5EF4-FFF2-40B4-BE49-F238E27FC236}">
                <a16:creationId xmlns:a16="http://schemas.microsoft.com/office/drawing/2014/main" id="{CE89E80B-A1B2-56BF-6208-E17732A0E34E}"/>
              </a:ext>
            </a:extLst>
          </p:cNvPr>
          <p:cNvCxnSpPr>
            <a:cxnSpLocks/>
          </p:cNvCxnSpPr>
          <p:nvPr>
            <p:custDataLst>
              <p:tags r:id="rId11"/>
            </p:custDataLst>
          </p:nvPr>
        </p:nvCxnSpPr>
        <p:spPr bwMode="auto">
          <a:xfrm flipH="1" flipV="1">
            <a:off x="1030289" y="3292475"/>
            <a:ext cx="104775" cy="904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64" name="Straight Connector 4163">
            <a:extLst>
              <a:ext uri="{FF2B5EF4-FFF2-40B4-BE49-F238E27FC236}">
                <a16:creationId xmlns:a16="http://schemas.microsoft.com/office/drawing/2014/main" id="{ACB7DB80-0B1A-0A81-FB7B-54A396AE2537}"/>
              </a:ext>
            </a:extLst>
          </p:cNvPr>
          <p:cNvCxnSpPr>
            <a:cxnSpLocks/>
          </p:cNvCxnSpPr>
          <p:nvPr>
            <p:custDataLst>
              <p:tags r:id="rId12"/>
            </p:custDataLst>
          </p:nvPr>
        </p:nvCxnSpPr>
        <p:spPr bwMode="auto">
          <a:xfrm flipH="1">
            <a:off x="1000126" y="2614612"/>
            <a:ext cx="11113" cy="3889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125" name="Rectangle 4124">
            <a:extLst>
              <a:ext uri="{FF2B5EF4-FFF2-40B4-BE49-F238E27FC236}">
                <a16:creationId xmlns:a16="http://schemas.microsoft.com/office/drawing/2014/main" id="{C1A2F839-109A-D06C-0AA5-4DB6FCCBE624}"/>
              </a:ext>
            </a:extLst>
          </p:cNvPr>
          <p:cNvSpPr/>
          <p:nvPr>
            <p:custDataLst>
              <p:tags r:id="rId13"/>
            </p:custDataLst>
          </p:nvPr>
        </p:nvSpPr>
        <p:spPr bwMode="gray">
          <a:xfrm>
            <a:off x="839788" y="3819525"/>
            <a:ext cx="3889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t"/>
          <a:lstStyle/>
          <a:p>
            <a:pPr>
              <a:lnSpc>
                <a:spcPct val="90000"/>
              </a:lnSpc>
              <a:spcBef>
                <a:spcPct val="0"/>
              </a:spcBef>
              <a:spcAft>
                <a:spcPct val="0"/>
              </a:spcAft>
            </a:pPr>
            <a:fld id="{579A1061-5517-480F-AC82-EADC4C776404}" type="datetime'N''''''''''''''e''t''''''f''l''''''''''''i''x'''''''">
              <a:rPr lang="en-GB" sz="1000" noProof="0" smtClean="0">
                <a:solidFill>
                  <a:schemeClr val="tx1"/>
                </a:solidFill>
              </a:rPr>
              <a:pPr>
                <a:lnSpc>
                  <a:spcPct val="90000"/>
                </a:lnSpc>
                <a:spcBef>
                  <a:spcPct val="0"/>
                </a:spcBef>
                <a:spcAft>
                  <a:spcPct val="0"/>
                </a:spcAft>
              </a:pPr>
              <a:t>Netflix</a:t>
            </a:fld>
            <a:endParaRPr lang="en-GB" sz="1000" noProof="0">
              <a:solidFill>
                <a:schemeClr val="tx1"/>
              </a:solidFill>
            </a:endParaRPr>
          </a:p>
        </p:txBody>
      </p:sp>
      <p:sp>
        <p:nvSpPr>
          <p:cNvPr id="4126" name="Rectangle 4125">
            <a:extLst>
              <a:ext uri="{FF2B5EF4-FFF2-40B4-BE49-F238E27FC236}">
                <a16:creationId xmlns:a16="http://schemas.microsoft.com/office/drawing/2014/main" id="{5693DCF4-A2FA-3BCE-87D5-75F0AC657589}"/>
              </a:ext>
            </a:extLst>
          </p:cNvPr>
          <p:cNvSpPr/>
          <p:nvPr>
            <p:custDataLst>
              <p:tags r:id="rId14"/>
            </p:custDataLst>
          </p:nvPr>
        </p:nvSpPr>
        <p:spPr bwMode="gray">
          <a:xfrm>
            <a:off x="1081088" y="3630613"/>
            <a:ext cx="2651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t"/>
          <a:lstStyle/>
          <a:p>
            <a:pPr>
              <a:lnSpc>
                <a:spcPct val="90000"/>
              </a:lnSpc>
              <a:spcBef>
                <a:spcPct val="0"/>
              </a:spcBef>
              <a:spcAft>
                <a:spcPct val="0"/>
              </a:spcAft>
            </a:pPr>
            <a:fld id="{5B33F798-4A3C-4E65-BA46-D83CA141C930}" type="datetime'''''''''''''1''3'''''''''''''''''''''''''''''''''''''''''''">
              <a:rPr lang="en-GB" sz="1100" noProof="0" smtClean="0">
                <a:solidFill>
                  <a:srgbClr val="000000"/>
                </a:solidFill>
              </a:rPr>
              <a:pPr>
                <a:lnSpc>
                  <a:spcPct val="90000"/>
                </a:lnSpc>
                <a:spcBef>
                  <a:spcPct val="0"/>
                </a:spcBef>
                <a:spcAft>
                  <a:spcPct val="0"/>
                </a:spcAft>
              </a:pPr>
              <a:t>13</a:t>
            </a:fld>
            <a:r>
              <a:rPr lang="en-GB" sz="1100" noProof="0">
                <a:solidFill>
                  <a:schemeClr val="tx1"/>
                </a:solidFill>
              </a:rPr>
              <a:t>€</a:t>
            </a:r>
            <a:endParaRPr lang="en-GB" sz="1400" noProof="0">
              <a:solidFill>
                <a:schemeClr val="tx1"/>
              </a:solidFill>
            </a:endParaRPr>
          </a:p>
        </p:txBody>
      </p:sp>
      <p:sp>
        <p:nvSpPr>
          <p:cNvPr id="4127" name="Rectangle 4126">
            <a:extLst>
              <a:ext uri="{FF2B5EF4-FFF2-40B4-BE49-F238E27FC236}">
                <a16:creationId xmlns:a16="http://schemas.microsoft.com/office/drawing/2014/main" id="{760929FD-2E6E-3143-80DE-4B66BB041E51}"/>
              </a:ext>
            </a:extLst>
          </p:cNvPr>
          <p:cNvSpPr/>
          <p:nvPr>
            <p:custDataLst>
              <p:tags r:id="rId15"/>
            </p:custDataLst>
          </p:nvPr>
        </p:nvSpPr>
        <p:spPr bwMode="gray">
          <a:xfrm>
            <a:off x="665163" y="4111625"/>
            <a:ext cx="581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t"/>
          <a:lstStyle/>
          <a:p>
            <a:pPr>
              <a:lnSpc>
                <a:spcPct val="90000"/>
              </a:lnSpc>
              <a:spcBef>
                <a:spcPct val="0"/>
              </a:spcBef>
              <a:spcAft>
                <a:spcPct val="0"/>
              </a:spcAft>
            </a:pPr>
            <a:fld id="{8CECC1A2-901C-4854-8FC8-F55885FDD610}" type="datetime'''''''''''A''''''''''''p''p''l''''e'''' ''T''''''''V''+'''">
              <a:rPr lang="en-GB" sz="1000" noProof="0" smtClean="0">
                <a:solidFill>
                  <a:schemeClr val="tx1"/>
                </a:solidFill>
              </a:rPr>
              <a:pPr>
                <a:lnSpc>
                  <a:spcPct val="90000"/>
                </a:lnSpc>
                <a:spcBef>
                  <a:spcPct val="0"/>
                </a:spcBef>
                <a:spcAft>
                  <a:spcPct val="0"/>
                </a:spcAft>
              </a:pPr>
              <a:t>Apple TV+</a:t>
            </a:fld>
            <a:endParaRPr lang="en-GB" sz="1000" noProof="0">
              <a:solidFill>
                <a:schemeClr val="tx1"/>
              </a:solidFill>
            </a:endParaRPr>
          </a:p>
        </p:txBody>
      </p:sp>
      <p:sp>
        <p:nvSpPr>
          <p:cNvPr id="4128" name="Rectangle 4127">
            <a:extLst>
              <a:ext uri="{FF2B5EF4-FFF2-40B4-BE49-F238E27FC236}">
                <a16:creationId xmlns:a16="http://schemas.microsoft.com/office/drawing/2014/main" id="{3A4528D9-A8A3-D5A8-16E1-D102FEE888FF}"/>
              </a:ext>
            </a:extLst>
          </p:cNvPr>
          <p:cNvSpPr/>
          <p:nvPr>
            <p:custDataLst>
              <p:tags r:id="rId16"/>
            </p:custDataLst>
          </p:nvPr>
        </p:nvSpPr>
        <p:spPr bwMode="gray">
          <a:xfrm>
            <a:off x="1057275" y="4275138"/>
            <a:ext cx="2651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ctr"/>
          <a:lstStyle/>
          <a:p>
            <a:pPr>
              <a:lnSpc>
                <a:spcPct val="90000"/>
              </a:lnSpc>
              <a:spcBef>
                <a:spcPct val="0"/>
              </a:spcBef>
              <a:spcAft>
                <a:spcPct val="0"/>
              </a:spcAft>
            </a:pPr>
            <a:fld id="{9F2B5965-7FAF-4201-8A7E-095EA38591CE}" type="datetime'''''''''''''1''''''''''''''''''''''''''''''''''''''''''0'''''">
              <a:rPr lang="en-GB" sz="1100" noProof="0" smtClean="0">
                <a:solidFill>
                  <a:schemeClr val="tx1"/>
                </a:solidFill>
              </a:rPr>
              <a:pPr>
                <a:lnSpc>
                  <a:spcPct val="90000"/>
                </a:lnSpc>
                <a:spcBef>
                  <a:spcPct val="0"/>
                </a:spcBef>
                <a:spcAft>
                  <a:spcPct val="0"/>
                </a:spcAft>
              </a:pPr>
              <a:t>10</a:t>
            </a:fld>
            <a:r>
              <a:rPr lang="en-GB" sz="1100" noProof="0">
                <a:solidFill>
                  <a:schemeClr val="tx1"/>
                </a:solidFill>
              </a:rPr>
              <a:t>€</a:t>
            </a:r>
            <a:endParaRPr lang="en-GB" sz="1400" noProof="0">
              <a:solidFill>
                <a:schemeClr val="tx1"/>
              </a:solidFill>
            </a:endParaRPr>
          </a:p>
        </p:txBody>
      </p:sp>
      <p:sp useBgFill="1">
        <p:nvSpPr>
          <p:cNvPr id="4129" name="Rectangle 4128">
            <a:extLst>
              <a:ext uri="{FF2B5EF4-FFF2-40B4-BE49-F238E27FC236}">
                <a16:creationId xmlns:a16="http://schemas.microsoft.com/office/drawing/2014/main" id="{C4D4CDDC-7A05-9AB3-46A8-CA082655C80F}"/>
              </a:ext>
            </a:extLst>
          </p:cNvPr>
          <p:cNvSpPr/>
          <p:nvPr>
            <p:custDataLst>
              <p:tags r:id="rId17"/>
            </p:custDataLst>
          </p:nvPr>
        </p:nvSpPr>
        <p:spPr bwMode="gray">
          <a:xfrm>
            <a:off x="630239" y="3382963"/>
            <a:ext cx="1165225" cy="136525"/>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t"/>
          <a:lstStyle/>
          <a:p>
            <a:pPr>
              <a:lnSpc>
                <a:spcPct val="90000"/>
              </a:lnSpc>
              <a:spcBef>
                <a:spcPct val="0"/>
              </a:spcBef>
              <a:spcAft>
                <a:spcPct val="0"/>
              </a:spcAft>
            </a:pPr>
            <a:fld id="{3D93419E-B2A6-4242-82D3-495F0783A6C8}" type="datetime'''Ama''''''''''zon'''' ''Pr''''''''''im''e ''Vi''''d''eo'">
              <a:rPr lang="en-GB" sz="1000" noProof="0" smtClean="0">
                <a:solidFill>
                  <a:schemeClr val="tx1"/>
                </a:solidFill>
                <a:effectLst/>
              </a:rPr>
              <a:pPr>
                <a:lnSpc>
                  <a:spcPct val="90000"/>
                </a:lnSpc>
                <a:spcBef>
                  <a:spcPct val="0"/>
                </a:spcBef>
                <a:spcAft>
                  <a:spcPct val="0"/>
                </a:spcAft>
              </a:pPr>
              <a:t>Amazon Prime Video</a:t>
            </a:fld>
            <a:endParaRPr lang="en-GB" sz="1000" noProof="0">
              <a:solidFill>
                <a:schemeClr val="tx1"/>
              </a:solidFill>
            </a:endParaRPr>
          </a:p>
        </p:txBody>
      </p:sp>
      <p:sp>
        <p:nvSpPr>
          <p:cNvPr id="4130" name="Rectangle 4129">
            <a:extLst>
              <a:ext uri="{FF2B5EF4-FFF2-40B4-BE49-F238E27FC236}">
                <a16:creationId xmlns:a16="http://schemas.microsoft.com/office/drawing/2014/main" id="{5563B9DB-BCA2-D91C-3DD8-D7C8CEEBB569}"/>
              </a:ext>
            </a:extLst>
          </p:cNvPr>
          <p:cNvSpPr/>
          <p:nvPr>
            <p:custDataLst>
              <p:tags r:id="rId18"/>
            </p:custDataLst>
          </p:nvPr>
        </p:nvSpPr>
        <p:spPr bwMode="gray">
          <a:xfrm>
            <a:off x="1057275" y="3160713"/>
            <a:ext cx="2651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ctr"/>
          <a:lstStyle/>
          <a:p>
            <a:pPr>
              <a:lnSpc>
                <a:spcPct val="90000"/>
              </a:lnSpc>
              <a:spcBef>
                <a:spcPct val="0"/>
              </a:spcBef>
              <a:spcAft>
                <a:spcPct val="0"/>
              </a:spcAft>
            </a:pPr>
            <a:fld id="{694995E3-E349-492D-88B9-12D8E50F5170}" type="datetime'1''''''''''''''''5'''''''''''''''''''''''">
              <a:rPr lang="en-GB" sz="1100" noProof="0" smtClean="0">
                <a:solidFill>
                  <a:schemeClr val="tx1"/>
                </a:solidFill>
                <a:effectLst/>
              </a:rPr>
              <a:pPr>
                <a:lnSpc>
                  <a:spcPct val="90000"/>
                </a:lnSpc>
                <a:spcBef>
                  <a:spcPct val="0"/>
                </a:spcBef>
                <a:spcAft>
                  <a:spcPct val="0"/>
                </a:spcAft>
              </a:pPr>
              <a:t>15</a:t>
            </a:fld>
            <a:r>
              <a:rPr lang="en-GB" sz="1100" noProof="0">
                <a:solidFill>
                  <a:schemeClr val="tx1"/>
                </a:solidFill>
              </a:rPr>
              <a:t>€</a:t>
            </a:r>
          </a:p>
        </p:txBody>
      </p:sp>
      <p:sp>
        <p:nvSpPr>
          <p:cNvPr id="4153" name="Text Placeholder 2">
            <a:extLst>
              <a:ext uri="{FF2B5EF4-FFF2-40B4-BE49-F238E27FC236}">
                <a16:creationId xmlns:a16="http://schemas.microsoft.com/office/drawing/2014/main" id="{3AB59637-5012-26B7-7485-6DA85E8D3405}"/>
              </a:ext>
            </a:extLst>
          </p:cNvPr>
          <p:cNvSpPr>
            <a:spLocks noGrp="1"/>
          </p:cNvSpPr>
          <p:nvPr>
            <p:custDataLst>
              <p:tags r:id="rId19"/>
            </p:custDataLst>
          </p:nvPr>
        </p:nvSpPr>
        <p:spPr bwMode="gray">
          <a:xfrm>
            <a:off x="774700" y="2478089"/>
            <a:ext cx="47625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61FE36D-6913-4DBF-A2B8-9BC2D340DB87}" type="datetime'''''''''''''''D''i''''''s''n''''''''e''y''''+'''''''''">
              <a:rPr lang="en-GB" sz="1000" noProof="0" smtClean="0">
                <a:effectLst/>
              </a:rPr>
              <a:pPr marL="0" lvl="0" indent="0">
                <a:spcBef>
                  <a:spcPct val="0"/>
                </a:spcBef>
                <a:spcAft>
                  <a:spcPct val="0"/>
                </a:spcAft>
                <a:buNone/>
              </a:pPr>
              <a:t>Disney+</a:t>
            </a:fld>
            <a:endParaRPr lang="en-GB" sz="1000" noProof="0"/>
          </a:p>
        </p:txBody>
      </p:sp>
      <p:sp>
        <p:nvSpPr>
          <p:cNvPr id="4151" name="Rectangle 4150">
            <a:extLst>
              <a:ext uri="{FF2B5EF4-FFF2-40B4-BE49-F238E27FC236}">
                <a16:creationId xmlns:a16="http://schemas.microsoft.com/office/drawing/2014/main" id="{61B0DBE6-7508-7AEE-F947-C61EB73ED456}"/>
              </a:ext>
            </a:extLst>
          </p:cNvPr>
          <p:cNvSpPr/>
          <p:nvPr>
            <p:custDataLst>
              <p:tags r:id="rId20"/>
            </p:custDataLst>
          </p:nvPr>
        </p:nvSpPr>
        <p:spPr bwMode="gray">
          <a:xfrm>
            <a:off x="1057275" y="2971800"/>
            <a:ext cx="1905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ctr"/>
          <a:lstStyle/>
          <a:p>
            <a:pPr>
              <a:lnSpc>
                <a:spcPct val="90000"/>
              </a:lnSpc>
              <a:spcBef>
                <a:spcPct val="0"/>
              </a:spcBef>
              <a:spcAft>
                <a:spcPct val="0"/>
              </a:spcAft>
            </a:pPr>
            <a:fld id="{DACF8F1F-D5E2-4D10-B38C-1FC9ABB34E48}" type="datetime'''''''''''''''16'''''''''''''''''''''''''''''''''''''''''''">
              <a:rPr lang="en-GB" sz="1100" noProof="0" smtClean="0">
                <a:solidFill>
                  <a:schemeClr val="tx1"/>
                </a:solidFill>
              </a:rPr>
              <a:pPr>
                <a:lnSpc>
                  <a:spcPct val="90000"/>
                </a:lnSpc>
                <a:spcBef>
                  <a:spcPct val="0"/>
                </a:spcBef>
                <a:spcAft>
                  <a:spcPct val="0"/>
                </a:spcAft>
              </a:pPr>
              <a:t>16</a:t>
            </a:fld>
            <a:endParaRPr lang="en-GB" sz="1100" noProof="0">
              <a:solidFill>
                <a:schemeClr val="tx1"/>
              </a:solidFill>
            </a:endParaRPr>
          </a:p>
        </p:txBody>
      </p:sp>
      <p:cxnSp>
        <p:nvCxnSpPr>
          <p:cNvPr id="4131" name="Straight Connector 4130">
            <a:extLst>
              <a:ext uri="{FF2B5EF4-FFF2-40B4-BE49-F238E27FC236}">
                <a16:creationId xmlns:a16="http://schemas.microsoft.com/office/drawing/2014/main" id="{955F99E1-8CD4-726B-CD63-EECAFAA52831}"/>
              </a:ext>
            </a:extLst>
          </p:cNvPr>
          <p:cNvCxnSpPr>
            <a:cxnSpLocks/>
          </p:cNvCxnSpPr>
          <p:nvPr>
            <p:custDataLst>
              <p:tags r:id="rId21"/>
            </p:custDataLst>
          </p:nvPr>
        </p:nvCxnSpPr>
        <p:spPr>
          <a:xfrm>
            <a:off x="1697325" y="1909763"/>
            <a:ext cx="0" cy="3725861"/>
          </a:xfrm>
          <a:prstGeom prst="line">
            <a:avLst/>
          </a:prstGeom>
          <a:ln w="635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4132" name="Table 4131">
            <a:extLst>
              <a:ext uri="{FF2B5EF4-FFF2-40B4-BE49-F238E27FC236}">
                <a16:creationId xmlns:a16="http://schemas.microsoft.com/office/drawing/2014/main" id="{2770D915-2500-CFB6-28AF-DA68D9B03BFC}"/>
              </a:ext>
            </a:extLst>
          </p:cNvPr>
          <p:cNvGraphicFramePr>
            <a:graphicFrameLocks noGrp="1"/>
          </p:cNvGraphicFramePr>
          <p:nvPr>
            <p:extLst>
              <p:ext uri="{D42A27DB-BD31-4B8C-83A1-F6EECF244321}">
                <p14:modId xmlns:p14="http://schemas.microsoft.com/office/powerpoint/2010/main" val="2020546276"/>
              </p:ext>
            </p:extLst>
          </p:nvPr>
        </p:nvGraphicFramePr>
        <p:xfrm>
          <a:off x="2346452" y="5738812"/>
          <a:ext cx="6461504" cy="198438"/>
        </p:xfrm>
        <a:graphic>
          <a:graphicData uri="http://schemas.openxmlformats.org/drawingml/2006/table">
            <a:tbl>
              <a:tblPr/>
              <a:tblGrid>
                <a:gridCol w="807688">
                  <a:extLst>
                    <a:ext uri="{9D8B030D-6E8A-4147-A177-3AD203B41FA5}">
                      <a16:colId xmlns:a16="http://schemas.microsoft.com/office/drawing/2014/main" val="927475101"/>
                    </a:ext>
                  </a:extLst>
                </a:gridCol>
                <a:gridCol w="807688">
                  <a:extLst>
                    <a:ext uri="{9D8B030D-6E8A-4147-A177-3AD203B41FA5}">
                      <a16:colId xmlns:a16="http://schemas.microsoft.com/office/drawing/2014/main" val="3621478028"/>
                    </a:ext>
                  </a:extLst>
                </a:gridCol>
                <a:gridCol w="807688">
                  <a:extLst>
                    <a:ext uri="{9D8B030D-6E8A-4147-A177-3AD203B41FA5}">
                      <a16:colId xmlns:a16="http://schemas.microsoft.com/office/drawing/2014/main" val="2076886395"/>
                    </a:ext>
                  </a:extLst>
                </a:gridCol>
                <a:gridCol w="807688">
                  <a:extLst>
                    <a:ext uri="{9D8B030D-6E8A-4147-A177-3AD203B41FA5}">
                      <a16:colId xmlns:a16="http://schemas.microsoft.com/office/drawing/2014/main" val="460336682"/>
                    </a:ext>
                  </a:extLst>
                </a:gridCol>
                <a:gridCol w="807688">
                  <a:extLst>
                    <a:ext uri="{9D8B030D-6E8A-4147-A177-3AD203B41FA5}">
                      <a16:colId xmlns:a16="http://schemas.microsoft.com/office/drawing/2014/main" val="473887376"/>
                    </a:ext>
                  </a:extLst>
                </a:gridCol>
                <a:gridCol w="807688">
                  <a:extLst>
                    <a:ext uri="{9D8B030D-6E8A-4147-A177-3AD203B41FA5}">
                      <a16:colId xmlns:a16="http://schemas.microsoft.com/office/drawing/2014/main" val="3055592265"/>
                    </a:ext>
                  </a:extLst>
                </a:gridCol>
                <a:gridCol w="807688">
                  <a:extLst>
                    <a:ext uri="{9D8B030D-6E8A-4147-A177-3AD203B41FA5}">
                      <a16:colId xmlns:a16="http://schemas.microsoft.com/office/drawing/2014/main" val="2755530168"/>
                    </a:ext>
                  </a:extLst>
                </a:gridCol>
                <a:gridCol w="807688">
                  <a:extLst>
                    <a:ext uri="{9D8B030D-6E8A-4147-A177-3AD203B41FA5}">
                      <a16:colId xmlns:a16="http://schemas.microsoft.com/office/drawing/2014/main" val="128927786"/>
                    </a:ext>
                  </a:extLst>
                </a:gridCol>
              </a:tblGrid>
              <a:tr h="198438">
                <a:tc>
                  <a:txBody>
                    <a:bodyPr/>
                    <a:lstStyle/>
                    <a:p>
                      <a:pPr algn="ctr" rtl="0" fontAlgn="b"/>
                      <a:r>
                        <a:rPr lang="en-GB" sz="1200" b="1" i="0" u="none" strike="noStrike" noProof="0">
                          <a:solidFill>
                            <a:srgbClr val="000000"/>
                          </a:solidFill>
                          <a:effectLst/>
                          <a:latin typeface="Aptos Narrow" panose="020B0004020202020204" pitchFamily="34" charset="0"/>
                        </a:rPr>
                        <a:t>4</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86CC99"/>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4</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86CC99"/>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5</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63BE7B"/>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4</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86CC99"/>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3</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DBEFE2"/>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3</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DBEFE2"/>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4</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86CC99"/>
                    </a:solidFill>
                  </a:tcPr>
                </a:tc>
                <a:tc>
                  <a:txBody>
                    <a:bodyPr/>
                    <a:lstStyle/>
                    <a:p>
                      <a:pPr algn="ctr" rtl="0" fontAlgn="b"/>
                      <a:r>
                        <a:rPr lang="en-GB" sz="1200" b="1" i="0" u="none" strike="noStrike" noProof="0">
                          <a:solidFill>
                            <a:srgbClr val="000000"/>
                          </a:solidFill>
                          <a:effectLst/>
                          <a:latin typeface="Aptos Narrow" panose="020B0004020202020204" pitchFamily="34" charset="0"/>
                        </a:rPr>
                        <a:t>4</a:t>
                      </a:r>
                    </a:p>
                  </a:txBody>
                  <a:tcPr marL="7620" marR="7620" marT="7620"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86CC99"/>
                    </a:solidFill>
                  </a:tcPr>
                </a:tc>
                <a:extLst>
                  <a:ext uri="{0D108BD9-81ED-4DB2-BD59-A6C34878D82A}">
                    <a16:rowId xmlns:a16="http://schemas.microsoft.com/office/drawing/2014/main" val="3496992022"/>
                  </a:ext>
                </a:extLst>
              </a:tr>
            </a:tbl>
          </a:graphicData>
        </a:graphic>
      </p:graphicFrame>
      <p:pic>
        <p:nvPicPr>
          <p:cNvPr id="45" name="Picture 2">
            <a:extLst>
              <a:ext uri="{FF2B5EF4-FFF2-40B4-BE49-F238E27FC236}">
                <a16:creationId xmlns:a16="http://schemas.microsoft.com/office/drawing/2014/main" id="{49BA07AF-40E4-AA2C-490E-A9E93B945420}"/>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8537984" y="4115240"/>
            <a:ext cx="517370" cy="15756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a:extLst>
              <a:ext uri="{FF2B5EF4-FFF2-40B4-BE49-F238E27FC236}">
                <a16:creationId xmlns:a16="http://schemas.microsoft.com/office/drawing/2014/main" id="{310336EC-948F-8215-37D9-AEAE39A0F618}"/>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05366" y="3390900"/>
            <a:ext cx="446620" cy="16957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8">
            <a:extLst>
              <a:ext uri="{FF2B5EF4-FFF2-40B4-BE49-F238E27FC236}">
                <a16:creationId xmlns:a16="http://schemas.microsoft.com/office/drawing/2014/main" id="{C278C1D7-5489-3313-0D7F-34EA00EED289}"/>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8430200" y="2611679"/>
            <a:ext cx="637672" cy="19688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Disney+ Logo 2024 | Disney Plus Press">
            <a:extLst>
              <a:ext uri="{FF2B5EF4-FFF2-40B4-BE49-F238E27FC236}">
                <a16:creationId xmlns:a16="http://schemas.microsoft.com/office/drawing/2014/main" id="{ECA55480-5ED2-6B26-3ADC-BF6FF1CB30FD}"/>
              </a:ext>
            </a:extLst>
          </p:cNvPr>
          <p:cNvPicPr>
            <a:picLocks noChangeAspect="1" noChangeArrowheads="1"/>
          </p:cNvPicPr>
          <p:nvPr/>
        </p:nvPicPr>
        <p:blipFill>
          <a:blip r:embed="rId31">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74030" y="3017082"/>
            <a:ext cx="542662" cy="305925"/>
          </a:xfrm>
          <a:prstGeom prst="rect">
            <a:avLst/>
          </a:prstGeom>
          <a:noFill/>
          <a:extLst>
            <a:ext uri="{909E8E84-426E-40DD-AFC4-6F175D3DCCD1}">
              <a14:hiddenFill xmlns:a14="http://schemas.microsoft.com/office/drawing/2010/main">
                <a:solidFill>
                  <a:srgbClr val="FFFFFF"/>
                </a:solidFill>
              </a14:hiddenFill>
            </a:ext>
          </a:extLst>
        </p:spPr>
      </p:pic>
      <p:sp>
        <p:nvSpPr>
          <p:cNvPr id="13" name="Arrow: Chevron 12">
            <a:extLst>
              <a:ext uri="{FF2B5EF4-FFF2-40B4-BE49-F238E27FC236}">
                <a16:creationId xmlns:a16="http://schemas.microsoft.com/office/drawing/2014/main" id="{874B1C40-1189-228B-2B7F-A905847F0C54}"/>
              </a:ext>
            </a:extLst>
          </p:cNvPr>
          <p:cNvSpPr/>
          <p:nvPr/>
        </p:nvSpPr>
        <p:spPr>
          <a:xfrm>
            <a:off x="8108917"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What It Is and Why It Is Important</a:t>
            </a:r>
          </a:p>
        </p:txBody>
      </p:sp>
      <p:sp>
        <p:nvSpPr>
          <p:cNvPr id="29" name="Arrow: Chevron 28">
            <a:extLst>
              <a:ext uri="{FF2B5EF4-FFF2-40B4-BE49-F238E27FC236}">
                <a16:creationId xmlns:a16="http://schemas.microsoft.com/office/drawing/2014/main" id="{0E5AFE53-3CA7-FC66-18A2-90DE732A1150}"/>
              </a:ext>
            </a:extLst>
          </p:cNvPr>
          <p:cNvSpPr/>
          <p:nvPr/>
        </p:nvSpPr>
        <p:spPr>
          <a:xfrm>
            <a:off x="9071675" y="251373"/>
            <a:ext cx="990600" cy="584200"/>
          </a:xfrm>
          <a:prstGeom prst="chevron">
            <a:avLst>
              <a:gd name="adj" fmla="val 19565"/>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Strategic Choices</a:t>
            </a:r>
          </a:p>
        </p:txBody>
      </p:sp>
      <p:sp>
        <p:nvSpPr>
          <p:cNvPr id="30" name="Arrow: Chevron 29">
            <a:extLst>
              <a:ext uri="{FF2B5EF4-FFF2-40B4-BE49-F238E27FC236}">
                <a16:creationId xmlns:a16="http://schemas.microsoft.com/office/drawing/2014/main" id="{368FBF42-B52C-5750-5F15-1612AC3DC2BF}"/>
              </a:ext>
            </a:extLst>
          </p:cNvPr>
          <p:cNvSpPr/>
          <p:nvPr/>
        </p:nvSpPr>
        <p:spPr>
          <a:xfrm>
            <a:off x="10034433"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Diagnostic Questions</a:t>
            </a:r>
          </a:p>
        </p:txBody>
      </p:sp>
      <p:sp>
        <p:nvSpPr>
          <p:cNvPr id="32" name="Arrow: Chevron 31">
            <a:extLst>
              <a:ext uri="{FF2B5EF4-FFF2-40B4-BE49-F238E27FC236}">
                <a16:creationId xmlns:a16="http://schemas.microsoft.com/office/drawing/2014/main" id="{8FBCB2F4-185F-CB3E-18F4-58EE48260D60}"/>
              </a:ext>
            </a:extLst>
          </p:cNvPr>
          <p:cNvSpPr/>
          <p:nvPr/>
        </p:nvSpPr>
        <p:spPr>
          <a:xfrm>
            <a:off x="10999632" y="251373"/>
            <a:ext cx="990600" cy="584200"/>
          </a:xfrm>
          <a:prstGeom prst="chevron">
            <a:avLst>
              <a:gd name="adj" fmla="val 19565"/>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b="1" noProof="0">
                <a:solidFill>
                  <a:schemeClr val="bg1"/>
                </a:solidFill>
              </a:rPr>
              <a:t>Key Concepts &amp; Frameworks </a:t>
            </a:r>
          </a:p>
        </p:txBody>
      </p:sp>
    </p:spTree>
    <p:extLst>
      <p:ext uri="{BB962C8B-B14F-4D97-AF65-F5344CB8AC3E}">
        <p14:creationId xmlns:p14="http://schemas.microsoft.com/office/powerpoint/2010/main" val="2954176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72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1.53144100000000005224E+00&quot;&gt;&lt;m_msothmcolidx val=&quot;0&quot;/&gt;&lt;m_rgb r=&quot;41&quot; g=&quot;76&quot; b=&quot;BC&quot;/&gt;&lt;/elem&gt;&lt;elem m_fUsage=&quot;1.37829690000000004702E+00&quot;&gt;&lt;m_msothmcolidx val=&quot;0&quot;/&gt;&lt;m_rgb r=&quot;ED&quot; g=&quot;19&quot; b=&quot;2D&quot;/&gt;&lt;/elem&gt;&lt;elem m_fUsage=&quot;8.10000000000000053291E-01&quot;&gt;&lt;m_msothmcolidx val=&quot;0&quot;/&gt;&lt;m_rgb r=&quot;28&quot; g=&quot;33&quot; b=&quot;8A&quot;/&gt;&lt;/elem&gt;&lt;elem m_fUsage=&quot;7.29000000000000092371E-01&quot;&gt;&lt;m_msothmcolidx val=&quot;0&quot;/&gt;&lt;m_rgb r=&quot;90&quot; g=&quot;CD&quot; b=&quot;54&quot;/&gt;&lt;/elem&gt;&lt;elem m_fUsage=&quot;6.56100000000000127542E-01&quot;&gt;&lt;m_msothmcolidx val=&quot;0&quot;/&gt;&lt;m_rgb r=&quot;A8&quot; g=&quot;B0&quot; b=&quot;BF&quot;/&gt;&lt;/elem&gt;&lt;elem m_fUsage=&quot;5.90490000000000181402E-01&quot;&gt;&lt;m_msothmcolidx val=&quot;0&quot;/&gt;&lt;m_rgb r=&quot;F9&quot; g=&quot;D5&quot; b=&quot;4D&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DLLWMky5HUT2_2BrQSBtz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P6D9VTKJhruLKWDRWCUI.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LuqGsl5YcMmAuejHygn47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WmloqEH9qdgfzMpp1UC6h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ue2B6zRgxLC9ajvJpjb9Z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mpUq9QQW_zqam.SOdzrtW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veo6.HL77bVxkOWX2lyf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3Jc_kiSw5AGzMoWBlLkzz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pYy5crw7_PEi2mlt5qqmt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DHmH9sL2.mEUYSfdQieE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lAjpt_OYvtn.lgp9dqRaM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m2cVeRK9uPoXCVY76c_b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l3nTprp4i.u59tU_r.tPx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81ZU07E6FC2xZer8hCgpF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am6UzQ09D3B2YFNVsiZlE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LuqGsl5YcMmAuejHygn47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ue2B6zRgxLC9ajvJpjb9Z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mpUq9QQW_zqam.SOdzrt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veo6.HL77bVxkOWX2lyfM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3Jc_kiSw5AGzMoWBlLkzz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pYy5crw7_PEi2mlt5qqmt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DHmH9sL2.mEUYSfdQieEg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lAjpt_OYvtn.lgp9dqRaM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m2cVeRK9uPoXCVY76c_bL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3nTprp4i.u59tU_r.tPx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81ZU07E6FC2xZer8hCgpF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am6UzQ09D3B2YFNVsiZlE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LuqGsl5YcMmAuejHygn47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ue2B6zRgxLC9ajvJpjb9Z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mpUq9QQW_zqam.SOdzrtW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veo6.HL77bVxkOWX2lyfM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pYy5crw7_PEi2mlt5qqmt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lAjpt_OYvtn.lgp9dqRaM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l3nTprp4i.u59tU_r.tPx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Ft_80JCr2ZmYpeJ3oZdb6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NsoyjkqbqUpeTCnWsNXgn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PLKQHPOqx9Rl6RBphWcmL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LzFNG_ps7uUNc0C3SddgX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pKQ6qysQhHulAqWUl6raW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aJfkM73JOBmK.626UhfZ3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9sX3H5vxXM4aEOaOqDU3L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B35.VgGOsZ_COPuXxczVP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vnO5Q9ZItIW943JlFhjyJ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IVKPyvbCWc2psV_6cl17M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l3nTprp4i.u59tU_r.tPx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81ZU07E6FC2xZer8hCgpF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SLIDEHUBID" val="8421149978181809216785d0a1aa44a809fea5252e8de226984a7a41ccb1661007623192"/>
  <p:tag name="SLIDEHUBID_NEW" val="updated"/>
  <p:tag name="SLIDEHUBUPDATETIME" val="2024-07-22 13:39:27.771"/>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SLIDEHUBID" val="8421149978181809216785d0a1aa44a809fea5252e8de226984a7a41ccb1661007623192"/>
  <p:tag name="SLIDEHUBID_NEW" val="updated"/>
  <p:tag name="SLIDEHUBUPDATETIME" val="2024-07-22 13:39:27.08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0Vj1fqyc0qEtr5H8XCkX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1ZU07E6FC2xZer8hCgpF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cPa1ckEHiL.L.wop.JIk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KTXsL1vmMK48Wdjd4sD9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tfw4bur0lkZWmoW68BI1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uXkr1kFwrr31RzxyDBp.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7qD.kAfin_ZY9Yx5rYW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NFV6Cj6_wZf_fuj6Oz5f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Tw218wrpaVLMYXEq1Ek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7BT11JhDlKgtaxqh.z0AU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f9zZi.EyOzpWObwwu06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SM5Ib4oy_UB8z.7rbD_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_W0ODP_l2IWnE60YQaAi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KhSkx1Ppe.fYCTZtKdxo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Wu871CS4C8W2gCNncKjy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3tVz3ElvfGNrzdFrImt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gq0yStrBZG4iTSsa7XcJ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rgP0mdKZpbmXa1i7GYxMl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4R.T4LgtTRWvvn8mybSm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SO53tFwOgfWx9uxmAzr2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fK1a0SlVjWqfqnPVmvTOu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wJNhx6PC2QlEu1j_ZYhtN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9dTy9NYpniWNvU42Mjqy8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Fumsh4yd_ogtRnxQi0SZ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PvDOAyOIu0wjawLHZE6_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FPFRF.Fd5atgx9.LWKgs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LEp5rAtXWiDSOMbLtvGm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3nTprp4i.u59tU_r.tPx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1ZU07E6FC2xZer8hCgpF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7BT11JhDlKgtaxqh.z0AU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gP0mdKZpbmXa1i7GYxMl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4R.T4LgtTRWvvn8mybSmL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SO53tFwOgfWx9uxmAzr2k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fK1a0SlVjWqfqnPVmvTO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voLpcAj8RzUTGzjTWa90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JNhx6PC2QlEu1j_ZYhtN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9dTy9NYpniWNvU42Mjqy8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Fumsh4yd_ogtRnxQi0SZ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RPvDOAyOIu0wjawLHZE6_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FPFRF.Fd5atgx9.LWKgs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wLEp5rAtXWiDSOMbLtvG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_WkY5d2gRDb9xIA4J29uP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Ub8rstepeNtx9PYVnL2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l3nTprp4i.u59tU_r.tP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81ZU07E6FC2xZer8hCgpF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TYSTD62CnD0S4fSXxe7h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8wCaDh.zHJnKiRRHrz9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mjkGfNU40xBAT2QNOLOE5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Nt52etCBOVPpTGSyxx1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mNhwM3S1P8pmqw1JlaDaJ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C.jXfjNugBxXxPIZKlwM8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45IQ4XV8EbA91v1DvDykh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FgC1cbc8ABqiSxFoc59m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m6UzQ09D3B2YFNVsiZlE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EvmowNC9yKnpXJxV4Ir5N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9r8g.9._y8NG8VQlUVlcT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nAoCihZtNcfSMeIOdgPhB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simWqMKxOQ0mkxIZNI70F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2ZDd766suFYaJ507O6rH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F98700"/>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53CF6C00A9AFC4A9D3D20C9EED55A01" ma:contentTypeVersion="14" ma:contentTypeDescription="Create a new document." ma:contentTypeScope="" ma:versionID="6f1a090fd87924fe04865e2c0299e931">
  <xsd:schema xmlns:xsd="http://www.w3.org/2001/XMLSchema" xmlns:xs="http://www.w3.org/2001/XMLSchema" xmlns:p="http://schemas.microsoft.com/office/2006/metadata/properties" xmlns:ns2="6d2ecbe8-8c14-4eb9-a5a3-f5f074e361fb" xmlns:ns3="a2a662cf-a646-4e0b-b6f4-97209c1d67cc" targetNamespace="http://schemas.microsoft.com/office/2006/metadata/properties" ma:root="true" ma:fieldsID="0bf23287e19ca6165e0231165ce5273d" ns2:_="" ns3:_="">
    <xsd:import namespace="6d2ecbe8-8c14-4eb9-a5a3-f5f074e361fb"/>
    <xsd:import namespace="a2a662cf-a646-4e0b-b6f4-97209c1d67c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BillingMetadata"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2ecbe8-8c14-4eb9-a5a3-f5f074e361f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ffae9b44-b755-4e33-b232-30959fbdc1b3"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BillingMetadata" ma:index="20" nillable="true" ma:displayName="MediaServiceBillingMetadata" ma:hidden="true" ma:internalName="MediaServiceBillingMetadata" ma:readOnly="true">
      <xsd:simpleType>
        <xsd:restriction base="dms:Note"/>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2a662cf-a646-4e0b-b6f4-97209c1d67cc"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b8f20ebb-4747-44a0-97c7-abb037a0df00}" ma:internalName="TaxCatchAll" ma:showField="CatchAllData" ma:web="a2a662cf-a646-4e0b-b6f4-97209c1d67c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a2a662cf-a646-4e0b-b6f4-97209c1d67cc" xsi:nil="true"/>
    <lcf76f155ced4ddcb4097134ff3c332f xmlns="6d2ecbe8-8c14-4eb9-a5a3-f5f074e361f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104267A-B1B9-4122-8BF7-B7BB9B0099FD}">
  <ds:schemaRefs>
    <ds:schemaRef ds:uri="6d2ecbe8-8c14-4eb9-a5a3-f5f074e361fb"/>
    <ds:schemaRef ds:uri="a2a662cf-a646-4e0b-b6f4-97209c1d67c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46F86B7-D59C-42F2-AAF9-276392879364}">
  <ds:schemaRefs>
    <ds:schemaRef ds:uri="http://schemas.microsoft.com/sharepoint/v3/contenttype/forms"/>
  </ds:schemaRefs>
</ds:datastoreItem>
</file>

<file path=customXml/itemProps3.xml><?xml version="1.0" encoding="utf-8"?>
<ds:datastoreItem xmlns:ds="http://schemas.openxmlformats.org/officeDocument/2006/customXml" ds:itemID="{D6C74C74-85D4-4577-8A45-D0B8995C45F9}">
  <ds:schemaRefs>
    <ds:schemaRef ds:uri="6d2ecbe8-8c14-4eb9-a5a3-f5f074e361fb"/>
    <ds:schemaRef ds:uri="a2a662cf-a646-4e0b-b6f4-97209c1d67cc"/>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0</Slides>
  <Notes>30</Notes>
  <HiddenSlides>0</HiddenSlides>
  <ScaleCrop>false</ScaleCrop>
  <HeadingPairs>
    <vt:vector size="4" baseType="variant">
      <vt:variant>
        <vt:lpstr>Theme</vt:lpstr>
      </vt:variant>
      <vt:variant>
        <vt:i4>1</vt:i4>
      </vt:variant>
      <vt:variant>
        <vt:lpstr>Slide Titles</vt:lpstr>
      </vt:variant>
      <vt:variant>
        <vt:i4>30</vt:i4>
      </vt:variant>
    </vt:vector>
  </HeadingPairs>
  <TitlesOfParts>
    <vt:vector size="31" baseType="lpstr">
      <vt:lpstr>Office Theme</vt:lpstr>
      <vt:lpstr>PowerPoint Presentation</vt:lpstr>
      <vt:lpstr>PowerPoint Presentation</vt:lpstr>
      <vt:lpstr>Table of Contents</vt:lpstr>
      <vt:lpstr>What It Is &amp; Why It Is Important</vt:lpstr>
      <vt:lpstr>Creating value through trade-offs</vt:lpstr>
      <vt:lpstr>The Value Perception Gap</vt:lpstr>
      <vt:lpstr>Key Strategic Choices</vt:lpstr>
      <vt:lpstr>The Strategy Value Curve</vt:lpstr>
      <vt:lpstr>The Strategy Value Curve: Streaming</vt:lpstr>
      <vt:lpstr>Choice of Generic Positioning</vt:lpstr>
      <vt:lpstr>Choice of Generic Positioning: Cost Leadership</vt:lpstr>
      <vt:lpstr>Choice of Generic Positioning: Differentiation</vt:lpstr>
      <vt:lpstr>Choice of Generic Positioning: Blue Ocean</vt:lpstr>
      <vt:lpstr>Choice of Positioning Archetypes</vt:lpstr>
      <vt:lpstr>Choice of Segmentation of Value Propositions</vt:lpstr>
      <vt:lpstr>Choice of Segmentation of Value Propositions</vt:lpstr>
      <vt:lpstr>Design Choices for each Value Proposition</vt:lpstr>
      <vt:lpstr>Design Choices for each Value Proposition</vt:lpstr>
      <vt:lpstr>Design Choices for each Value Proposition</vt:lpstr>
      <vt:lpstr>Choice of Strategic Pricing</vt:lpstr>
      <vt:lpstr>Diagnostic Questions (1/3)</vt:lpstr>
      <vt:lpstr>Diagnostic Questions (2/3)</vt:lpstr>
      <vt:lpstr>Diagnostic Questions (3/3)</vt:lpstr>
      <vt:lpstr>Five Value Proposition Frameworks</vt:lpstr>
      <vt:lpstr>The Value Stick Framework</vt:lpstr>
      <vt:lpstr>The Elements of Value Framework</vt:lpstr>
      <vt:lpstr>The Three Value Disciplines Framework</vt:lpstr>
      <vt:lpstr>The Jobs To Be Done Framework</vt:lpstr>
      <vt:lpstr>The Four Actions Framework</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ex Jordan</dc:creator>
  <cp:revision>1</cp:revision>
  <dcterms:created xsi:type="dcterms:W3CDTF">2025-06-18T07:37:32Z</dcterms:created>
  <dcterms:modified xsi:type="dcterms:W3CDTF">2025-06-27T11:0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db40de1-b154-44aa-ba29-666342798679_Enabled">
    <vt:lpwstr>true</vt:lpwstr>
  </property>
  <property fmtid="{D5CDD505-2E9C-101B-9397-08002B2CF9AE}" pid="3" name="MSIP_Label_4db40de1-b154-44aa-ba29-666342798679_SetDate">
    <vt:lpwstr>2025-06-18T07:52:07Z</vt:lpwstr>
  </property>
  <property fmtid="{D5CDD505-2E9C-101B-9397-08002B2CF9AE}" pid="4" name="MSIP_Label_4db40de1-b154-44aa-ba29-666342798679_Method">
    <vt:lpwstr>Privileged</vt:lpwstr>
  </property>
  <property fmtid="{D5CDD505-2E9C-101B-9397-08002B2CF9AE}" pid="5" name="MSIP_Label_4db40de1-b154-44aa-ba29-666342798679_Name">
    <vt:lpwstr>Internal Use Only</vt:lpwstr>
  </property>
  <property fmtid="{D5CDD505-2E9C-101B-9397-08002B2CF9AE}" pid="6" name="MSIP_Label_4db40de1-b154-44aa-ba29-666342798679_SiteId">
    <vt:lpwstr>39c91bef-4cfb-467b-ab52-051f1147a81d</vt:lpwstr>
  </property>
  <property fmtid="{D5CDD505-2E9C-101B-9397-08002B2CF9AE}" pid="7" name="MSIP_Label_4db40de1-b154-44aa-ba29-666342798679_ActionId">
    <vt:lpwstr>d038bf64-e33e-4747-9f56-db91ec26a81d</vt:lpwstr>
  </property>
  <property fmtid="{D5CDD505-2E9C-101B-9397-08002B2CF9AE}" pid="8" name="MSIP_Label_4db40de1-b154-44aa-ba29-666342798679_ContentBits">
    <vt:lpwstr>2</vt:lpwstr>
  </property>
  <property fmtid="{D5CDD505-2E9C-101B-9397-08002B2CF9AE}" pid="9" name="MSIP_Label_4db40de1-b154-44aa-ba29-666342798679_Tag">
    <vt:lpwstr>10, 0, 1, 1</vt:lpwstr>
  </property>
  <property fmtid="{D5CDD505-2E9C-101B-9397-08002B2CF9AE}" pid="10" name="ClassificationContentMarkingFooterLocations">
    <vt:lpwstr>Office Theme:11</vt:lpwstr>
  </property>
  <property fmtid="{D5CDD505-2E9C-101B-9397-08002B2CF9AE}" pid="11" name="ClassificationContentMarkingFooterText">
    <vt:lpwstr>Internal Use Only</vt:lpwstr>
  </property>
  <property fmtid="{D5CDD505-2E9C-101B-9397-08002B2CF9AE}" pid="12" name="ContentTypeId">
    <vt:lpwstr>0x010100853CF6C00A9AFC4A9D3D20C9EED55A01</vt:lpwstr>
  </property>
  <property fmtid="{D5CDD505-2E9C-101B-9397-08002B2CF9AE}" pid="13" name="MediaServiceImageTags">
    <vt:lpwstr/>
  </property>
</Properties>
</file>